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1"/>
    <p:sldMasterId id="2147483710" r:id="rId2"/>
    <p:sldMasterId id="2147483723" r:id="rId3"/>
  </p:sldMasterIdLst>
  <p:notesMasterIdLst>
    <p:notesMasterId r:id="rId14"/>
  </p:notesMasterIdLst>
  <p:handoutMasterIdLst>
    <p:handoutMasterId r:id="rId15"/>
  </p:handoutMasterIdLst>
  <p:sldIdLst>
    <p:sldId id="1422" r:id="rId4"/>
    <p:sldId id="1442" r:id="rId5"/>
    <p:sldId id="1428" r:id="rId6"/>
    <p:sldId id="1443" r:id="rId7"/>
    <p:sldId id="1452" r:id="rId8"/>
    <p:sldId id="1447" r:id="rId9"/>
    <p:sldId id="1449" r:id="rId10"/>
    <p:sldId id="1451" r:id="rId11"/>
    <p:sldId id="1450" r:id="rId12"/>
    <p:sldId id="1208" r:id="rId13"/>
  </p:sldIdLst>
  <p:sldSz cx="9144000" cy="6858000" type="screen4x3"/>
  <p:notesSz cx="7172325" cy="9385300"/>
  <p:custDataLst>
    <p:tags r:id="rId16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272" userDrawn="1">
          <p15:clr>
            <a:srgbClr val="A4A3A4"/>
          </p15:clr>
        </p15:guide>
        <p15:guide id="4" pos="5488" userDrawn="1">
          <p15:clr>
            <a:srgbClr val="A4A3A4"/>
          </p15:clr>
        </p15:guide>
        <p15:guide id="5" pos="385" userDrawn="1">
          <p15:clr>
            <a:srgbClr val="A4A3A4"/>
          </p15:clr>
        </p15:guide>
        <p15:guide id="6" pos="5375" userDrawn="1">
          <p15:clr>
            <a:srgbClr val="A4A3A4"/>
          </p15:clr>
        </p15:guide>
        <p15:guide id="7" orient="horz" pos="895">
          <p15:clr>
            <a:srgbClr val="A4A3A4"/>
          </p15:clr>
        </p15:guide>
        <p15:guide id="8" orient="horz" pos="3512">
          <p15:clr>
            <a:srgbClr val="A4A3A4"/>
          </p15:clr>
        </p15:guide>
        <p15:guide id="9" orient="horz">
          <p15:clr>
            <a:srgbClr val="A4A3A4"/>
          </p15:clr>
        </p15:guide>
        <p15:guide id="10" pos="1980">
          <p15:clr>
            <a:srgbClr val="A4A3A4"/>
          </p15:clr>
        </p15:guide>
        <p15:guide id="11" pos="162">
          <p15:clr>
            <a:srgbClr val="A4A3A4"/>
          </p15:clr>
        </p15:guide>
        <p15:guide id="12" pos="5613">
          <p15:clr>
            <a:srgbClr val="A4A3A4"/>
          </p15:clr>
        </p15:guide>
        <p15:guide id="13" pos="5759">
          <p15:clr>
            <a:srgbClr val="A4A3A4"/>
          </p15:clr>
        </p15:guide>
        <p15:guide id="14" pos="3811">
          <p15:clr>
            <a:srgbClr val="A4A3A4"/>
          </p15:clr>
        </p15:guide>
        <p15:guide id="15" orient="horz" pos="1861">
          <p15:clr>
            <a:srgbClr val="A4A3A4"/>
          </p15:clr>
        </p15:guide>
        <p15:guide id="16" orient="horz" pos="2642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EA1A0D-609C-224B-B5BB-3FD67FBC3E97}" name="Leanne Gyorffy" initials="LG" userId="Leanne Gyorffy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an Walsh" initials="SW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BCBF"/>
    <a:srgbClr val="0093B6"/>
    <a:srgbClr val="AAB4D6"/>
    <a:srgbClr val="03519C"/>
    <a:srgbClr val="6B767D"/>
    <a:srgbClr val="061570"/>
    <a:srgbClr val="07539D"/>
    <a:srgbClr val="091E9F"/>
    <a:srgbClr val="1B275B"/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31" autoAdjust="0"/>
    <p:restoredTop sz="94542" autoAdjust="0"/>
  </p:normalViewPr>
  <p:slideViewPr>
    <p:cSldViewPr snapToGrid="0" snapToObjects="1">
      <p:cViewPr varScale="1">
        <p:scale>
          <a:sx n="105" d="100"/>
          <a:sy n="105" d="100"/>
        </p:scale>
        <p:origin x="2154" y="114"/>
      </p:cViewPr>
      <p:guideLst>
        <p:guide orient="horz" pos="867"/>
        <p:guide pos="2880"/>
        <p:guide pos="272"/>
        <p:guide pos="5488"/>
        <p:guide pos="385"/>
        <p:guide pos="5375"/>
        <p:guide orient="horz" pos="895"/>
        <p:guide orient="horz" pos="3512"/>
        <p:guide orient="horz"/>
        <p:guide pos="1980"/>
        <p:guide pos="162"/>
        <p:guide pos="5613"/>
        <p:guide pos="5759"/>
        <p:guide pos="3811"/>
        <p:guide orient="horz" pos="1861"/>
        <p:guide orient="horz" pos="2642"/>
      </p:guideLst>
    </p:cSldViewPr>
  </p:slideViewPr>
  <p:outlineViewPr>
    <p:cViewPr>
      <p:scale>
        <a:sx n="33" d="100"/>
        <a:sy n="33" d="100"/>
      </p:scale>
      <p:origin x="0" y="4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08657" cy="469586"/>
          </a:xfrm>
          <a:prstGeom prst="rect">
            <a:avLst/>
          </a:prstGeom>
        </p:spPr>
        <p:txBody>
          <a:bodyPr vert="horz" lIns="92839" tIns="46420" rIns="92839" bIns="464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62045" y="0"/>
            <a:ext cx="3108657" cy="469586"/>
          </a:xfrm>
          <a:prstGeom prst="rect">
            <a:avLst/>
          </a:prstGeom>
        </p:spPr>
        <p:txBody>
          <a:bodyPr vert="horz" lIns="92839" tIns="46420" rIns="92839" bIns="46420" rtlCol="0"/>
          <a:lstStyle>
            <a:lvl1pPr algn="r">
              <a:defRPr sz="1200"/>
            </a:lvl1pPr>
          </a:lstStyle>
          <a:p>
            <a:fld id="{BA382C36-9CF6-4E76-898A-6126DAF07F06}" type="datetimeFigureOut">
              <a:rPr lang="en-US" smtClean="0"/>
              <a:t>6/1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914112"/>
            <a:ext cx="3108657" cy="469586"/>
          </a:xfrm>
          <a:prstGeom prst="rect">
            <a:avLst/>
          </a:prstGeom>
        </p:spPr>
        <p:txBody>
          <a:bodyPr vert="horz" lIns="92839" tIns="46420" rIns="92839" bIns="464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62045" y="8914112"/>
            <a:ext cx="3108657" cy="469586"/>
          </a:xfrm>
          <a:prstGeom prst="rect">
            <a:avLst/>
          </a:prstGeom>
        </p:spPr>
        <p:txBody>
          <a:bodyPr vert="horz" lIns="92839" tIns="46420" rIns="92839" bIns="46420" rtlCol="0" anchor="b"/>
          <a:lstStyle>
            <a:lvl1pPr algn="r">
              <a:defRPr sz="1200"/>
            </a:lvl1pPr>
          </a:lstStyle>
          <a:p>
            <a:fld id="{C35E1EE6-A223-4D78-A3E2-7E618E65B3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6029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08008" cy="470894"/>
          </a:xfrm>
          <a:prstGeom prst="rect">
            <a:avLst/>
          </a:prstGeom>
        </p:spPr>
        <p:txBody>
          <a:bodyPr vert="horz" lIns="94603" tIns="47302" rIns="94603" bIns="473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62658" y="0"/>
            <a:ext cx="3108008" cy="470894"/>
          </a:xfrm>
          <a:prstGeom prst="rect">
            <a:avLst/>
          </a:prstGeom>
        </p:spPr>
        <p:txBody>
          <a:bodyPr vert="horz" lIns="94603" tIns="47302" rIns="94603" bIns="47302" rtlCol="0"/>
          <a:lstStyle>
            <a:lvl1pPr algn="r">
              <a:defRPr sz="1200"/>
            </a:lvl1pPr>
          </a:lstStyle>
          <a:p>
            <a:fld id="{17B46088-E6EC-0E46-B41E-96DEC354A0BF}" type="datetimeFigureOut">
              <a:rPr lang="en-US" smtClean="0"/>
              <a:t>6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74788" y="1173163"/>
            <a:ext cx="4222750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03" tIns="47302" rIns="94603" bIns="473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7233" y="4516675"/>
            <a:ext cx="5737860" cy="3695462"/>
          </a:xfrm>
          <a:prstGeom prst="rect">
            <a:avLst/>
          </a:prstGeom>
        </p:spPr>
        <p:txBody>
          <a:bodyPr vert="horz" lIns="94603" tIns="47302" rIns="94603" bIns="473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4407"/>
            <a:ext cx="3108008" cy="470893"/>
          </a:xfrm>
          <a:prstGeom prst="rect">
            <a:avLst/>
          </a:prstGeom>
        </p:spPr>
        <p:txBody>
          <a:bodyPr vert="horz" lIns="94603" tIns="47302" rIns="94603" bIns="473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62658" y="8914407"/>
            <a:ext cx="3108008" cy="470893"/>
          </a:xfrm>
          <a:prstGeom prst="rect">
            <a:avLst/>
          </a:prstGeom>
        </p:spPr>
        <p:txBody>
          <a:bodyPr vert="horz" lIns="94603" tIns="47302" rIns="94603" bIns="47302" rtlCol="0" anchor="b"/>
          <a:lstStyle>
            <a:lvl1pPr algn="r">
              <a:defRPr sz="1200"/>
            </a:lvl1pPr>
          </a:lstStyle>
          <a:p>
            <a:fld id="{3AEE7612-9177-3C48-ADAC-806DCDB051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658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2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75850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96648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4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815802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5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63316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6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53366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7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790881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8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882465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24144">
              <a:defRPr/>
            </a:pPr>
            <a:fld id="{3AEE7612-9177-3C48-ADAC-806DCDB051C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24144">
                <a:defRPr/>
              </a:pPr>
              <a:t>9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84788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10682"/>
            <a:ext cx="9144000" cy="2365046"/>
          </a:xfrm>
          <a:prstGeom prst="rect">
            <a:avLst/>
          </a:prstGeom>
          <a:solidFill>
            <a:srgbClr val="38373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61260" y="3444577"/>
            <a:ext cx="8524834" cy="581025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1363" y="669815"/>
            <a:ext cx="8535269" cy="861306"/>
          </a:xfrm>
        </p:spPr>
        <p:txBody>
          <a:bodyPr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rporate Overview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y, 2022</a:t>
            </a:r>
          </a:p>
        </p:txBody>
      </p:sp>
      <p:sp>
        <p:nvSpPr>
          <p:cNvPr id="32" name="Date Placeholder 31"/>
          <p:cNvSpPr>
            <a:spLocks noGrp="1"/>
          </p:cNvSpPr>
          <p:nvPr>
            <p:ph type="dt" sz="half" idx="16"/>
          </p:nvPr>
        </p:nvSpPr>
        <p:spPr>
          <a:xfrm>
            <a:off x="289307" y="6274286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</a:lstStyle>
          <a:p>
            <a:fld id="{9376AEBF-CD10-6E4E-A910-B4EBAD30EE9E}" type="datetime4">
              <a:rPr lang="en-CA" smtClean="0"/>
              <a:t>June 10, 2024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5788617"/>
            <a:ext cx="9144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2337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E5DB1-FD47-3B7E-6DD3-1E8EE5B2C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496B0A-EF79-5BBE-3004-763FFE90C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85A5D7-8029-5787-397F-E1FF5D10D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D3A5C0-BB72-1769-3F48-953240DB8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746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A8C829E-64F6-4323-FE6F-25FAE88ED7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28BEEF-F328-8971-4CEC-0DA7AD855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8097AB-B9DB-434B-E0D6-D20DEC9A1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8161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D650E9-8F34-CE28-0A7D-5B634FDB4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704FC-B1D9-0383-83D2-95946EAE1D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D84CF2-CB96-905E-B0F3-19B363FBCD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BC2F22-ED5E-E7A2-D4E6-47CE613DC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35AD1C-BA51-7634-DE34-05E2F15E3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8BB45C-40CC-B68B-EC07-F435A1333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601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682AA-9326-47DD-66B0-2A782E7027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0519A3-119D-A8D4-BE2B-1ED7662E9C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8937E1-D5D8-5030-5F58-1700FCB299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F97BC3-5BEA-05A0-32F4-FD40D63FEE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F0F40A-2A83-994A-E3CE-17B31D54F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94C68B-80A5-FA1E-FA9C-64FBE1EA18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8353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53870-5B75-84DF-AF9B-9FACCA075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AC75764-8EC2-DC73-42AB-C2B879EED0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02A3A2-7C31-D6A3-2182-BBB39CAFB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3458F3-A02B-A85F-8E9E-2BCFB517E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F0797D-3576-6611-6C78-3AD99E682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7854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695270-26EF-E889-A0F5-ACEB360192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A09B0B-CBBA-6634-FB0B-465F4EB419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4B567-7146-FC6A-C026-D741B8BBD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209F91-2F02-3E75-7FB9-684C55257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DCCBE0-6D1E-4512-637A-FC05CE15E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3658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5296746"/>
            <a:ext cx="9144000" cy="1325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7618540" y="39886"/>
            <a:ext cx="12841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b="1" i="1" spc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NFIDENTIA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992408"/>
            <a:ext cx="9144000" cy="31066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144000" cy="205991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2015642"/>
            <a:ext cx="9144000" cy="885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7" name="Title 1" descr="Type:AppendixHeader;"/>
          <p:cNvSpPr>
            <a:spLocks noGrp="1"/>
          </p:cNvSpPr>
          <p:nvPr>
            <p:ph type="title" hasCustomPrompt="1"/>
          </p:nvPr>
        </p:nvSpPr>
        <p:spPr>
          <a:xfrm>
            <a:off x="434341" y="2921985"/>
            <a:ext cx="8275319" cy="1014031"/>
          </a:xfrm>
          <a:prstGeom prst="rect">
            <a:avLst/>
          </a:prstGeom>
        </p:spPr>
        <p:txBody>
          <a:bodyPr bIns="0">
            <a:normAutofit/>
          </a:bodyPr>
          <a:lstStyle>
            <a:lvl1pPr marL="1492861" indent="-1492861" algn="ctr">
              <a:buFont typeface="+mj-lt"/>
              <a:buNone/>
              <a:tabLst/>
              <a:defRPr sz="20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ppendix A: 	Appendix Title</a:t>
            </a:r>
          </a:p>
        </p:txBody>
      </p:sp>
      <p:pic>
        <p:nvPicPr>
          <p:cNvPr id="13" name="Picture 24" descr="Image result for boston dynamics ">
            <a:extLst>
              <a:ext uri="{FF2B5EF4-FFF2-40B4-BE49-F238E27FC236}">
                <a16:creationId xmlns:a16="http://schemas.microsoft.com/office/drawing/2014/main" id="{A879C187-48DC-4763-BB23-D4954AA230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35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Image result for carrier reefer ">
            <a:extLst>
              <a:ext uri="{FF2B5EF4-FFF2-40B4-BE49-F238E27FC236}">
                <a16:creationId xmlns:a16="http://schemas.microsoft.com/office/drawing/2014/main" id="{D041F521-A108-4D68-B52D-FD9F1564D4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45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6" descr="Image result for aircraft tow tractor ">
            <a:extLst>
              <a:ext uri="{FF2B5EF4-FFF2-40B4-BE49-F238E27FC236}">
                <a16:creationId xmlns:a16="http://schemas.microsoft.com/office/drawing/2014/main" id="{63DA1699-858F-43BF-AB48-1B2DE35854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890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2" descr="https://lithiongroup.com/wp-content/uploads/2020/06/military.jpg">
            <a:extLst>
              <a:ext uri="{FF2B5EF4-FFF2-40B4-BE49-F238E27FC236}">
                <a16:creationId xmlns:a16="http://schemas.microsoft.com/office/drawing/2014/main" id="{BD10C771-D0C1-4DA1-BB0B-A77752383E83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6" r="14357"/>
          <a:stretch/>
        </p:blipFill>
        <p:spPr bwMode="auto">
          <a:xfrm>
            <a:off x="7713165" y="5365326"/>
            <a:ext cx="137520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8" descr="Image result for stryker medical ">
            <a:extLst>
              <a:ext uri="{FF2B5EF4-FFF2-40B4-BE49-F238E27FC236}">
                <a16:creationId xmlns:a16="http://schemas.microsoft.com/office/drawing/2014/main" id="{C802B4FB-7CD8-4402-BA1D-B956257B35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655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8" descr="Image result for schlumberger tech">
            <a:extLst>
              <a:ext uri="{FF2B5EF4-FFF2-40B4-BE49-F238E27FC236}">
                <a16:creationId xmlns:a16="http://schemas.microsoft.com/office/drawing/2014/main" id="{AA291F0B-E1A8-469F-8BB1-979076F1AD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400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8" descr="Image result for forklift ">
            <a:extLst>
              <a:ext uri="{FF2B5EF4-FFF2-40B4-BE49-F238E27FC236}">
                <a16:creationId xmlns:a16="http://schemas.microsoft.com/office/drawing/2014/main" id="{8F23FFCE-1C5F-4D9E-A103-47184C7A7F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910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15481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2" t="16929" r="12992" b="10279"/>
          <a:stretch/>
        </p:blipFill>
        <p:spPr>
          <a:xfrm>
            <a:off x="0" y="1"/>
            <a:ext cx="9144000" cy="6866314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04707" y="3444577"/>
            <a:ext cx="8633300" cy="5810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307" y="2537840"/>
            <a:ext cx="8648700" cy="76230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5812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999" y="1034097"/>
            <a:ext cx="8633301" cy="901383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600"/>
            </a:lvl1pPr>
            <a:lvl2pPr>
              <a:spcBef>
                <a:spcPts val="300"/>
              </a:spcBef>
              <a:spcAft>
                <a:spcPts val="300"/>
              </a:spcAft>
              <a:defRPr sz="1400"/>
            </a:lvl2pPr>
            <a:lvl3pPr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A8B59-5392-4841-9404-70F06241FA79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53999" y="957123"/>
            <a:ext cx="86487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1326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6800957"/>
            <a:ext cx="9144000" cy="57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1992408"/>
            <a:ext cx="9144000" cy="31066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144000" cy="205991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2015642"/>
            <a:ext cx="9144000" cy="885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4" name="Title 1" descr="Type:AppendixHeader;"/>
          <p:cNvSpPr>
            <a:spLocks noGrp="1"/>
          </p:cNvSpPr>
          <p:nvPr>
            <p:ph type="title" hasCustomPrompt="1"/>
          </p:nvPr>
        </p:nvSpPr>
        <p:spPr>
          <a:xfrm>
            <a:off x="434341" y="2921985"/>
            <a:ext cx="8275319" cy="1014031"/>
          </a:xfrm>
          <a:prstGeom prst="rect">
            <a:avLst/>
          </a:prstGeom>
        </p:spPr>
        <p:txBody>
          <a:bodyPr bIns="0">
            <a:normAutofit/>
          </a:bodyPr>
          <a:lstStyle>
            <a:lvl1pPr marL="1492861" indent="-1492861" algn="ctr">
              <a:buFont typeface="+mj-lt"/>
              <a:buNone/>
              <a:tabLst/>
              <a:defRPr sz="20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Questions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57E086-5E99-4BB3-A0F1-F3C63196D70D}"/>
              </a:ext>
            </a:extLst>
          </p:cNvPr>
          <p:cNvSpPr/>
          <p:nvPr userDrawn="1"/>
        </p:nvSpPr>
        <p:spPr>
          <a:xfrm>
            <a:off x="0" y="5296746"/>
            <a:ext cx="9144000" cy="1325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pic>
        <p:nvPicPr>
          <p:cNvPr id="11" name="Picture 24" descr="Image result for boston dynamics ">
            <a:extLst>
              <a:ext uri="{FF2B5EF4-FFF2-40B4-BE49-F238E27FC236}">
                <a16:creationId xmlns:a16="http://schemas.microsoft.com/office/drawing/2014/main" id="{18C3BAAC-5211-4899-897B-93AC613DB1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35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Image result for carrier reefer ">
            <a:extLst>
              <a:ext uri="{FF2B5EF4-FFF2-40B4-BE49-F238E27FC236}">
                <a16:creationId xmlns:a16="http://schemas.microsoft.com/office/drawing/2014/main" id="{374A8A56-ED01-4289-8BBF-4A4B66972D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45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6" descr="Image result for aircraft tow tractor ">
            <a:extLst>
              <a:ext uri="{FF2B5EF4-FFF2-40B4-BE49-F238E27FC236}">
                <a16:creationId xmlns:a16="http://schemas.microsoft.com/office/drawing/2014/main" id="{FB0CA461-4937-4C33-B8F2-F7DF2D6FA4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890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2" descr="https://lithiongroup.com/wp-content/uploads/2020/06/military.jpg">
            <a:extLst>
              <a:ext uri="{FF2B5EF4-FFF2-40B4-BE49-F238E27FC236}">
                <a16:creationId xmlns:a16="http://schemas.microsoft.com/office/drawing/2014/main" id="{D0E1FE15-BBF5-45CA-8658-A8FB1A0BB316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6" r="14357"/>
          <a:stretch/>
        </p:blipFill>
        <p:spPr bwMode="auto">
          <a:xfrm>
            <a:off x="7713165" y="5365326"/>
            <a:ext cx="137520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8" descr="Image result for stryker medical ">
            <a:extLst>
              <a:ext uri="{FF2B5EF4-FFF2-40B4-BE49-F238E27FC236}">
                <a16:creationId xmlns:a16="http://schemas.microsoft.com/office/drawing/2014/main" id="{B867491A-3145-4B60-BE0C-F4B06C1A7E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655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8" descr="Image result for schlumberger tech">
            <a:extLst>
              <a:ext uri="{FF2B5EF4-FFF2-40B4-BE49-F238E27FC236}">
                <a16:creationId xmlns:a16="http://schemas.microsoft.com/office/drawing/2014/main" id="{DFC124BA-A913-4A2A-9B7A-B1E660D2D1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400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Image result for forklift ">
            <a:extLst>
              <a:ext uri="{FF2B5EF4-FFF2-40B4-BE49-F238E27FC236}">
                <a16:creationId xmlns:a16="http://schemas.microsoft.com/office/drawing/2014/main" id="{456AA66F-A503-4E46-BB47-774DD086AB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910" y="5365326"/>
            <a:ext cx="1188720" cy="118872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9909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04707" y="3444577"/>
            <a:ext cx="8633300" cy="5810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307" y="2537840"/>
            <a:ext cx="8648700" cy="76230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89941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000" y="518576"/>
            <a:ext cx="6488545" cy="374756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endParaRPr lang="en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30404677"/>
      </p:ext>
    </p:extLst>
  </p:cSld>
  <p:clrMapOvr>
    <a:masterClrMapping/>
  </p:clrMapOvr>
  <p:transition spd="slow">
    <p:wipe dir="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999" y="1034097"/>
            <a:ext cx="8633301" cy="901383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600"/>
            </a:lvl1pPr>
            <a:lvl2pPr>
              <a:spcBef>
                <a:spcPts val="300"/>
              </a:spcBef>
              <a:spcAft>
                <a:spcPts val="300"/>
              </a:spcAft>
              <a:defRPr sz="1400"/>
            </a:lvl2pPr>
            <a:lvl3pPr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A8B59-5392-4841-9404-70F06241FA79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53999" y="957123"/>
            <a:ext cx="86487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53998" y="5957391"/>
            <a:ext cx="8648701" cy="383848"/>
          </a:xfrm>
        </p:spPr>
        <p:txBody>
          <a:bodyPr anchor="b"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buAutoNum type="arabicParenBoth"/>
              <a:defRPr sz="700" i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[Footnote]</a:t>
            </a:r>
          </a:p>
        </p:txBody>
      </p:sp>
    </p:spTree>
    <p:extLst>
      <p:ext uri="{BB962C8B-B14F-4D97-AF65-F5344CB8AC3E}">
        <p14:creationId xmlns:p14="http://schemas.microsoft.com/office/powerpoint/2010/main" val="17099277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999" y="1034097"/>
            <a:ext cx="8633301" cy="901383"/>
          </a:xfrm>
        </p:spPr>
        <p:txBody>
          <a:bodyPr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600"/>
            </a:lvl1pPr>
            <a:lvl2pPr>
              <a:spcBef>
                <a:spcPts val="300"/>
              </a:spcBef>
              <a:spcAft>
                <a:spcPts val="300"/>
              </a:spcAft>
              <a:defRPr sz="1400"/>
            </a:lvl2pPr>
            <a:lvl3pPr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A8B59-5392-4841-9404-70F06241FA79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53999" y="957123"/>
            <a:ext cx="86487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53998" y="5957391"/>
            <a:ext cx="8648701" cy="383848"/>
          </a:xfrm>
        </p:spPr>
        <p:txBody>
          <a:bodyPr anchor="b"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buAutoNum type="arabicParenBoth"/>
              <a:defRPr sz="700" i="1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[Footnote]</a:t>
            </a:r>
          </a:p>
        </p:txBody>
      </p:sp>
    </p:spTree>
    <p:extLst>
      <p:ext uri="{BB962C8B-B14F-4D97-AF65-F5344CB8AC3E}">
        <p14:creationId xmlns:p14="http://schemas.microsoft.com/office/powerpoint/2010/main" val="1226971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1"/>
            <a:ext cx="9144000" cy="6011217"/>
          </a:xfrm>
          <a:prstGeom prst="rect">
            <a:avLst/>
          </a:prstGeom>
          <a:solidFill>
            <a:srgbClr val="383738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64" t="16868" r="13844" b="20873"/>
          <a:stretch/>
        </p:blipFill>
        <p:spPr>
          <a:xfrm>
            <a:off x="0" y="0"/>
            <a:ext cx="9144000" cy="601121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875" y="2616424"/>
            <a:ext cx="2656250" cy="829165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800957"/>
            <a:ext cx="9144000" cy="57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494613" y="6240658"/>
            <a:ext cx="5201014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1" spc="0" baseline="0" dirty="0">
                <a:solidFill>
                  <a:schemeClr val="tx1"/>
                </a:solidFill>
              </a:rPr>
              <a:t>4600, 400 – 3RD AVENUE SW, CALGARY, ALBERTA, T2P 4H2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400801" y="6279129"/>
            <a:ext cx="207315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b="1" spc="20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WW.TRIWEST.CA</a:t>
            </a:r>
          </a:p>
        </p:txBody>
      </p:sp>
    </p:spTree>
    <p:extLst>
      <p:ext uri="{BB962C8B-B14F-4D97-AF65-F5344CB8AC3E}">
        <p14:creationId xmlns:p14="http://schemas.microsoft.com/office/powerpoint/2010/main" val="2083938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5B335-F89C-461C-F27D-03AB8FDBB4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86AFB6-1738-CB4E-6A53-0B73235F05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47533-B206-69C5-F821-3894A8348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772709-E0CE-E4D1-768E-3867DAEFE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C13A5E-F390-214B-D431-FEA689611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096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351A5-A3B6-138F-DDA6-B2056A3A5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9FD920-A02E-92F4-3ECF-E88D7EF019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DD754F-6390-BD6C-5116-B892A9109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1086DC-280C-F501-6679-1188425D2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C0373-5F63-460A-3CBC-626CE415AC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8389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023D-2774-1004-4235-A19064503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942250-F1A5-291C-9C77-EC64C538E5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CFD790-8569-08F3-F153-8BBFFA7544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2B2547-E4E8-4430-8023-3D0D2C9CD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8CAAFB-8301-0DCC-D6E6-480093F66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589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498C5-A210-D90A-4F3F-F7393AC52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2A33B-2214-CA48-E56E-2BDF6DA4F6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48DEE4-85FA-752C-A64F-C03494620B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AD5852-5828-8F2E-6FBE-58664598F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004300-0535-6B67-7A01-0FAFA23662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6D2030-60DB-1537-1FCF-842415137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3330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81BED2-A4A3-5FAE-B271-DD898D999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195387-9C2B-A09D-B6A0-542F2120C9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95F48A-E984-E136-D18C-EFF307A042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EC3F2A-0461-481D-B13E-5252F23546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19DCAC-7DC9-D85C-E5DD-4459959E7D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C1B751-2602-9C75-9A9C-FB37997AD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E6F85A-F32A-6D7F-243D-CF8EACCDD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610DBEB-C17E-EC50-790D-6BC08ECF3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73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7745"/>
            <a:ext cx="9144000" cy="2725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000" y="1033351"/>
            <a:ext cx="8648700" cy="902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2990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34A8B59-5392-4841-9404-70F06241FA79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54000" y="6353519"/>
            <a:ext cx="86333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54000" y="6721476"/>
            <a:ext cx="86487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3999" y="957123"/>
            <a:ext cx="86487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450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2" r:id="rId2"/>
    <p:sldLayoutId id="2147483686" r:id="rId3"/>
    <p:sldLayoutId id="2147483703" r:id="rId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3336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.AppleSystemUIFont" charset="-120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25425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.AppleSystemUIFont" charset="-120"/>
        <a:buChar char="-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160463" indent="-258763" algn="l" defTabSz="914400" rtl="0" eaLnBrk="1" latinLnBrk="0" hangingPunct="1">
        <a:lnSpc>
          <a:spcPct val="100000"/>
        </a:lnSpc>
        <a:spcBef>
          <a:spcPts val="500"/>
        </a:spcBef>
        <a:buFont typeface=".AppleSystemUIFont" charset="-120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70025" indent="-301625" algn="l" defTabSz="914400" rtl="0" eaLnBrk="1" latinLnBrk="0" hangingPunct="1">
        <a:lnSpc>
          <a:spcPct val="100000"/>
        </a:lnSpc>
        <a:spcBef>
          <a:spcPts val="500"/>
        </a:spcBef>
        <a:buFont typeface=".AppleSystemUIFont" charset="-120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1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1DDF51-2008-931E-11A2-87532EA83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D765F8-90EE-0D43-36CF-859B09D0E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594D6-1531-2EFF-3883-E301E17B9D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A68F83-B136-439E-8F53-DDD6AA1B8165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C7854A-94A5-6C81-B3A3-7C1E7C168A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C53928-B451-A8BA-60A3-E7DC683D8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6B11EF-C33D-484A-9ECE-E2236F92E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275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Lithion – Integrated, efficient and unique products.">
            <a:extLst>
              <a:ext uri="{FF2B5EF4-FFF2-40B4-BE49-F238E27FC236}">
                <a16:creationId xmlns:a16="http://schemas.microsoft.com/office/drawing/2014/main" id="{DBE48EDC-18C9-407E-BEA7-796AD729C1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16" y="6379607"/>
            <a:ext cx="845821" cy="31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-7745"/>
            <a:ext cx="9144000" cy="2725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000" y="1033351"/>
            <a:ext cx="8648700" cy="902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2990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34A8B59-5392-4841-9404-70F06241FA79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54000" y="6353519"/>
            <a:ext cx="86333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54000" y="6721476"/>
            <a:ext cx="864870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3999" y="957123"/>
            <a:ext cx="864870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50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3336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.AppleSystemUIFont" charset="-120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25425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.AppleSystemUIFont" charset="-120"/>
        <a:buChar char="-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160463" indent="-258763" algn="l" defTabSz="914400" rtl="0" eaLnBrk="1" latinLnBrk="0" hangingPunct="1">
        <a:lnSpc>
          <a:spcPct val="100000"/>
        </a:lnSpc>
        <a:spcBef>
          <a:spcPts val="500"/>
        </a:spcBef>
        <a:buFont typeface=".AppleSystemUIFont" charset="-120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70025" indent="-301625" algn="l" defTabSz="914400" rtl="0" eaLnBrk="1" latinLnBrk="0" hangingPunct="1">
        <a:lnSpc>
          <a:spcPct val="100000"/>
        </a:lnSpc>
        <a:spcBef>
          <a:spcPts val="500"/>
        </a:spcBef>
        <a:buFont typeface=".AppleSystemUIFont" charset="-120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1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jhodge@lithionbattery.com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16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4.jpeg"/><Relationship Id="rId5" Type="http://schemas.openxmlformats.org/officeDocument/2006/relationships/tags" Target="../tags/tag6.xml"/><Relationship Id="rId10" Type="http://schemas.openxmlformats.org/officeDocument/2006/relationships/image" Target="../media/image13.PNG"/><Relationship Id="rId4" Type="http://schemas.openxmlformats.org/officeDocument/2006/relationships/tags" Target="../tags/tag5.xml"/><Relationship Id="rId9" Type="http://schemas.openxmlformats.org/officeDocument/2006/relationships/image" Target="../media/image12.png"/><Relationship Id="rId1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8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12.png"/><Relationship Id="rId4" Type="http://schemas.openxmlformats.org/officeDocument/2006/relationships/tags" Target="../tags/tag12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12.png"/><Relationship Id="rId4" Type="http://schemas.openxmlformats.org/officeDocument/2006/relationships/tags" Target="../tags/tag19.xml"/><Relationship Id="rId9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jp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12.png"/><Relationship Id="rId4" Type="http://schemas.openxmlformats.org/officeDocument/2006/relationships/tags" Target="../tags/tag26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4341" y="3804060"/>
            <a:ext cx="8275319" cy="1340873"/>
          </a:xfrm>
        </p:spPr>
        <p:txBody>
          <a:bodyPr>
            <a:normAutofit/>
          </a:bodyPr>
          <a:lstStyle/>
          <a:p>
            <a:pPr marL="0" indent="0"/>
            <a:r>
              <a:rPr lang="en-US" sz="2400" b="1" i="1" dirty="0">
                <a:latin typeface="Calibri" panose="020F0502020204030204" pitchFamily="34" charset="0"/>
                <a:cs typeface="Calibri" panose="020F0502020204030204" pitchFamily="34" charset="0"/>
              </a:rPr>
              <a:t>Domestic LFP Cell Manufacturing Overview</a:t>
            </a:r>
            <a:br>
              <a:rPr lang="en-US" sz="2800" b="1" i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 i="1" dirty="0">
                <a:latin typeface="Calibri" panose="020F0502020204030204" pitchFamily="34" charset="0"/>
                <a:cs typeface="Calibri" panose="020F0502020204030204" pitchFamily="34" charset="0"/>
              </a:rPr>
              <a:t> May 2024</a:t>
            </a:r>
            <a:br>
              <a:rPr lang="en-US" b="1" i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 i="1" dirty="0">
                <a:latin typeface="Calibri" panose="020F0502020204030204" pitchFamily="34" charset="0"/>
                <a:cs typeface="Calibri" panose="020F0502020204030204" pitchFamily="34" charset="0"/>
              </a:rPr>
              <a:t>James D. Hodge, Ph.D.</a:t>
            </a:r>
            <a:endParaRPr lang="en-CA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2" descr="Lithion – Integrated, efficient and unique products.">
            <a:extLst>
              <a:ext uri="{FF2B5EF4-FFF2-40B4-BE49-F238E27FC236}">
                <a16:creationId xmlns:a16="http://schemas.microsoft.com/office/drawing/2014/main" id="{6A6E6DF0-A2D7-4CAF-9B86-EDEDF1F38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109" y="2580665"/>
            <a:ext cx="2937782" cy="107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1647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ithion – Integrated, efficient and unique products.">
            <a:extLst>
              <a:ext uri="{FF2B5EF4-FFF2-40B4-BE49-F238E27FC236}">
                <a16:creationId xmlns:a16="http://schemas.microsoft.com/office/drawing/2014/main" id="{6A6E6DF0-A2D7-4CAF-9B86-EDEDF1F38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5227" y="2828017"/>
            <a:ext cx="3653545" cy="134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0966D50-0070-136C-9577-07202761DA01}"/>
              </a:ext>
            </a:extLst>
          </p:cNvPr>
          <p:cNvSpPr txBox="1"/>
          <p:nvPr/>
        </p:nvSpPr>
        <p:spPr>
          <a:xfrm>
            <a:off x="2745227" y="4542817"/>
            <a:ext cx="41808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James Hodge, Ph.D.</a:t>
            </a:r>
          </a:p>
          <a:p>
            <a:pPr algn="ctr"/>
            <a:r>
              <a:rPr lang="en-US" sz="1600" b="1" i="1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hodge@lithionbattery.com</a:t>
            </a:r>
            <a:endParaRPr lang="en-US" sz="16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756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E5004636-6D6F-4A29-BA52-1C12825DD3DD}"/>
              </a:ext>
            </a:extLst>
          </p:cNvPr>
          <p:cNvCxnSpPr>
            <a:cxnSpLocks/>
          </p:cNvCxnSpPr>
          <p:nvPr/>
        </p:nvCxnSpPr>
        <p:spPr>
          <a:xfrm flipV="1">
            <a:off x="1457396" y="3254768"/>
            <a:ext cx="5090905" cy="1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ithion: Overview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7651" y="5522976"/>
            <a:ext cx="8648699" cy="737906"/>
          </a:xfrm>
          <a:prstGeom prst="rect">
            <a:avLst/>
          </a:prstGeom>
          <a:solidFill>
            <a:srgbClr val="07539D"/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ed Approach to Solve Electrification Needs of Customers</a:t>
            </a:r>
          </a:p>
        </p:txBody>
      </p:sp>
      <p:pic>
        <p:nvPicPr>
          <p:cNvPr id="477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88" descr="A picture containing yellow&#10;&#10;Description automatically generated">
            <a:extLst>
              <a:ext uri="{FF2B5EF4-FFF2-40B4-BE49-F238E27FC236}">
                <a16:creationId xmlns:a16="http://schemas.microsoft.com/office/drawing/2014/main" id="{0576E749-23F6-4BEA-813E-2629F327B47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9140"/>
          <a:stretch/>
        </p:blipFill>
        <p:spPr>
          <a:xfrm>
            <a:off x="7276733" y="982713"/>
            <a:ext cx="1387301" cy="1026583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8CE3BAFD-B94E-F6DE-D2A5-38F936CB85D0}"/>
              </a:ext>
            </a:extLst>
          </p:cNvPr>
          <p:cNvSpPr txBox="1"/>
          <p:nvPr/>
        </p:nvSpPr>
        <p:spPr>
          <a:xfrm>
            <a:off x="1985035" y="2513438"/>
            <a:ext cx="988255" cy="2769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 sz="1200" b="1">
                <a:solidFill>
                  <a:srgbClr val="003B49">
                    <a:lumMod val="75000"/>
                    <a:lumOff val="25000"/>
                  </a:srgbClr>
                </a:solidFill>
                <a:latin typeface="Arial" panose="020B0604020202020204"/>
              </a:defRPr>
            </a:lvl1pPr>
            <a:lvl2pPr marL="625475" indent="-233363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/>
            </a:lvl2pPr>
            <a:lvl3pPr marL="893763" indent="-225425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/>
            </a:lvl3pPr>
            <a:lvl4pPr marL="1160463" indent="-258763" defTabSz="914400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/>
            </a:lvl4pPr>
            <a:lvl5pPr marL="1470025" indent="-301625" defTabSz="914400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B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l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116EF88-4E0D-DE37-CF82-B93ABE710D8B}"/>
              </a:ext>
            </a:extLst>
          </p:cNvPr>
          <p:cNvSpPr txBox="1"/>
          <p:nvPr/>
        </p:nvSpPr>
        <p:spPr>
          <a:xfrm>
            <a:off x="3577069" y="2497728"/>
            <a:ext cx="988255" cy="3084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 sz="1400" b="1">
                <a:solidFill>
                  <a:srgbClr val="003B49">
                    <a:lumMod val="75000"/>
                    <a:lumOff val="25000"/>
                  </a:srgbClr>
                </a:solidFill>
                <a:latin typeface="Arial" panose="020B0604020202020204"/>
              </a:defRPr>
            </a:lvl1pPr>
            <a:lvl2pPr marL="625475" indent="-233363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/>
            </a:lvl2pPr>
            <a:lvl3pPr marL="893763" indent="-225425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/>
            </a:lvl3pPr>
            <a:lvl4pPr marL="1160463" indent="-258763" defTabSz="914400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/>
            </a:lvl4pPr>
            <a:lvl5pPr marL="1470025" indent="-301625" defTabSz="914400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B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ule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12B23B-5959-5040-FBFD-5BC33AE6CBFC}"/>
              </a:ext>
            </a:extLst>
          </p:cNvPr>
          <p:cNvSpPr txBox="1"/>
          <p:nvPr/>
        </p:nvSpPr>
        <p:spPr>
          <a:xfrm>
            <a:off x="5147151" y="2497728"/>
            <a:ext cx="988255" cy="308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3B49"/>
                </a:solidFill>
                <a:latin typeface="Arial" panose="020B0604020202020204"/>
              </a:rPr>
              <a:t>System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B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FF5990E-7D2D-A033-0BAE-5B6C3E84ACA0}"/>
              </a:ext>
            </a:extLst>
          </p:cNvPr>
          <p:cNvSpPr txBox="1"/>
          <p:nvPr/>
        </p:nvSpPr>
        <p:spPr>
          <a:xfrm>
            <a:off x="1959868" y="3977189"/>
            <a:ext cx="988255" cy="3084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 sz="1400" b="1">
                <a:solidFill>
                  <a:srgbClr val="003B49">
                    <a:lumMod val="75000"/>
                    <a:lumOff val="25000"/>
                  </a:srgbClr>
                </a:solidFill>
                <a:latin typeface="Arial" panose="020B0604020202020204"/>
              </a:defRPr>
            </a:lvl1pPr>
            <a:lvl2pPr marL="625475" indent="-233363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/>
            </a:lvl2pPr>
            <a:lvl3pPr marL="893763" indent="-225425" defTabSz="91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/>
            </a:lvl3pPr>
            <a:lvl4pPr marL="1160463" indent="-258763" defTabSz="914400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/>
            </a:lvl4pPr>
            <a:lvl5pPr marL="1470025" indent="-301625" defTabSz="914400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B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MS</a:t>
            </a:r>
          </a:p>
        </p:txBody>
      </p:sp>
      <p:pic>
        <p:nvPicPr>
          <p:cNvPr id="36" name="Picture 14" descr="Image result for city bus ">
            <a:extLst>
              <a:ext uri="{FF2B5EF4-FFF2-40B4-BE49-F238E27FC236}">
                <a16:creationId xmlns:a16="http://schemas.microsoft.com/office/drawing/2014/main" id="{9EEDCD5F-B55D-63E6-E558-C9395D368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8218" y="3208709"/>
            <a:ext cx="1358932" cy="1076898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picture containing text, building&#10;&#10;Description automatically generated">
            <a:extLst>
              <a:ext uri="{FF2B5EF4-FFF2-40B4-BE49-F238E27FC236}">
                <a16:creationId xmlns:a16="http://schemas.microsoft.com/office/drawing/2014/main" id="{26B916D2-9779-3406-7684-83A557B2712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84966" y="2033401"/>
            <a:ext cx="1374901" cy="1149204"/>
          </a:xfrm>
          <a:prstGeom prst="rect">
            <a:avLst/>
          </a:prstGeom>
        </p:spPr>
      </p:pic>
      <p:sp>
        <p:nvSpPr>
          <p:cNvPr id="33" name="Content Placeholder 1">
            <a:extLst>
              <a:ext uri="{FF2B5EF4-FFF2-40B4-BE49-F238E27FC236}">
                <a16:creationId xmlns:a16="http://schemas.microsoft.com/office/drawing/2014/main" id="{35EAFBE9-11B4-4226-8393-2C1D2A85BD60}"/>
              </a:ext>
            </a:extLst>
          </p:cNvPr>
          <p:cNvSpPr txBox="1">
            <a:spLocks/>
          </p:cNvSpPr>
          <p:nvPr/>
        </p:nvSpPr>
        <p:spPr>
          <a:xfrm>
            <a:off x="221688" y="2495689"/>
            <a:ext cx="1314682" cy="3124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3B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emistry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13DD7FC-2747-482E-A678-4C7F8B7511CB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36717" r="83915" b="38638"/>
          <a:stretch/>
        </p:blipFill>
        <p:spPr>
          <a:xfrm>
            <a:off x="215506" y="2773659"/>
            <a:ext cx="1314682" cy="97899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C154ADA-7FD3-477A-9076-3E288725CE3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9765" t="37924" r="64804" b="37432"/>
          <a:stretch/>
        </p:blipFill>
        <p:spPr>
          <a:xfrm>
            <a:off x="1834480" y="2813130"/>
            <a:ext cx="1261183" cy="978998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CEA0921F-C7D0-451F-BC37-BA793AB420C9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39192" t="37924" r="45693" b="37431"/>
          <a:stretch/>
        </p:blipFill>
        <p:spPr>
          <a:xfrm>
            <a:off x="3418743" y="2790436"/>
            <a:ext cx="1235393" cy="97899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D4959D0-6441-4760-8476-032C661C596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59039" t="37451" r="25846" b="37905"/>
          <a:stretch/>
        </p:blipFill>
        <p:spPr>
          <a:xfrm>
            <a:off x="5023581" y="2812500"/>
            <a:ext cx="1235393" cy="978999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1098838-8496-4D9D-9A38-F272F0B4D65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9765" t="74862" r="63813"/>
          <a:stretch/>
        </p:blipFill>
        <p:spPr>
          <a:xfrm>
            <a:off x="1819315" y="4281965"/>
            <a:ext cx="1342239" cy="998617"/>
          </a:xfrm>
          <a:prstGeom prst="rect">
            <a:avLst/>
          </a:prstGeom>
        </p:spPr>
      </p:pic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FB9F056-CABA-48A0-B01E-3A16ACF37391}"/>
              </a:ext>
            </a:extLst>
          </p:cNvPr>
          <p:cNvCxnSpPr>
            <a:cxnSpLocks/>
          </p:cNvCxnSpPr>
          <p:nvPr/>
        </p:nvCxnSpPr>
        <p:spPr>
          <a:xfrm flipV="1">
            <a:off x="4036848" y="3750623"/>
            <a:ext cx="0" cy="10390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55EE168-547F-4D2D-BD4B-DED3024DB912}"/>
              </a:ext>
            </a:extLst>
          </p:cNvPr>
          <p:cNvCxnSpPr>
            <a:cxnSpLocks/>
          </p:cNvCxnSpPr>
          <p:nvPr/>
        </p:nvCxnSpPr>
        <p:spPr>
          <a:xfrm flipV="1">
            <a:off x="5646573" y="3750623"/>
            <a:ext cx="0" cy="103902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52E4A03-D6BE-444C-8F7A-6642FB2CCC06}"/>
              </a:ext>
            </a:extLst>
          </p:cNvPr>
          <p:cNvCxnSpPr>
            <a:cxnSpLocks/>
          </p:cNvCxnSpPr>
          <p:nvPr/>
        </p:nvCxnSpPr>
        <p:spPr>
          <a:xfrm>
            <a:off x="3095663" y="4770680"/>
            <a:ext cx="2566680" cy="15481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C66AFCEC-5D78-4DBE-B917-349D14F8A042}"/>
              </a:ext>
            </a:extLst>
          </p:cNvPr>
          <p:cNvSpPr/>
          <p:nvPr/>
        </p:nvSpPr>
        <p:spPr>
          <a:xfrm rot="16200000">
            <a:off x="4748097" y="3011603"/>
            <a:ext cx="4389391" cy="537886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8" descr="Image result for stryker medical ">
            <a:extLst>
              <a:ext uri="{FF2B5EF4-FFF2-40B4-BE49-F238E27FC236}">
                <a16:creationId xmlns:a16="http://schemas.microsoft.com/office/drawing/2014/main" id="{816EFEFF-E42C-8304-1A1A-E6FAE03E9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8834" y="4349666"/>
            <a:ext cx="1375200" cy="110861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Bol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106A602-5321-423C-9212-A2BCD20FB673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950153" y="1224471"/>
            <a:ext cx="170867" cy="27338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rgbClr val="03519C"/>
          </a:solidFill>
          <a:ln>
            <a:solidFill>
              <a:srgbClr val="03519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Bol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443D91F-14DD-4F37-B4DB-AB455E3D4662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951225" y="1525414"/>
            <a:ext cx="170867" cy="27338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rgbClr val="03519C"/>
          </a:solidFill>
          <a:ln>
            <a:solidFill>
              <a:srgbClr val="03519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Bol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0D23D58-3769-442B-B768-07D714FDE635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944971" y="1810687"/>
            <a:ext cx="170867" cy="27338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rgbClr val="03519C"/>
          </a:solidFill>
          <a:ln>
            <a:solidFill>
              <a:srgbClr val="03519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Bol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ED5E42F-1373-4BCD-A9F7-14603C65646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3430323" y="1527421"/>
            <a:ext cx="170867" cy="27338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rgbClr val="03519C"/>
          </a:solidFill>
          <a:ln>
            <a:solidFill>
              <a:srgbClr val="03519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Bol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B31ED01-D8DC-4F2A-B6D5-7CCF78049BB1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3434965" y="1803426"/>
            <a:ext cx="170867" cy="27338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rgbClr val="03519C"/>
          </a:solidFill>
          <a:ln>
            <a:solidFill>
              <a:srgbClr val="03519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Bolt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25C971-DB8B-47D9-85A8-2F71AB1FDF62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3434965" y="1238921"/>
            <a:ext cx="170867" cy="273388"/>
          </a:xfrm>
          <a:custGeom>
            <a:avLst/>
            <a:gdLst>
              <a:gd name="T0" fmla="*/ 132 w 511"/>
              <a:gd name="T1" fmla="*/ 773 h 815"/>
              <a:gd name="T2" fmla="*/ 212 w 511"/>
              <a:gd name="T3" fmla="*/ 474 h 815"/>
              <a:gd name="T4" fmla="*/ 32 w 511"/>
              <a:gd name="T5" fmla="*/ 474 h 815"/>
              <a:gd name="T6" fmla="*/ 13 w 511"/>
              <a:gd name="T7" fmla="*/ 435 h 815"/>
              <a:gd name="T8" fmla="*/ 336 w 511"/>
              <a:gd name="T9" fmla="*/ 21 h 815"/>
              <a:gd name="T10" fmla="*/ 379 w 511"/>
              <a:gd name="T11" fmla="*/ 42 h 815"/>
              <a:gd name="T12" fmla="*/ 299 w 511"/>
              <a:gd name="T13" fmla="*/ 341 h 815"/>
              <a:gd name="T14" fmla="*/ 479 w 511"/>
              <a:gd name="T15" fmla="*/ 341 h 815"/>
              <a:gd name="T16" fmla="*/ 499 w 511"/>
              <a:gd name="T17" fmla="*/ 380 h 815"/>
              <a:gd name="T18" fmla="*/ 176 w 511"/>
              <a:gd name="T19" fmla="*/ 794 h 815"/>
              <a:gd name="T20" fmla="*/ 132 w 511"/>
              <a:gd name="T21" fmla="*/ 773 h 8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" h="815">
                <a:moveTo>
                  <a:pt x="132" y="773"/>
                </a:moveTo>
                <a:lnTo>
                  <a:pt x="212" y="474"/>
                </a:lnTo>
                <a:lnTo>
                  <a:pt x="32" y="474"/>
                </a:lnTo>
                <a:cubicBezTo>
                  <a:pt x="12" y="474"/>
                  <a:pt x="0" y="450"/>
                  <a:pt x="13" y="435"/>
                </a:cubicBezTo>
                <a:lnTo>
                  <a:pt x="336" y="21"/>
                </a:lnTo>
                <a:cubicBezTo>
                  <a:pt x="352" y="0"/>
                  <a:pt x="386" y="17"/>
                  <a:pt x="379" y="42"/>
                </a:cubicBezTo>
                <a:lnTo>
                  <a:pt x="299" y="341"/>
                </a:lnTo>
                <a:lnTo>
                  <a:pt x="479" y="341"/>
                </a:lnTo>
                <a:cubicBezTo>
                  <a:pt x="500" y="341"/>
                  <a:pt x="511" y="365"/>
                  <a:pt x="499" y="380"/>
                </a:cubicBezTo>
                <a:lnTo>
                  <a:pt x="176" y="794"/>
                </a:lnTo>
                <a:cubicBezTo>
                  <a:pt x="159" y="815"/>
                  <a:pt x="125" y="798"/>
                  <a:pt x="132" y="773"/>
                </a:cubicBezTo>
                <a:close/>
              </a:path>
            </a:pathLst>
          </a:custGeom>
          <a:solidFill>
            <a:srgbClr val="03519C"/>
          </a:solidFill>
          <a:ln>
            <a:solidFill>
              <a:srgbClr val="03519C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ontent Placeholder 1">
            <a:extLst>
              <a:ext uri="{FF2B5EF4-FFF2-40B4-BE49-F238E27FC236}">
                <a16:creationId xmlns:a16="http://schemas.microsoft.com/office/drawing/2014/main" id="{02BC7719-9BAF-4333-846C-FAA2C2D7A6B2}"/>
              </a:ext>
            </a:extLst>
          </p:cNvPr>
          <p:cNvSpPr txBox="1">
            <a:spLocks/>
          </p:cNvSpPr>
          <p:nvPr/>
        </p:nvSpPr>
        <p:spPr>
          <a:xfrm>
            <a:off x="1153422" y="1245649"/>
            <a:ext cx="2561942" cy="3124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CA" sz="1200" b="1" i="1" dirty="0">
                <a:solidFill>
                  <a:srgbClr val="03519C"/>
                </a:solidFill>
                <a:latin typeface="Arial" panose="020B0604020202020204"/>
              </a:rPr>
              <a:t>585</a:t>
            </a: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mployees</a:t>
            </a:r>
          </a:p>
        </p:txBody>
      </p:sp>
      <p:sp>
        <p:nvSpPr>
          <p:cNvPr id="47" name="Content Placeholder 1">
            <a:extLst>
              <a:ext uri="{FF2B5EF4-FFF2-40B4-BE49-F238E27FC236}">
                <a16:creationId xmlns:a16="http://schemas.microsoft.com/office/drawing/2014/main" id="{90E1380E-224E-4356-8FE0-6F164E1C99EA}"/>
              </a:ext>
            </a:extLst>
          </p:cNvPr>
          <p:cNvSpPr txBox="1">
            <a:spLocks/>
          </p:cNvSpPr>
          <p:nvPr/>
        </p:nvSpPr>
        <p:spPr>
          <a:xfrm>
            <a:off x="1140096" y="1553846"/>
            <a:ext cx="2561942" cy="3124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+ patents &amp; licenses</a:t>
            </a:r>
          </a:p>
        </p:txBody>
      </p:sp>
      <p:sp>
        <p:nvSpPr>
          <p:cNvPr id="48" name="Content Placeholder 1">
            <a:extLst>
              <a:ext uri="{FF2B5EF4-FFF2-40B4-BE49-F238E27FC236}">
                <a16:creationId xmlns:a16="http://schemas.microsoft.com/office/drawing/2014/main" id="{F106EE5D-A02B-4AD8-AB38-7BC01028F2D7}"/>
              </a:ext>
            </a:extLst>
          </p:cNvPr>
          <p:cNvSpPr txBox="1">
            <a:spLocks/>
          </p:cNvSpPr>
          <p:nvPr/>
        </p:nvSpPr>
        <p:spPr>
          <a:xfrm>
            <a:off x="1124945" y="1849795"/>
            <a:ext cx="2561942" cy="3124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00+ current customers</a:t>
            </a:r>
          </a:p>
        </p:txBody>
      </p:sp>
      <p:sp>
        <p:nvSpPr>
          <p:cNvPr id="49" name="Content Placeholder 1">
            <a:extLst>
              <a:ext uri="{FF2B5EF4-FFF2-40B4-BE49-F238E27FC236}">
                <a16:creationId xmlns:a16="http://schemas.microsoft.com/office/drawing/2014/main" id="{BD0870DA-D79C-477C-ACE6-9C23AB9691AD}"/>
              </a:ext>
            </a:extLst>
          </p:cNvPr>
          <p:cNvSpPr txBox="1">
            <a:spLocks/>
          </p:cNvSpPr>
          <p:nvPr/>
        </p:nvSpPr>
        <p:spPr>
          <a:xfrm>
            <a:off x="3584381" y="1233172"/>
            <a:ext cx="2807139" cy="4575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Tahoma"/>
                <a:cs typeface="Tahoma"/>
              </a:rPr>
              <a:t>2</a:t>
            </a: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ell manufacturing facilities</a:t>
            </a:r>
            <a:b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CA" sz="1200" b="1" i="1" u="none" strike="noStrike" kern="1200" cap="none" spc="0" normalizeH="0" baseline="30000" noProof="0" dirty="0">
              <a:ln>
                <a:noFill/>
              </a:ln>
              <a:solidFill>
                <a:srgbClr val="0351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Content Placeholder 1">
            <a:extLst>
              <a:ext uri="{FF2B5EF4-FFF2-40B4-BE49-F238E27FC236}">
                <a16:creationId xmlns:a16="http://schemas.microsoft.com/office/drawing/2014/main" id="{73C5ED2C-B92C-4984-A1C0-65DB9BEC17F0}"/>
              </a:ext>
            </a:extLst>
          </p:cNvPr>
          <p:cNvSpPr txBox="1">
            <a:spLocks/>
          </p:cNvSpPr>
          <p:nvPr/>
        </p:nvSpPr>
        <p:spPr>
          <a:xfrm>
            <a:off x="3577069" y="1518913"/>
            <a:ext cx="2648115" cy="4575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module manufacturing facilities</a:t>
            </a:r>
          </a:p>
        </p:txBody>
      </p:sp>
      <p:sp>
        <p:nvSpPr>
          <p:cNvPr id="51" name="Content Placeholder 1">
            <a:extLst>
              <a:ext uri="{FF2B5EF4-FFF2-40B4-BE49-F238E27FC236}">
                <a16:creationId xmlns:a16="http://schemas.microsoft.com/office/drawing/2014/main" id="{EF4D5938-59A4-4AEF-87B1-2239A01AACF2}"/>
              </a:ext>
            </a:extLst>
          </p:cNvPr>
          <p:cNvSpPr txBox="1">
            <a:spLocks/>
          </p:cNvSpPr>
          <p:nvPr/>
        </p:nvSpPr>
        <p:spPr>
          <a:xfrm>
            <a:off x="3577069" y="1815921"/>
            <a:ext cx="2217169" cy="396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CA" sz="1200" b="1" i="1" dirty="0">
                <a:solidFill>
                  <a:srgbClr val="03519C"/>
                </a:solidFill>
                <a:latin typeface="Arial" panose="020B0604020202020204"/>
              </a:rPr>
              <a:t>42</a:t>
            </a:r>
            <a:r>
              <a:rPr kumimoji="0" lang="en-CA" sz="1200" b="1" i="1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gineers and R&amp;D staff</a:t>
            </a:r>
          </a:p>
        </p:txBody>
      </p:sp>
    </p:spTree>
    <p:extLst>
      <p:ext uri="{BB962C8B-B14F-4D97-AF65-F5344CB8AC3E}">
        <p14:creationId xmlns:p14="http://schemas.microsoft.com/office/powerpoint/2010/main" val="2245234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ithion: Established Presence</a:t>
            </a:r>
          </a:p>
        </p:txBody>
      </p:sp>
      <p:sp>
        <p:nvSpPr>
          <p:cNvPr id="315" name="_World_Map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45944" y="1782743"/>
            <a:ext cx="7976628" cy="4097757"/>
          </a:xfrm>
          <a:custGeom>
            <a:avLst/>
            <a:gdLst>
              <a:gd name="T0" fmla="*/ 613 w 2941"/>
              <a:gd name="T1" fmla="*/ 729 h 1465"/>
              <a:gd name="T2" fmla="*/ 504 w 2941"/>
              <a:gd name="T3" fmla="*/ 525 h 1465"/>
              <a:gd name="T4" fmla="*/ 752 w 2941"/>
              <a:gd name="T5" fmla="*/ 354 h 1465"/>
              <a:gd name="T6" fmla="*/ 817 w 2941"/>
              <a:gd name="T7" fmla="*/ 224 h 1465"/>
              <a:gd name="T8" fmla="*/ 675 w 2941"/>
              <a:gd name="T9" fmla="*/ 157 h 1465"/>
              <a:gd name="T10" fmla="*/ 623 w 2941"/>
              <a:gd name="T11" fmla="*/ 125 h 1465"/>
              <a:gd name="T12" fmla="*/ 143 w 2941"/>
              <a:gd name="T13" fmla="*/ 139 h 1465"/>
              <a:gd name="T14" fmla="*/ 179 w 2941"/>
              <a:gd name="T15" fmla="*/ 194 h 1465"/>
              <a:gd name="T16" fmla="*/ 265 w 2941"/>
              <a:gd name="T17" fmla="*/ 326 h 1465"/>
              <a:gd name="T18" fmla="*/ 273 w 2941"/>
              <a:gd name="T19" fmla="*/ 577 h 1465"/>
              <a:gd name="T20" fmla="*/ 637 w 2941"/>
              <a:gd name="T21" fmla="*/ 1093 h 1465"/>
              <a:gd name="T22" fmla="*/ 718 w 2941"/>
              <a:gd name="T23" fmla="*/ 1440 h 1465"/>
              <a:gd name="T24" fmla="*/ 929 w 2941"/>
              <a:gd name="T25" fmla="*/ 1009 h 1465"/>
              <a:gd name="T26" fmla="*/ 2684 w 2941"/>
              <a:gd name="T27" fmla="*/ 146 h 1465"/>
              <a:gd name="T28" fmla="*/ 1884 w 2941"/>
              <a:gd name="T29" fmla="*/ 125 h 1465"/>
              <a:gd name="T30" fmla="*/ 1494 w 2941"/>
              <a:gd name="T31" fmla="*/ 104 h 1465"/>
              <a:gd name="T32" fmla="*/ 1463 w 2941"/>
              <a:gd name="T33" fmla="*/ 220 h 1465"/>
              <a:gd name="T34" fmla="*/ 1387 w 2941"/>
              <a:gd name="T35" fmla="*/ 260 h 1465"/>
              <a:gd name="T36" fmla="*/ 1386 w 2941"/>
              <a:gd name="T37" fmla="*/ 374 h 1465"/>
              <a:gd name="T38" fmla="*/ 1554 w 2941"/>
              <a:gd name="T39" fmla="*/ 440 h 1465"/>
              <a:gd name="T40" fmla="*/ 1145 w 2941"/>
              <a:gd name="T41" fmla="*/ 709 h 1465"/>
              <a:gd name="T42" fmla="*/ 1557 w 2941"/>
              <a:gd name="T43" fmla="*/ 1236 h 1465"/>
              <a:gd name="T44" fmla="*/ 1678 w 2941"/>
              <a:gd name="T45" fmla="*/ 614 h 1465"/>
              <a:gd name="T46" fmla="*/ 1941 w 2941"/>
              <a:gd name="T47" fmla="*/ 588 h 1465"/>
              <a:gd name="T48" fmla="*/ 2275 w 2941"/>
              <a:gd name="T49" fmla="*/ 784 h 1465"/>
              <a:gd name="T50" fmla="*/ 2445 w 2941"/>
              <a:gd name="T51" fmla="*/ 580 h 1465"/>
              <a:gd name="T52" fmla="*/ 2439 w 2941"/>
              <a:gd name="T53" fmla="*/ 230 h 1465"/>
              <a:gd name="T54" fmla="*/ 1630 w 2941"/>
              <a:gd name="T55" fmla="*/ 885 h 1465"/>
              <a:gd name="T56" fmla="*/ 1754 w 2941"/>
              <a:gd name="T57" fmla="*/ 437 h 1465"/>
              <a:gd name="T58" fmla="*/ 1022 w 2941"/>
              <a:gd name="T59" fmla="*/ 156 h 1465"/>
              <a:gd name="T60" fmla="*/ 1073 w 2941"/>
              <a:gd name="T61" fmla="*/ 9 h 1465"/>
              <a:gd name="T62" fmla="*/ 1228 w 2941"/>
              <a:gd name="T63" fmla="*/ 32 h 1465"/>
              <a:gd name="T64" fmla="*/ 232 w 2941"/>
              <a:gd name="T65" fmla="*/ 258 h 1465"/>
              <a:gd name="T66" fmla="*/ 674 w 2941"/>
              <a:gd name="T67" fmla="*/ 72 h 1465"/>
              <a:gd name="T68" fmla="*/ 630 w 2941"/>
              <a:gd name="T69" fmla="*/ 101 h 1465"/>
              <a:gd name="T70" fmla="*/ 254 w 2941"/>
              <a:gd name="T71" fmla="*/ 314 h 1465"/>
              <a:gd name="T72" fmla="*/ 834 w 2941"/>
              <a:gd name="T73" fmla="*/ 105 h 1465"/>
              <a:gd name="T74" fmla="*/ 815 w 2941"/>
              <a:gd name="T75" fmla="*/ 171 h 1465"/>
              <a:gd name="T76" fmla="*/ 859 w 2941"/>
              <a:gd name="T77" fmla="*/ 317 h 1465"/>
              <a:gd name="T78" fmla="*/ 814 w 2941"/>
              <a:gd name="T79" fmla="*/ 51 h 1465"/>
              <a:gd name="T80" fmla="*/ 561 w 2941"/>
              <a:gd name="T81" fmla="*/ 618 h 1465"/>
              <a:gd name="T82" fmla="*/ 711 w 2941"/>
              <a:gd name="T83" fmla="*/ 680 h 1465"/>
              <a:gd name="T84" fmla="*/ 1295 w 2941"/>
              <a:gd name="T85" fmla="*/ 345 h 1465"/>
              <a:gd name="T86" fmla="*/ 1272 w 2941"/>
              <a:gd name="T87" fmla="*/ 241 h 1465"/>
              <a:gd name="T88" fmla="*/ 1384 w 2941"/>
              <a:gd name="T89" fmla="*/ 410 h 1465"/>
              <a:gd name="T90" fmla="*/ 2297 w 2941"/>
              <a:gd name="T91" fmla="*/ 65 h 1465"/>
              <a:gd name="T92" fmla="*/ 1495 w 2941"/>
              <a:gd name="T93" fmla="*/ 218 h 1465"/>
              <a:gd name="T94" fmla="*/ 1410 w 2941"/>
              <a:gd name="T95" fmla="*/ 259 h 1465"/>
              <a:gd name="T96" fmla="*/ 1387 w 2941"/>
              <a:gd name="T97" fmla="*/ 455 h 1465"/>
              <a:gd name="T98" fmla="*/ 2506 w 2941"/>
              <a:gd name="T99" fmla="*/ 878 h 1465"/>
              <a:gd name="T100" fmla="*/ 2504 w 2941"/>
              <a:gd name="T101" fmla="*/ 871 h 1465"/>
              <a:gd name="T102" fmla="*/ 2452 w 2941"/>
              <a:gd name="T103" fmla="*/ 828 h 1465"/>
              <a:gd name="T104" fmla="*/ 2582 w 2941"/>
              <a:gd name="T105" fmla="*/ 953 h 1465"/>
              <a:gd name="T106" fmla="*/ 2454 w 2941"/>
              <a:gd name="T107" fmla="*/ 960 h 1465"/>
              <a:gd name="T108" fmla="*/ 2505 w 2941"/>
              <a:gd name="T109" fmla="*/ 778 h 1465"/>
              <a:gd name="T110" fmla="*/ 2521 w 2941"/>
              <a:gd name="T111" fmla="*/ 750 h 1465"/>
              <a:gd name="T112" fmla="*/ 2775 w 2941"/>
              <a:gd name="T113" fmla="*/ 933 h 1465"/>
              <a:gd name="T114" fmla="*/ 2925 w 2941"/>
              <a:gd name="T115" fmla="*/ 1014 h 1465"/>
              <a:gd name="T116" fmla="*/ 2397 w 2941"/>
              <a:gd name="T117" fmla="*/ 1251 h 1465"/>
              <a:gd name="T118" fmla="*/ 2749 w 2941"/>
              <a:gd name="T119" fmla="*/ 1118 h 1465"/>
              <a:gd name="T120" fmla="*/ 2521 w 2941"/>
              <a:gd name="T121" fmla="*/ 567 h 1465"/>
              <a:gd name="T122" fmla="*/ 2507 w 2941"/>
              <a:gd name="T123" fmla="*/ 498 h 1465"/>
              <a:gd name="T124" fmla="*/ 2016 w 2941"/>
              <a:gd name="T125" fmla="*/ 807 h 1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41" h="1465">
                <a:moveTo>
                  <a:pt x="967" y="939"/>
                </a:moveTo>
                <a:cubicBezTo>
                  <a:pt x="967" y="934"/>
                  <a:pt x="966" y="933"/>
                  <a:pt x="966" y="931"/>
                </a:cubicBezTo>
                <a:cubicBezTo>
                  <a:pt x="966" y="930"/>
                  <a:pt x="964" y="925"/>
                  <a:pt x="964" y="925"/>
                </a:cubicBezTo>
                <a:cubicBezTo>
                  <a:pt x="963" y="921"/>
                  <a:pt x="963" y="921"/>
                  <a:pt x="963" y="921"/>
                </a:cubicBezTo>
                <a:cubicBezTo>
                  <a:pt x="961" y="919"/>
                  <a:pt x="961" y="919"/>
                  <a:pt x="961" y="919"/>
                </a:cubicBezTo>
                <a:cubicBezTo>
                  <a:pt x="957" y="918"/>
                  <a:pt x="957" y="918"/>
                  <a:pt x="957" y="918"/>
                </a:cubicBezTo>
                <a:cubicBezTo>
                  <a:pt x="955" y="918"/>
                  <a:pt x="948" y="918"/>
                  <a:pt x="947" y="918"/>
                </a:cubicBezTo>
                <a:cubicBezTo>
                  <a:pt x="944" y="916"/>
                  <a:pt x="944" y="916"/>
                  <a:pt x="944" y="916"/>
                </a:cubicBezTo>
                <a:cubicBezTo>
                  <a:pt x="936" y="908"/>
                  <a:pt x="936" y="908"/>
                  <a:pt x="936" y="908"/>
                </a:cubicBezTo>
                <a:cubicBezTo>
                  <a:pt x="930" y="903"/>
                  <a:pt x="930" y="903"/>
                  <a:pt x="930" y="903"/>
                </a:cubicBezTo>
                <a:cubicBezTo>
                  <a:pt x="929" y="902"/>
                  <a:pt x="927" y="900"/>
                  <a:pt x="925" y="899"/>
                </a:cubicBezTo>
                <a:cubicBezTo>
                  <a:pt x="925" y="898"/>
                  <a:pt x="924" y="897"/>
                  <a:pt x="923" y="897"/>
                </a:cubicBezTo>
                <a:cubicBezTo>
                  <a:pt x="922" y="896"/>
                  <a:pt x="918" y="895"/>
                  <a:pt x="917" y="894"/>
                </a:cubicBezTo>
                <a:cubicBezTo>
                  <a:pt x="915" y="893"/>
                  <a:pt x="916" y="892"/>
                  <a:pt x="913" y="892"/>
                </a:cubicBezTo>
                <a:cubicBezTo>
                  <a:pt x="909" y="892"/>
                  <a:pt x="906" y="893"/>
                  <a:pt x="902" y="893"/>
                </a:cubicBezTo>
                <a:cubicBezTo>
                  <a:pt x="900" y="893"/>
                  <a:pt x="899" y="892"/>
                  <a:pt x="898" y="892"/>
                </a:cubicBezTo>
                <a:cubicBezTo>
                  <a:pt x="897" y="892"/>
                  <a:pt x="897" y="892"/>
                  <a:pt x="897" y="892"/>
                </a:cubicBezTo>
                <a:cubicBezTo>
                  <a:pt x="896" y="893"/>
                  <a:pt x="894" y="892"/>
                  <a:pt x="893" y="892"/>
                </a:cubicBezTo>
                <a:cubicBezTo>
                  <a:pt x="893" y="892"/>
                  <a:pt x="892" y="892"/>
                  <a:pt x="892" y="891"/>
                </a:cubicBezTo>
                <a:cubicBezTo>
                  <a:pt x="891" y="890"/>
                  <a:pt x="888" y="888"/>
                  <a:pt x="887" y="888"/>
                </a:cubicBezTo>
                <a:cubicBezTo>
                  <a:pt x="887" y="888"/>
                  <a:pt x="884" y="887"/>
                  <a:pt x="883" y="887"/>
                </a:cubicBezTo>
                <a:cubicBezTo>
                  <a:pt x="881" y="888"/>
                  <a:pt x="878" y="889"/>
                  <a:pt x="877" y="890"/>
                </a:cubicBezTo>
                <a:cubicBezTo>
                  <a:pt x="876" y="891"/>
                  <a:pt x="876" y="891"/>
                  <a:pt x="875" y="892"/>
                </a:cubicBezTo>
                <a:cubicBezTo>
                  <a:pt x="874" y="891"/>
                  <a:pt x="874" y="891"/>
                  <a:pt x="874" y="891"/>
                </a:cubicBezTo>
                <a:cubicBezTo>
                  <a:pt x="876" y="889"/>
                  <a:pt x="876" y="890"/>
                  <a:pt x="876" y="888"/>
                </a:cubicBezTo>
                <a:cubicBezTo>
                  <a:pt x="874" y="888"/>
                  <a:pt x="874" y="888"/>
                  <a:pt x="874" y="888"/>
                </a:cubicBezTo>
                <a:cubicBezTo>
                  <a:pt x="874" y="888"/>
                  <a:pt x="872" y="890"/>
                  <a:pt x="872" y="890"/>
                </a:cubicBezTo>
                <a:cubicBezTo>
                  <a:pt x="872" y="891"/>
                  <a:pt x="873" y="891"/>
                  <a:pt x="873" y="892"/>
                </a:cubicBezTo>
                <a:cubicBezTo>
                  <a:pt x="873" y="893"/>
                  <a:pt x="871" y="896"/>
                  <a:pt x="870" y="895"/>
                </a:cubicBezTo>
                <a:cubicBezTo>
                  <a:pt x="870" y="890"/>
                  <a:pt x="870" y="890"/>
                  <a:pt x="870" y="890"/>
                </a:cubicBezTo>
                <a:cubicBezTo>
                  <a:pt x="872" y="888"/>
                  <a:pt x="872" y="888"/>
                  <a:pt x="872" y="888"/>
                </a:cubicBezTo>
                <a:cubicBezTo>
                  <a:pt x="873" y="886"/>
                  <a:pt x="873" y="886"/>
                  <a:pt x="873" y="886"/>
                </a:cubicBezTo>
                <a:cubicBezTo>
                  <a:pt x="873" y="885"/>
                  <a:pt x="873" y="885"/>
                  <a:pt x="873" y="885"/>
                </a:cubicBezTo>
                <a:cubicBezTo>
                  <a:pt x="871" y="885"/>
                  <a:pt x="871" y="885"/>
                  <a:pt x="871" y="885"/>
                </a:cubicBezTo>
                <a:cubicBezTo>
                  <a:pt x="871" y="883"/>
                  <a:pt x="871" y="884"/>
                  <a:pt x="872" y="882"/>
                </a:cubicBezTo>
                <a:cubicBezTo>
                  <a:pt x="870" y="880"/>
                  <a:pt x="870" y="880"/>
                  <a:pt x="867" y="878"/>
                </a:cubicBezTo>
                <a:cubicBezTo>
                  <a:pt x="865" y="877"/>
                  <a:pt x="865" y="877"/>
                  <a:pt x="863" y="880"/>
                </a:cubicBezTo>
                <a:cubicBezTo>
                  <a:pt x="863" y="878"/>
                  <a:pt x="863" y="878"/>
                  <a:pt x="863" y="876"/>
                </a:cubicBezTo>
                <a:cubicBezTo>
                  <a:pt x="861" y="875"/>
                  <a:pt x="861" y="875"/>
                  <a:pt x="861" y="875"/>
                </a:cubicBezTo>
                <a:cubicBezTo>
                  <a:pt x="859" y="875"/>
                  <a:pt x="858" y="875"/>
                  <a:pt x="856" y="873"/>
                </a:cubicBezTo>
                <a:cubicBezTo>
                  <a:pt x="856" y="873"/>
                  <a:pt x="855" y="873"/>
                  <a:pt x="855" y="873"/>
                </a:cubicBezTo>
                <a:cubicBezTo>
                  <a:pt x="855" y="873"/>
                  <a:pt x="853" y="871"/>
                  <a:pt x="853" y="871"/>
                </a:cubicBezTo>
                <a:cubicBezTo>
                  <a:pt x="851" y="871"/>
                  <a:pt x="851" y="871"/>
                  <a:pt x="851" y="871"/>
                </a:cubicBezTo>
                <a:cubicBezTo>
                  <a:pt x="849" y="869"/>
                  <a:pt x="849" y="869"/>
                  <a:pt x="849" y="869"/>
                </a:cubicBezTo>
                <a:cubicBezTo>
                  <a:pt x="847" y="869"/>
                  <a:pt x="847" y="869"/>
                  <a:pt x="847" y="869"/>
                </a:cubicBezTo>
                <a:cubicBezTo>
                  <a:pt x="847" y="869"/>
                  <a:pt x="844" y="867"/>
                  <a:pt x="843" y="868"/>
                </a:cubicBezTo>
                <a:cubicBezTo>
                  <a:pt x="842" y="869"/>
                  <a:pt x="841" y="869"/>
                  <a:pt x="841" y="869"/>
                </a:cubicBezTo>
                <a:cubicBezTo>
                  <a:pt x="838" y="868"/>
                  <a:pt x="838" y="868"/>
                  <a:pt x="838" y="868"/>
                </a:cubicBezTo>
                <a:cubicBezTo>
                  <a:pt x="838" y="869"/>
                  <a:pt x="838" y="869"/>
                  <a:pt x="838" y="869"/>
                </a:cubicBezTo>
                <a:cubicBezTo>
                  <a:pt x="835" y="869"/>
                  <a:pt x="834" y="871"/>
                  <a:pt x="834" y="873"/>
                </a:cubicBezTo>
                <a:cubicBezTo>
                  <a:pt x="835" y="874"/>
                  <a:pt x="835" y="874"/>
                  <a:pt x="833" y="876"/>
                </a:cubicBezTo>
                <a:cubicBezTo>
                  <a:pt x="832" y="876"/>
                  <a:pt x="832" y="876"/>
                  <a:pt x="832" y="877"/>
                </a:cubicBezTo>
                <a:cubicBezTo>
                  <a:pt x="830" y="878"/>
                  <a:pt x="830" y="878"/>
                  <a:pt x="829" y="880"/>
                </a:cubicBezTo>
                <a:cubicBezTo>
                  <a:pt x="828" y="880"/>
                  <a:pt x="828" y="881"/>
                  <a:pt x="827" y="882"/>
                </a:cubicBezTo>
                <a:cubicBezTo>
                  <a:pt x="827" y="882"/>
                  <a:pt x="826" y="881"/>
                  <a:pt x="825" y="883"/>
                </a:cubicBezTo>
                <a:cubicBezTo>
                  <a:pt x="825" y="883"/>
                  <a:pt x="823" y="888"/>
                  <a:pt x="823" y="889"/>
                </a:cubicBezTo>
                <a:cubicBezTo>
                  <a:pt x="823" y="889"/>
                  <a:pt x="823" y="888"/>
                  <a:pt x="823" y="888"/>
                </a:cubicBezTo>
                <a:cubicBezTo>
                  <a:pt x="823" y="884"/>
                  <a:pt x="824" y="885"/>
                  <a:pt x="824" y="883"/>
                </a:cubicBezTo>
                <a:cubicBezTo>
                  <a:pt x="824" y="883"/>
                  <a:pt x="824" y="882"/>
                  <a:pt x="824" y="881"/>
                </a:cubicBezTo>
                <a:cubicBezTo>
                  <a:pt x="824" y="881"/>
                  <a:pt x="826" y="880"/>
                  <a:pt x="825" y="880"/>
                </a:cubicBezTo>
                <a:cubicBezTo>
                  <a:pt x="825" y="879"/>
                  <a:pt x="824" y="880"/>
                  <a:pt x="823" y="880"/>
                </a:cubicBezTo>
                <a:cubicBezTo>
                  <a:pt x="821" y="881"/>
                  <a:pt x="819" y="881"/>
                  <a:pt x="819" y="884"/>
                </a:cubicBezTo>
                <a:cubicBezTo>
                  <a:pt x="819" y="884"/>
                  <a:pt x="819" y="881"/>
                  <a:pt x="818" y="881"/>
                </a:cubicBezTo>
                <a:cubicBezTo>
                  <a:pt x="815" y="882"/>
                  <a:pt x="815" y="882"/>
                  <a:pt x="815" y="882"/>
                </a:cubicBezTo>
                <a:cubicBezTo>
                  <a:pt x="813" y="882"/>
                  <a:pt x="813" y="881"/>
                  <a:pt x="813" y="881"/>
                </a:cubicBezTo>
                <a:cubicBezTo>
                  <a:pt x="814" y="880"/>
                  <a:pt x="816" y="880"/>
                  <a:pt x="817" y="880"/>
                </a:cubicBezTo>
                <a:cubicBezTo>
                  <a:pt x="818" y="880"/>
                  <a:pt x="818" y="882"/>
                  <a:pt x="819" y="880"/>
                </a:cubicBezTo>
                <a:cubicBezTo>
                  <a:pt x="819" y="880"/>
                  <a:pt x="820" y="879"/>
                  <a:pt x="820" y="879"/>
                </a:cubicBezTo>
                <a:cubicBezTo>
                  <a:pt x="820" y="880"/>
                  <a:pt x="820" y="880"/>
                  <a:pt x="821" y="880"/>
                </a:cubicBezTo>
                <a:cubicBezTo>
                  <a:pt x="822" y="880"/>
                  <a:pt x="822" y="879"/>
                  <a:pt x="822" y="879"/>
                </a:cubicBezTo>
                <a:cubicBezTo>
                  <a:pt x="823" y="879"/>
                  <a:pt x="822" y="879"/>
                  <a:pt x="823" y="879"/>
                </a:cubicBezTo>
                <a:cubicBezTo>
                  <a:pt x="824" y="879"/>
                  <a:pt x="824" y="879"/>
                  <a:pt x="824" y="879"/>
                </a:cubicBezTo>
                <a:cubicBezTo>
                  <a:pt x="825" y="879"/>
                  <a:pt x="827" y="879"/>
                  <a:pt x="828" y="877"/>
                </a:cubicBezTo>
                <a:cubicBezTo>
                  <a:pt x="828" y="877"/>
                  <a:pt x="829" y="876"/>
                  <a:pt x="830" y="875"/>
                </a:cubicBezTo>
                <a:cubicBezTo>
                  <a:pt x="830" y="874"/>
                  <a:pt x="829" y="874"/>
                  <a:pt x="830" y="873"/>
                </a:cubicBezTo>
                <a:cubicBezTo>
                  <a:pt x="831" y="871"/>
                  <a:pt x="830" y="872"/>
                  <a:pt x="833" y="871"/>
                </a:cubicBezTo>
                <a:cubicBezTo>
                  <a:pt x="831" y="868"/>
                  <a:pt x="833" y="868"/>
                  <a:pt x="833" y="866"/>
                </a:cubicBezTo>
                <a:cubicBezTo>
                  <a:pt x="833" y="865"/>
                  <a:pt x="833" y="864"/>
                  <a:pt x="833" y="864"/>
                </a:cubicBezTo>
                <a:cubicBezTo>
                  <a:pt x="831" y="863"/>
                  <a:pt x="831" y="864"/>
                  <a:pt x="827" y="863"/>
                </a:cubicBezTo>
                <a:cubicBezTo>
                  <a:pt x="826" y="862"/>
                  <a:pt x="826" y="862"/>
                  <a:pt x="825" y="862"/>
                </a:cubicBezTo>
                <a:cubicBezTo>
                  <a:pt x="824" y="862"/>
                  <a:pt x="824" y="863"/>
                  <a:pt x="823" y="863"/>
                </a:cubicBezTo>
                <a:cubicBezTo>
                  <a:pt x="822" y="864"/>
                  <a:pt x="819" y="863"/>
                  <a:pt x="819" y="863"/>
                </a:cubicBezTo>
                <a:cubicBezTo>
                  <a:pt x="818" y="862"/>
                  <a:pt x="819" y="862"/>
                  <a:pt x="816" y="862"/>
                </a:cubicBezTo>
                <a:cubicBezTo>
                  <a:pt x="812" y="863"/>
                  <a:pt x="812" y="863"/>
                  <a:pt x="812" y="863"/>
                </a:cubicBezTo>
                <a:cubicBezTo>
                  <a:pt x="811" y="864"/>
                  <a:pt x="810" y="864"/>
                  <a:pt x="810" y="865"/>
                </a:cubicBezTo>
                <a:cubicBezTo>
                  <a:pt x="810" y="868"/>
                  <a:pt x="811" y="867"/>
                  <a:pt x="809" y="868"/>
                </a:cubicBezTo>
                <a:cubicBezTo>
                  <a:pt x="810" y="870"/>
                  <a:pt x="810" y="870"/>
                  <a:pt x="810" y="870"/>
                </a:cubicBezTo>
                <a:cubicBezTo>
                  <a:pt x="810" y="870"/>
                  <a:pt x="810" y="872"/>
                  <a:pt x="810" y="872"/>
                </a:cubicBezTo>
                <a:cubicBezTo>
                  <a:pt x="810" y="872"/>
                  <a:pt x="811" y="873"/>
                  <a:pt x="811" y="873"/>
                </a:cubicBezTo>
                <a:cubicBezTo>
                  <a:pt x="811" y="873"/>
                  <a:pt x="812" y="872"/>
                  <a:pt x="812" y="873"/>
                </a:cubicBezTo>
                <a:cubicBezTo>
                  <a:pt x="812" y="874"/>
                  <a:pt x="811" y="873"/>
                  <a:pt x="811" y="874"/>
                </a:cubicBezTo>
                <a:cubicBezTo>
                  <a:pt x="810" y="875"/>
                  <a:pt x="810" y="875"/>
                  <a:pt x="811" y="876"/>
                </a:cubicBezTo>
                <a:cubicBezTo>
                  <a:pt x="813" y="879"/>
                  <a:pt x="812" y="879"/>
                  <a:pt x="812" y="880"/>
                </a:cubicBezTo>
                <a:cubicBezTo>
                  <a:pt x="812" y="880"/>
                  <a:pt x="812" y="880"/>
                  <a:pt x="812" y="880"/>
                </a:cubicBezTo>
                <a:cubicBezTo>
                  <a:pt x="812" y="880"/>
                  <a:pt x="811" y="880"/>
                  <a:pt x="811" y="880"/>
                </a:cubicBezTo>
                <a:cubicBezTo>
                  <a:pt x="810" y="877"/>
                  <a:pt x="809" y="877"/>
                  <a:pt x="810" y="874"/>
                </a:cubicBezTo>
                <a:cubicBezTo>
                  <a:pt x="810" y="873"/>
                  <a:pt x="810" y="872"/>
                  <a:pt x="809" y="871"/>
                </a:cubicBezTo>
                <a:cubicBezTo>
                  <a:pt x="808" y="871"/>
                  <a:pt x="808" y="872"/>
                  <a:pt x="807" y="872"/>
                </a:cubicBezTo>
                <a:cubicBezTo>
                  <a:pt x="806" y="875"/>
                  <a:pt x="807" y="874"/>
                  <a:pt x="804" y="875"/>
                </a:cubicBezTo>
                <a:cubicBezTo>
                  <a:pt x="802" y="876"/>
                  <a:pt x="801" y="877"/>
                  <a:pt x="800" y="878"/>
                </a:cubicBezTo>
                <a:cubicBezTo>
                  <a:pt x="800" y="878"/>
                  <a:pt x="799" y="878"/>
                  <a:pt x="799" y="878"/>
                </a:cubicBezTo>
                <a:cubicBezTo>
                  <a:pt x="799" y="878"/>
                  <a:pt x="797" y="879"/>
                  <a:pt x="797" y="879"/>
                </a:cubicBezTo>
                <a:cubicBezTo>
                  <a:pt x="795" y="879"/>
                  <a:pt x="796" y="877"/>
                  <a:pt x="793" y="878"/>
                </a:cubicBezTo>
                <a:cubicBezTo>
                  <a:pt x="793" y="878"/>
                  <a:pt x="792" y="879"/>
                  <a:pt x="792" y="879"/>
                </a:cubicBezTo>
                <a:cubicBezTo>
                  <a:pt x="792" y="879"/>
                  <a:pt x="791" y="879"/>
                  <a:pt x="791" y="879"/>
                </a:cubicBezTo>
                <a:cubicBezTo>
                  <a:pt x="791" y="879"/>
                  <a:pt x="791" y="878"/>
                  <a:pt x="791" y="878"/>
                </a:cubicBezTo>
                <a:cubicBezTo>
                  <a:pt x="791" y="878"/>
                  <a:pt x="792" y="878"/>
                  <a:pt x="792" y="878"/>
                </a:cubicBezTo>
                <a:cubicBezTo>
                  <a:pt x="793" y="878"/>
                  <a:pt x="793" y="877"/>
                  <a:pt x="794" y="877"/>
                </a:cubicBezTo>
                <a:cubicBezTo>
                  <a:pt x="794" y="877"/>
                  <a:pt x="795" y="877"/>
                  <a:pt x="795" y="876"/>
                </a:cubicBezTo>
                <a:cubicBezTo>
                  <a:pt x="795" y="876"/>
                  <a:pt x="796" y="876"/>
                  <a:pt x="796" y="876"/>
                </a:cubicBezTo>
                <a:cubicBezTo>
                  <a:pt x="800" y="877"/>
                  <a:pt x="798" y="875"/>
                  <a:pt x="799" y="874"/>
                </a:cubicBezTo>
                <a:cubicBezTo>
                  <a:pt x="799" y="874"/>
                  <a:pt x="800" y="873"/>
                  <a:pt x="800" y="872"/>
                </a:cubicBezTo>
                <a:cubicBezTo>
                  <a:pt x="801" y="872"/>
                  <a:pt x="801" y="870"/>
                  <a:pt x="801" y="870"/>
                </a:cubicBezTo>
                <a:cubicBezTo>
                  <a:pt x="801" y="870"/>
                  <a:pt x="805" y="864"/>
                  <a:pt x="805" y="864"/>
                </a:cubicBezTo>
                <a:cubicBezTo>
                  <a:pt x="805" y="864"/>
                  <a:pt x="806" y="861"/>
                  <a:pt x="806" y="861"/>
                </a:cubicBezTo>
                <a:cubicBezTo>
                  <a:pt x="807" y="861"/>
                  <a:pt x="810" y="859"/>
                  <a:pt x="810" y="859"/>
                </a:cubicBezTo>
                <a:cubicBezTo>
                  <a:pt x="811" y="858"/>
                  <a:pt x="811" y="856"/>
                  <a:pt x="811" y="856"/>
                </a:cubicBezTo>
                <a:cubicBezTo>
                  <a:pt x="812" y="855"/>
                  <a:pt x="813" y="854"/>
                  <a:pt x="814" y="853"/>
                </a:cubicBezTo>
                <a:cubicBezTo>
                  <a:pt x="816" y="850"/>
                  <a:pt x="815" y="852"/>
                  <a:pt x="817" y="849"/>
                </a:cubicBezTo>
                <a:cubicBezTo>
                  <a:pt x="818" y="849"/>
                  <a:pt x="819" y="848"/>
                  <a:pt x="819" y="848"/>
                </a:cubicBezTo>
                <a:cubicBezTo>
                  <a:pt x="819" y="847"/>
                  <a:pt x="818" y="847"/>
                  <a:pt x="818" y="846"/>
                </a:cubicBezTo>
                <a:cubicBezTo>
                  <a:pt x="818" y="846"/>
                  <a:pt x="819" y="845"/>
                  <a:pt x="819" y="845"/>
                </a:cubicBezTo>
                <a:cubicBezTo>
                  <a:pt x="819" y="842"/>
                  <a:pt x="818" y="841"/>
                  <a:pt x="816" y="840"/>
                </a:cubicBezTo>
                <a:cubicBezTo>
                  <a:pt x="814" y="840"/>
                  <a:pt x="814" y="840"/>
                  <a:pt x="814" y="840"/>
                </a:cubicBezTo>
                <a:cubicBezTo>
                  <a:pt x="810" y="838"/>
                  <a:pt x="810" y="838"/>
                  <a:pt x="810" y="838"/>
                </a:cubicBezTo>
                <a:cubicBezTo>
                  <a:pt x="810" y="838"/>
                  <a:pt x="810" y="838"/>
                  <a:pt x="810" y="838"/>
                </a:cubicBezTo>
                <a:cubicBezTo>
                  <a:pt x="810" y="836"/>
                  <a:pt x="810" y="836"/>
                  <a:pt x="810" y="836"/>
                </a:cubicBezTo>
                <a:cubicBezTo>
                  <a:pt x="812" y="836"/>
                  <a:pt x="809" y="833"/>
                  <a:pt x="809" y="832"/>
                </a:cubicBezTo>
                <a:cubicBezTo>
                  <a:pt x="809" y="831"/>
                  <a:pt x="809" y="828"/>
                  <a:pt x="809" y="828"/>
                </a:cubicBezTo>
                <a:cubicBezTo>
                  <a:pt x="807" y="822"/>
                  <a:pt x="807" y="822"/>
                  <a:pt x="807" y="822"/>
                </a:cubicBezTo>
                <a:cubicBezTo>
                  <a:pt x="807" y="822"/>
                  <a:pt x="807" y="820"/>
                  <a:pt x="807" y="820"/>
                </a:cubicBezTo>
                <a:cubicBezTo>
                  <a:pt x="807" y="819"/>
                  <a:pt x="806" y="815"/>
                  <a:pt x="806" y="815"/>
                </a:cubicBezTo>
                <a:cubicBezTo>
                  <a:pt x="804" y="814"/>
                  <a:pt x="804" y="814"/>
                  <a:pt x="804" y="814"/>
                </a:cubicBezTo>
                <a:cubicBezTo>
                  <a:pt x="804" y="814"/>
                  <a:pt x="804" y="813"/>
                  <a:pt x="802" y="812"/>
                </a:cubicBezTo>
                <a:cubicBezTo>
                  <a:pt x="801" y="815"/>
                  <a:pt x="801" y="815"/>
                  <a:pt x="801" y="815"/>
                </a:cubicBezTo>
                <a:cubicBezTo>
                  <a:pt x="802" y="812"/>
                  <a:pt x="802" y="812"/>
                  <a:pt x="802" y="812"/>
                </a:cubicBezTo>
                <a:cubicBezTo>
                  <a:pt x="801" y="811"/>
                  <a:pt x="801" y="811"/>
                  <a:pt x="801" y="811"/>
                </a:cubicBezTo>
                <a:cubicBezTo>
                  <a:pt x="801" y="809"/>
                  <a:pt x="801" y="809"/>
                  <a:pt x="801" y="809"/>
                </a:cubicBezTo>
                <a:cubicBezTo>
                  <a:pt x="799" y="809"/>
                  <a:pt x="798" y="809"/>
                  <a:pt x="796" y="807"/>
                </a:cubicBezTo>
                <a:cubicBezTo>
                  <a:pt x="792" y="804"/>
                  <a:pt x="792" y="804"/>
                  <a:pt x="792" y="804"/>
                </a:cubicBezTo>
                <a:cubicBezTo>
                  <a:pt x="790" y="800"/>
                  <a:pt x="790" y="800"/>
                  <a:pt x="790" y="800"/>
                </a:cubicBezTo>
                <a:cubicBezTo>
                  <a:pt x="790" y="800"/>
                  <a:pt x="787" y="800"/>
                  <a:pt x="786" y="800"/>
                </a:cubicBezTo>
                <a:cubicBezTo>
                  <a:pt x="785" y="800"/>
                  <a:pt x="782" y="798"/>
                  <a:pt x="782" y="798"/>
                </a:cubicBezTo>
                <a:cubicBezTo>
                  <a:pt x="780" y="797"/>
                  <a:pt x="780" y="797"/>
                  <a:pt x="780" y="797"/>
                </a:cubicBezTo>
                <a:cubicBezTo>
                  <a:pt x="780" y="797"/>
                  <a:pt x="780" y="798"/>
                  <a:pt x="780" y="798"/>
                </a:cubicBezTo>
                <a:cubicBezTo>
                  <a:pt x="780" y="798"/>
                  <a:pt x="780" y="798"/>
                  <a:pt x="780" y="798"/>
                </a:cubicBezTo>
                <a:cubicBezTo>
                  <a:pt x="779" y="797"/>
                  <a:pt x="779" y="797"/>
                  <a:pt x="779" y="797"/>
                </a:cubicBezTo>
                <a:cubicBezTo>
                  <a:pt x="772" y="795"/>
                  <a:pt x="772" y="795"/>
                  <a:pt x="772" y="795"/>
                </a:cubicBezTo>
                <a:cubicBezTo>
                  <a:pt x="767" y="794"/>
                  <a:pt x="769" y="795"/>
                  <a:pt x="765" y="795"/>
                </a:cubicBezTo>
                <a:cubicBezTo>
                  <a:pt x="761" y="795"/>
                  <a:pt x="761" y="795"/>
                  <a:pt x="761" y="795"/>
                </a:cubicBezTo>
                <a:cubicBezTo>
                  <a:pt x="761" y="797"/>
                  <a:pt x="761" y="797"/>
                  <a:pt x="761" y="797"/>
                </a:cubicBezTo>
                <a:cubicBezTo>
                  <a:pt x="756" y="795"/>
                  <a:pt x="756" y="795"/>
                  <a:pt x="750" y="795"/>
                </a:cubicBezTo>
                <a:cubicBezTo>
                  <a:pt x="750" y="795"/>
                  <a:pt x="749" y="796"/>
                  <a:pt x="749" y="796"/>
                </a:cubicBezTo>
                <a:cubicBezTo>
                  <a:pt x="748" y="793"/>
                  <a:pt x="748" y="793"/>
                  <a:pt x="748" y="793"/>
                </a:cubicBezTo>
                <a:cubicBezTo>
                  <a:pt x="746" y="791"/>
                  <a:pt x="746" y="790"/>
                  <a:pt x="744" y="789"/>
                </a:cubicBezTo>
                <a:cubicBezTo>
                  <a:pt x="741" y="786"/>
                  <a:pt x="742" y="788"/>
                  <a:pt x="739" y="785"/>
                </a:cubicBezTo>
                <a:cubicBezTo>
                  <a:pt x="736" y="786"/>
                  <a:pt x="737" y="785"/>
                  <a:pt x="734" y="789"/>
                </a:cubicBezTo>
                <a:cubicBezTo>
                  <a:pt x="734" y="789"/>
                  <a:pt x="735" y="787"/>
                  <a:pt x="735" y="786"/>
                </a:cubicBezTo>
                <a:cubicBezTo>
                  <a:pt x="737" y="779"/>
                  <a:pt x="737" y="779"/>
                  <a:pt x="737" y="779"/>
                </a:cubicBezTo>
                <a:cubicBezTo>
                  <a:pt x="734" y="776"/>
                  <a:pt x="734" y="776"/>
                  <a:pt x="734" y="776"/>
                </a:cubicBezTo>
                <a:cubicBezTo>
                  <a:pt x="734" y="776"/>
                  <a:pt x="725" y="768"/>
                  <a:pt x="724" y="768"/>
                </a:cubicBezTo>
                <a:cubicBezTo>
                  <a:pt x="724" y="767"/>
                  <a:pt x="723" y="769"/>
                  <a:pt x="723" y="769"/>
                </a:cubicBezTo>
                <a:cubicBezTo>
                  <a:pt x="723" y="769"/>
                  <a:pt x="722" y="769"/>
                  <a:pt x="722" y="770"/>
                </a:cubicBezTo>
                <a:cubicBezTo>
                  <a:pt x="722" y="769"/>
                  <a:pt x="723" y="769"/>
                  <a:pt x="723" y="769"/>
                </a:cubicBezTo>
                <a:cubicBezTo>
                  <a:pt x="721" y="766"/>
                  <a:pt x="722" y="767"/>
                  <a:pt x="719" y="765"/>
                </a:cubicBezTo>
                <a:cubicBezTo>
                  <a:pt x="715" y="767"/>
                  <a:pt x="716" y="767"/>
                  <a:pt x="713" y="766"/>
                </a:cubicBezTo>
                <a:cubicBezTo>
                  <a:pt x="713" y="766"/>
                  <a:pt x="713" y="766"/>
                  <a:pt x="713" y="766"/>
                </a:cubicBezTo>
                <a:cubicBezTo>
                  <a:pt x="714" y="765"/>
                  <a:pt x="713" y="765"/>
                  <a:pt x="714" y="764"/>
                </a:cubicBezTo>
                <a:cubicBezTo>
                  <a:pt x="717" y="764"/>
                  <a:pt x="716" y="764"/>
                  <a:pt x="716" y="763"/>
                </a:cubicBezTo>
                <a:cubicBezTo>
                  <a:pt x="717" y="762"/>
                  <a:pt x="717" y="759"/>
                  <a:pt x="715" y="760"/>
                </a:cubicBezTo>
                <a:cubicBezTo>
                  <a:pt x="715" y="761"/>
                  <a:pt x="714" y="763"/>
                  <a:pt x="714" y="763"/>
                </a:cubicBezTo>
                <a:cubicBezTo>
                  <a:pt x="712" y="764"/>
                  <a:pt x="712" y="764"/>
                  <a:pt x="712" y="764"/>
                </a:cubicBezTo>
                <a:cubicBezTo>
                  <a:pt x="712" y="764"/>
                  <a:pt x="712" y="764"/>
                  <a:pt x="712" y="765"/>
                </a:cubicBezTo>
                <a:cubicBezTo>
                  <a:pt x="710" y="768"/>
                  <a:pt x="711" y="767"/>
                  <a:pt x="708" y="768"/>
                </a:cubicBezTo>
                <a:cubicBezTo>
                  <a:pt x="706" y="765"/>
                  <a:pt x="706" y="765"/>
                  <a:pt x="706" y="765"/>
                </a:cubicBezTo>
                <a:cubicBezTo>
                  <a:pt x="706" y="765"/>
                  <a:pt x="708" y="765"/>
                  <a:pt x="709" y="765"/>
                </a:cubicBezTo>
                <a:cubicBezTo>
                  <a:pt x="709" y="765"/>
                  <a:pt x="711" y="761"/>
                  <a:pt x="711" y="761"/>
                </a:cubicBezTo>
                <a:cubicBezTo>
                  <a:pt x="716" y="758"/>
                  <a:pt x="716" y="758"/>
                  <a:pt x="716" y="758"/>
                </a:cubicBezTo>
                <a:cubicBezTo>
                  <a:pt x="712" y="754"/>
                  <a:pt x="712" y="754"/>
                  <a:pt x="712" y="754"/>
                </a:cubicBezTo>
                <a:cubicBezTo>
                  <a:pt x="709" y="754"/>
                  <a:pt x="709" y="754"/>
                  <a:pt x="709" y="754"/>
                </a:cubicBezTo>
                <a:cubicBezTo>
                  <a:pt x="707" y="751"/>
                  <a:pt x="707" y="751"/>
                  <a:pt x="707" y="751"/>
                </a:cubicBezTo>
                <a:cubicBezTo>
                  <a:pt x="706" y="752"/>
                  <a:pt x="706" y="752"/>
                  <a:pt x="706" y="752"/>
                </a:cubicBezTo>
                <a:cubicBezTo>
                  <a:pt x="703" y="750"/>
                  <a:pt x="703" y="750"/>
                  <a:pt x="703" y="750"/>
                </a:cubicBezTo>
                <a:cubicBezTo>
                  <a:pt x="700" y="751"/>
                  <a:pt x="700" y="751"/>
                  <a:pt x="699" y="753"/>
                </a:cubicBezTo>
                <a:cubicBezTo>
                  <a:pt x="699" y="750"/>
                  <a:pt x="699" y="748"/>
                  <a:pt x="697" y="747"/>
                </a:cubicBezTo>
                <a:cubicBezTo>
                  <a:pt x="696" y="745"/>
                  <a:pt x="694" y="746"/>
                  <a:pt x="693" y="744"/>
                </a:cubicBezTo>
                <a:cubicBezTo>
                  <a:pt x="697" y="743"/>
                  <a:pt x="695" y="744"/>
                  <a:pt x="698" y="744"/>
                </a:cubicBezTo>
                <a:cubicBezTo>
                  <a:pt x="699" y="744"/>
                  <a:pt x="702" y="743"/>
                  <a:pt x="703" y="743"/>
                </a:cubicBezTo>
                <a:cubicBezTo>
                  <a:pt x="703" y="743"/>
                  <a:pt x="706" y="741"/>
                  <a:pt x="706" y="741"/>
                </a:cubicBezTo>
                <a:cubicBezTo>
                  <a:pt x="705" y="741"/>
                  <a:pt x="702" y="742"/>
                  <a:pt x="700" y="742"/>
                </a:cubicBezTo>
                <a:cubicBezTo>
                  <a:pt x="699" y="742"/>
                  <a:pt x="694" y="743"/>
                  <a:pt x="694" y="743"/>
                </a:cubicBezTo>
                <a:cubicBezTo>
                  <a:pt x="690" y="742"/>
                  <a:pt x="690" y="742"/>
                  <a:pt x="690" y="742"/>
                </a:cubicBezTo>
                <a:cubicBezTo>
                  <a:pt x="686" y="743"/>
                  <a:pt x="686" y="743"/>
                  <a:pt x="686" y="743"/>
                </a:cubicBezTo>
                <a:cubicBezTo>
                  <a:pt x="685" y="744"/>
                  <a:pt x="685" y="744"/>
                  <a:pt x="685" y="744"/>
                </a:cubicBezTo>
                <a:cubicBezTo>
                  <a:pt x="685" y="745"/>
                  <a:pt x="685" y="745"/>
                  <a:pt x="685" y="745"/>
                </a:cubicBezTo>
                <a:cubicBezTo>
                  <a:pt x="682" y="745"/>
                  <a:pt x="683" y="745"/>
                  <a:pt x="680" y="745"/>
                </a:cubicBezTo>
                <a:cubicBezTo>
                  <a:pt x="677" y="749"/>
                  <a:pt x="677" y="747"/>
                  <a:pt x="673" y="750"/>
                </a:cubicBezTo>
                <a:cubicBezTo>
                  <a:pt x="670" y="748"/>
                  <a:pt x="670" y="748"/>
                  <a:pt x="670" y="748"/>
                </a:cubicBezTo>
                <a:cubicBezTo>
                  <a:pt x="667" y="747"/>
                  <a:pt x="667" y="747"/>
                  <a:pt x="667" y="747"/>
                </a:cubicBezTo>
                <a:cubicBezTo>
                  <a:pt x="665" y="746"/>
                  <a:pt x="665" y="746"/>
                  <a:pt x="665" y="746"/>
                </a:cubicBezTo>
                <a:cubicBezTo>
                  <a:pt x="663" y="743"/>
                  <a:pt x="663" y="743"/>
                  <a:pt x="663" y="743"/>
                </a:cubicBezTo>
                <a:cubicBezTo>
                  <a:pt x="658" y="743"/>
                  <a:pt x="658" y="743"/>
                  <a:pt x="658" y="743"/>
                </a:cubicBezTo>
                <a:cubicBezTo>
                  <a:pt x="654" y="744"/>
                  <a:pt x="654" y="744"/>
                  <a:pt x="654" y="744"/>
                </a:cubicBezTo>
                <a:cubicBezTo>
                  <a:pt x="653" y="744"/>
                  <a:pt x="645" y="744"/>
                  <a:pt x="643" y="744"/>
                </a:cubicBezTo>
                <a:cubicBezTo>
                  <a:pt x="643" y="743"/>
                  <a:pt x="641" y="738"/>
                  <a:pt x="640" y="736"/>
                </a:cubicBezTo>
                <a:cubicBezTo>
                  <a:pt x="638" y="734"/>
                  <a:pt x="633" y="734"/>
                  <a:pt x="629" y="733"/>
                </a:cubicBezTo>
                <a:cubicBezTo>
                  <a:pt x="628" y="732"/>
                  <a:pt x="628" y="729"/>
                  <a:pt x="628" y="728"/>
                </a:cubicBezTo>
                <a:cubicBezTo>
                  <a:pt x="628" y="728"/>
                  <a:pt x="627" y="725"/>
                  <a:pt x="626" y="725"/>
                </a:cubicBezTo>
                <a:cubicBezTo>
                  <a:pt x="626" y="726"/>
                  <a:pt x="623" y="728"/>
                  <a:pt x="623" y="728"/>
                </a:cubicBezTo>
                <a:cubicBezTo>
                  <a:pt x="623" y="728"/>
                  <a:pt x="623" y="730"/>
                  <a:pt x="623" y="730"/>
                </a:cubicBezTo>
                <a:cubicBezTo>
                  <a:pt x="624" y="731"/>
                  <a:pt x="624" y="732"/>
                  <a:pt x="625" y="732"/>
                </a:cubicBezTo>
                <a:cubicBezTo>
                  <a:pt x="627" y="732"/>
                  <a:pt x="628" y="730"/>
                  <a:pt x="628" y="733"/>
                </a:cubicBezTo>
                <a:cubicBezTo>
                  <a:pt x="628" y="733"/>
                  <a:pt x="628" y="734"/>
                  <a:pt x="628" y="734"/>
                </a:cubicBezTo>
                <a:cubicBezTo>
                  <a:pt x="627" y="734"/>
                  <a:pt x="625" y="733"/>
                  <a:pt x="625" y="733"/>
                </a:cubicBezTo>
                <a:cubicBezTo>
                  <a:pt x="625" y="734"/>
                  <a:pt x="624" y="734"/>
                  <a:pt x="624" y="735"/>
                </a:cubicBezTo>
                <a:cubicBezTo>
                  <a:pt x="620" y="737"/>
                  <a:pt x="621" y="736"/>
                  <a:pt x="617" y="736"/>
                </a:cubicBezTo>
                <a:cubicBezTo>
                  <a:pt x="616" y="737"/>
                  <a:pt x="616" y="737"/>
                  <a:pt x="616" y="737"/>
                </a:cubicBezTo>
                <a:cubicBezTo>
                  <a:pt x="612" y="739"/>
                  <a:pt x="612" y="739"/>
                  <a:pt x="612" y="739"/>
                </a:cubicBezTo>
                <a:cubicBezTo>
                  <a:pt x="611" y="741"/>
                  <a:pt x="611" y="741"/>
                  <a:pt x="611" y="741"/>
                </a:cubicBezTo>
                <a:cubicBezTo>
                  <a:pt x="611" y="744"/>
                  <a:pt x="611" y="744"/>
                  <a:pt x="611" y="744"/>
                </a:cubicBezTo>
                <a:cubicBezTo>
                  <a:pt x="611" y="745"/>
                  <a:pt x="612" y="748"/>
                  <a:pt x="612" y="748"/>
                </a:cubicBezTo>
                <a:cubicBezTo>
                  <a:pt x="614" y="750"/>
                  <a:pt x="614" y="750"/>
                  <a:pt x="614" y="750"/>
                </a:cubicBezTo>
                <a:cubicBezTo>
                  <a:pt x="614" y="753"/>
                  <a:pt x="614" y="753"/>
                  <a:pt x="614" y="753"/>
                </a:cubicBezTo>
                <a:cubicBezTo>
                  <a:pt x="614" y="756"/>
                  <a:pt x="614" y="756"/>
                  <a:pt x="614" y="756"/>
                </a:cubicBezTo>
                <a:cubicBezTo>
                  <a:pt x="614" y="758"/>
                  <a:pt x="612" y="758"/>
                  <a:pt x="611" y="759"/>
                </a:cubicBezTo>
                <a:cubicBezTo>
                  <a:pt x="609" y="760"/>
                  <a:pt x="609" y="760"/>
                  <a:pt x="609" y="760"/>
                </a:cubicBezTo>
                <a:cubicBezTo>
                  <a:pt x="608" y="759"/>
                  <a:pt x="608" y="759"/>
                  <a:pt x="608" y="759"/>
                </a:cubicBezTo>
                <a:cubicBezTo>
                  <a:pt x="608" y="759"/>
                  <a:pt x="608" y="757"/>
                  <a:pt x="607" y="756"/>
                </a:cubicBezTo>
                <a:cubicBezTo>
                  <a:pt x="605" y="754"/>
                  <a:pt x="606" y="755"/>
                  <a:pt x="605" y="752"/>
                </a:cubicBezTo>
                <a:cubicBezTo>
                  <a:pt x="604" y="751"/>
                  <a:pt x="606" y="750"/>
                  <a:pt x="606" y="749"/>
                </a:cubicBezTo>
                <a:cubicBezTo>
                  <a:pt x="609" y="745"/>
                  <a:pt x="609" y="745"/>
                  <a:pt x="609" y="745"/>
                </a:cubicBezTo>
                <a:cubicBezTo>
                  <a:pt x="609" y="745"/>
                  <a:pt x="610" y="742"/>
                  <a:pt x="610" y="742"/>
                </a:cubicBezTo>
                <a:cubicBezTo>
                  <a:pt x="610" y="737"/>
                  <a:pt x="609" y="738"/>
                  <a:pt x="607" y="736"/>
                </a:cubicBezTo>
                <a:cubicBezTo>
                  <a:pt x="607" y="736"/>
                  <a:pt x="606" y="735"/>
                  <a:pt x="606" y="734"/>
                </a:cubicBezTo>
                <a:cubicBezTo>
                  <a:pt x="604" y="736"/>
                  <a:pt x="604" y="736"/>
                  <a:pt x="604" y="736"/>
                </a:cubicBezTo>
                <a:cubicBezTo>
                  <a:pt x="607" y="732"/>
                  <a:pt x="607" y="732"/>
                  <a:pt x="607" y="732"/>
                </a:cubicBezTo>
                <a:cubicBezTo>
                  <a:pt x="607" y="731"/>
                  <a:pt x="612" y="730"/>
                  <a:pt x="613" y="729"/>
                </a:cubicBezTo>
                <a:cubicBezTo>
                  <a:pt x="614" y="729"/>
                  <a:pt x="614" y="726"/>
                  <a:pt x="615" y="725"/>
                </a:cubicBezTo>
                <a:cubicBezTo>
                  <a:pt x="615" y="725"/>
                  <a:pt x="614" y="724"/>
                  <a:pt x="614" y="724"/>
                </a:cubicBezTo>
                <a:cubicBezTo>
                  <a:pt x="614" y="724"/>
                  <a:pt x="612" y="723"/>
                  <a:pt x="612" y="723"/>
                </a:cubicBezTo>
                <a:cubicBezTo>
                  <a:pt x="611" y="722"/>
                  <a:pt x="609" y="723"/>
                  <a:pt x="609" y="724"/>
                </a:cubicBezTo>
                <a:cubicBezTo>
                  <a:pt x="609" y="724"/>
                  <a:pt x="608" y="726"/>
                  <a:pt x="607" y="725"/>
                </a:cubicBezTo>
                <a:cubicBezTo>
                  <a:pt x="606" y="725"/>
                  <a:pt x="606" y="725"/>
                  <a:pt x="606" y="725"/>
                </a:cubicBezTo>
                <a:cubicBezTo>
                  <a:pt x="606" y="726"/>
                  <a:pt x="604" y="729"/>
                  <a:pt x="603" y="730"/>
                </a:cubicBezTo>
                <a:cubicBezTo>
                  <a:pt x="603" y="730"/>
                  <a:pt x="600" y="731"/>
                  <a:pt x="600" y="731"/>
                </a:cubicBezTo>
                <a:cubicBezTo>
                  <a:pt x="599" y="731"/>
                  <a:pt x="594" y="736"/>
                  <a:pt x="594" y="736"/>
                </a:cubicBezTo>
                <a:cubicBezTo>
                  <a:pt x="591" y="736"/>
                  <a:pt x="590" y="736"/>
                  <a:pt x="588" y="736"/>
                </a:cubicBezTo>
                <a:cubicBezTo>
                  <a:pt x="586" y="735"/>
                  <a:pt x="589" y="734"/>
                  <a:pt x="585" y="735"/>
                </a:cubicBezTo>
                <a:cubicBezTo>
                  <a:pt x="584" y="735"/>
                  <a:pt x="584" y="739"/>
                  <a:pt x="584" y="740"/>
                </a:cubicBezTo>
                <a:cubicBezTo>
                  <a:pt x="584" y="740"/>
                  <a:pt x="583" y="741"/>
                  <a:pt x="582" y="741"/>
                </a:cubicBezTo>
                <a:cubicBezTo>
                  <a:pt x="582" y="741"/>
                  <a:pt x="581" y="741"/>
                  <a:pt x="581" y="741"/>
                </a:cubicBezTo>
                <a:cubicBezTo>
                  <a:pt x="582" y="740"/>
                  <a:pt x="582" y="739"/>
                  <a:pt x="582" y="738"/>
                </a:cubicBezTo>
                <a:cubicBezTo>
                  <a:pt x="578" y="739"/>
                  <a:pt x="578" y="739"/>
                  <a:pt x="578" y="739"/>
                </a:cubicBezTo>
                <a:cubicBezTo>
                  <a:pt x="577" y="739"/>
                  <a:pt x="573" y="742"/>
                  <a:pt x="573" y="743"/>
                </a:cubicBezTo>
                <a:cubicBezTo>
                  <a:pt x="570" y="748"/>
                  <a:pt x="570" y="748"/>
                  <a:pt x="570" y="748"/>
                </a:cubicBezTo>
                <a:cubicBezTo>
                  <a:pt x="571" y="749"/>
                  <a:pt x="571" y="749"/>
                  <a:pt x="571" y="749"/>
                </a:cubicBezTo>
                <a:cubicBezTo>
                  <a:pt x="571" y="749"/>
                  <a:pt x="570" y="751"/>
                  <a:pt x="570" y="751"/>
                </a:cubicBezTo>
                <a:cubicBezTo>
                  <a:pt x="570" y="752"/>
                  <a:pt x="571" y="754"/>
                  <a:pt x="571" y="755"/>
                </a:cubicBezTo>
                <a:cubicBezTo>
                  <a:pt x="571" y="755"/>
                  <a:pt x="570" y="756"/>
                  <a:pt x="570" y="756"/>
                </a:cubicBezTo>
                <a:cubicBezTo>
                  <a:pt x="570" y="756"/>
                  <a:pt x="568" y="756"/>
                  <a:pt x="567" y="756"/>
                </a:cubicBezTo>
                <a:cubicBezTo>
                  <a:pt x="565" y="756"/>
                  <a:pt x="565" y="758"/>
                  <a:pt x="565" y="758"/>
                </a:cubicBezTo>
                <a:cubicBezTo>
                  <a:pt x="560" y="764"/>
                  <a:pt x="560" y="764"/>
                  <a:pt x="560" y="764"/>
                </a:cubicBezTo>
                <a:cubicBezTo>
                  <a:pt x="560" y="764"/>
                  <a:pt x="557" y="765"/>
                  <a:pt x="557" y="765"/>
                </a:cubicBezTo>
                <a:cubicBezTo>
                  <a:pt x="557" y="765"/>
                  <a:pt x="557" y="766"/>
                  <a:pt x="557" y="766"/>
                </a:cubicBezTo>
                <a:cubicBezTo>
                  <a:pt x="559" y="767"/>
                  <a:pt x="559" y="767"/>
                  <a:pt x="558" y="770"/>
                </a:cubicBezTo>
                <a:cubicBezTo>
                  <a:pt x="558" y="772"/>
                  <a:pt x="559" y="773"/>
                  <a:pt x="557" y="773"/>
                </a:cubicBezTo>
                <a:cubicBezTo>
                  <a:pt x="557" y="770"/>
                  <a:pt x="557" y="770"/>
                  <a:pt x="557" y="770"/>
                </a:cubicBezTo>
                <a:cubicBezTo>
                  <a:pt x="555" y="767"/>
                  <a:pt x="555" y="768"/>
                  <a:pt x="553" y="765"/>
                </a:cubicBezTo>
                <a:cubicBezTo>
                  <a:pt x="552" y="766"/>
                  <a:pt x="552" y="766"/>
                  <a:pt x="552" y="766"/>
                </a:cubicBezTo>
                <a:cubicBezTo>
                  <a:pt x="552" y="766"/>
                  <a:pt x="552" y="766"/>
                  <a:pt x="552" y="766"/>
                </a:cubicBezTo>
                <a:cubicBezTo>
                  <a:pt x="551" y="762"/>
                  <a:pt x="551" y="762"/>
                  <a:pt x="551" y="762"/>
                </a:cubicBezTo>
                <a:cubicBezTo>
                  <a:pt x="550" y="762"/>
                  <a:pt x="545" y="757"/>
                  <a:pt x="544" y="757"/>
                </a:cubicBezTo>
                <a:cubicBezTo>
                  <a:pt x="541" y="756"/>
                  <a:pt x="541" y="756"/>
                  <a:pt x="541" y="756"/>
                </a:cubicBezTo>
                <a:cubicBezTo>
                  <a:pt x="538" y="756"/>
                  <a:pt x="538" y="756"/>
                  <a:pt x="538" y="756"/>
                </a:cubicBezTo>
                <a:cubicBezTo>
                  <a:pt x="538" y="755"/>
                  <a:pt x="538" y="755"/>
                  <a:pt x="538" y="755"/>
                </a:cubicBezTo>
                <a:cubicBezTo>
                  <a:pt x="532" y="754"/>
                  <a:pt x="532" y="754"/>
                  <a:pt x="532" y="754"/>
                </a:cubicBezTo>
                <a:cubicBezTo>
                  <a:pt x="529" y="756"/>
                  <a:pt x="529" y="756"/>
                  <a:pt x="529" y="756"/>
                </a:cubicBezTo>
                <a:cubicBezTo>
                  <a:pt x="527" y="758"/>
                  <a:pt x="527" y="758"/>
                  <a:pt x="527" y="758"/>
                </a:cubicBezTo>
                <a:cubicBezTo>
                  <a:pt x="524" y="759"/>
                  <a:pt x="524" y="759"/>
                  <a:pt x="524" y="759"/>
                </a:cubicBezTo>
                <a:cubicBezTo>
                  <a:pt x="520" y="761"/>
                  <a:pt x="520" y="761"/>
                  <a:pt x="520" y="761"/>
                </a:cubicBezTo>
                <a:cubicBezTo>
                  <a:pt x="518" y="762"/>
                  <a:pt x="517" y="762"/>
                  <a:pt x="515" y="763"/>
                </a:cubicBezTo>
                <a:cubicBezTo>
                  <a:pt x="512" y="762"/>
                  <a:pt x="512" y="762"/>
                  <a:pt x="512" y="762"/>
                </a:cubicBezTo>
                <a:cubicBezTo>
                  <a:pt x="511" y="761"/>
                  <a:pt x="510" y="760"/>
                  <a:pt x="509" y="758"/>
                </a:cubicBezTo>
                <a:cubicBezTo>
                  <a:pt x="509" y="761"/>
                  <a:pt x="509" y="761"/>
                  <a:pt x="509" y="761"/>
                </a:cubicBezTo>
                <a:cubicBezTo>
                  <a:pt x="506" y="761"/>
                  <a:pt x="506" y="761"/>
                  <a:pt x="506" y="761"/>
                </a:cubicBezTo>
                <a:cubicBezTo>
                  <a:pt x="505" y="759"/>
                  <a:pt x="505" y="759"/>
                  <a:pt x="505" y="759"/>
                </a:cubicBezTo>
                <a:cubicBezTo>
                  <a:pt x="506" y="758"/>
                  <a:pt x="506" y="758"/>
                  <a:pt x="506" y="758"/>
                </a:cubicBezTo>
                <a:cubicBezTo>
                  <a:pt x="506" y="756"/>
                  <a:pt x="506" y="756"/>
                  <a:pt x="506" y="756"/>
                </a:cubicBezTo>
                <a:cubicBezTo>
                  <a:pt x="502" y="755"/>
                  <a:pt x="503" y="755"/>
                  <a:pt x="500" y="755"/>
                </a:cubicBezTo>
                <a:cubicBezTo>
                  <a:pt x="501" y="755"/>
                  <a:pt x="501" y="755"/>
                  <a:pt x="501" y="755"/>
                </a:cubicBezTo>
                <a:cubicBezTo>
                  <a:pt x="501" y="754"/>
                  <a:pt x="501" y="754"/>
                  <a:pt x="501" y="754"/>
                </a:cubicBezTo>
                <a:cubicBezTo>
                  <a:pt x="499" y="751"/>
                  <a:pt x="499" y="751"/>
                  <a:pt x="499" y="751"/>
                </a:cubicBezTo>
                <a:cubicBezTo>
                  <a:pt x="499" y="751"/>
                  <a:pt x="497" y="748"/>
                  <a:pt x="496" y="748"/>
                </a:cubicBezTo>
                <a:cubicBezTo>
                  <a:pt x="495" y="746"/>
                  <a:pt x="494" y="741"/>
                  <a:pt x="493" y="740"/>
                </a:cubicBezTo>
                <a:cubicBezTo>
                  <a:pt x="493" y="740"/>
                  <a:pt x="493" y="740"/>
                  <a:pt x="493" y="740"/>
                </a:cubicBezTo>
                <a:cubicBezTo>
                  <a:pt x="493" y="739"/>
                  <a:pt x="493" y="739"/>
                  <a:pt x="493" y="739"/>
                </a:cubicBezTo>
                <a:cubicBezTo>
                  <a:pt x="491" y="737"/>
                  <a:pt x="492" y="738"/>
                  <a:pt x="491" y="735"/>
                </a:cubicBezTo>
                <a:cubicBezTo>
                  <a:pt x="491" y="734"/>
                  <a:pt x="492" y="734"/>
                  <a:pt x="492" y="734"/>
                </a:cubicBezTo>
                <a:cubicBezTo>
                  <a:pt x="494" y="730"/>
                  <a:pt x="493" y="731"/>
                  <a:pt x="493" y="729"/>
                </a:cubicBezTo>
                <a:cubicBezTo>
                  <a:pt x="493" y="727"/>
                  <a:pt x="493" y="727"/>
                  <a:pt x="493" y="725"/>
                </a:cubicBezTo>
                <a:cubicBezTo>
                  <a:pt x="493" y="724"/>
                  <a:pt x="493" y="722"/>
                  <a:pt x="493" y="721"/>
                </a:cubicBezTo>
                <a:cubicBezTo>
                  <a:pt x="494" y="720"/>
                  <a:pt x="495" y="720"/>
                  <a:pt x="495" y="719"/>
                </a:cubicBezTo>
                <a:cubicBezTo>
                  <a:pt x="495" y="718"/>
                  <a:pt x="495" y="717"/>
                  <a:pt x="495" y="716"/>
                </a:cubicBezTo>
                <a:cubicBezTo>
                  <a:pt x="495" y="715"/>
                  <a:pt x="496" y="713"/>
                  <a:pt x="496" y="712"/>
                </a:cubicBezTo>
                <a:cubicBezTo>
                  <a:pt x="497" y="710"/>
                  <a:pt x="497" y="708"/>
                  <a:pt x="497" y="706"/>
                </a:cubicBezTo>
                <a:cubicBezTo>
                  <a:pt x="498" y="705"/>
                  <a:pt x="499" y="705"/>
                  <a:pt x="500" y="704"/>
                </a:cubicBezTo>
                <a:cubicBezTo>
                  <a:pt x="500" y="702"/>
                  <a:pt x="500" y="699"/>
                  <a:pt x="500" y="697"/>
                </a:cubicBezTo>
                <a:cubicBezTo>
                  <a:pt x="500" y="696"/>
                  <a:pt x="501" y="695"/>
                  <a:pt x="501" y="694"/>
                </a:cubicBezTo>
                <a:cubicBezTo>
                  <a:pt x="501" y="693"/>
                  <a:pt x="500" y="693"/>
                  <a:pt x="499" y="693"/>
                </a:cubicBezTo>
                <a:cubicBezTo>
                  <a:pt x="499" y="693"/>
                  <a:pt x="499" y="693"/>
                  <a:pt x="499" y="694"/>
                </a:cubicBezTo>
                <a:cubicBezTo>
                  <a:pt x="499" y="693"/>
                  <a:pt x="499" y="693"/>
                  <a:pt x="499" y="693"/>
                </a:cubicBezTo>
                <a:cubicBezTo>
                  <a:pt x="499" y="691"/>
                  <a:pt x="499" y="691"/>
                  <a:pt x="499" y="691"/>
                </a:cubicBezTo>
                <a:cubicBezTo>
                  <a:pt x="493" y="689"/>
                  <a:pt x="493" y="689"/>
                  <a:pt x="493" y="689"/>
                </a:cubicBezTo>
                <a:cubicBezTo>
                  <a:pt x="493" y="686"/>
                  <a:pt x="493" y="687"/>
                  <a:pt x="491" y="685"/>
                </a:cubicBezTo>
                <a:cubicBezTo>
                  <a:pt x="488" y="685"/>
                  <a:pt x="488" y="685"/>
                  <a:pt x="488" y="685"/>
                </a:cubicBezTo>
                <a:cubicBezTo>
                  <a:pt x="486" y="684"/>
                  <a:pt x="486" y="684"/>
                  <a:pt x="486" y="684"/>
                </a:cubicBezTo>
                <a:cubicBezTo>
                  <a:pt x="485" y="683"/>
                  <a:pt x="482" y="684"/>
                  <a:pt x="482" y="684"/>
                </a:cubicBezTo>
                <a:cubicBezTo>
                  <a:pt x="478" y="684"/>
                  <a:pt x="478" y="684"/>
                  <a:pt x="478" y="684"/>
                </a:cubicBezTo>
                <a:cubicBezTo>
                  <a:pt x="477" y="681"/>
                  <a:pt x="475" y="684"/>
                  <a:pt x="475" y="684"/>
                </a:cubicBezTo>
                <a:cubicBezTo>
                  <a:pt x="471" y="684"/>
                  <a:pt x="471" y="684"/>
                  <a:pt x="471" y="684"/>
                </a:cubicBezTo>
                <a:cubicBezTo>
                  <a:pt x="468" y="685"/>
                  <a:pt x="468" y="685"/>
                  <a:pt x="468" y="685"/>
                </a:cubicBezTo>
                <a:cubicBezTo>
                  <a:pt x="464" y="685"/>
                  <a:pt x="464" y="685"/>
                  <a:pt x="464" y="685"/>
                </a:cubicBezTo>
                <a:cubicBezTo>
                  <a:pt x="462" y="685"/>
                  <a:pt x="462" y="685"/>
                  <a:pt x="462" y="685"/>
                </a:cubicBezTo>
                <a:cubicBezTo>
                  <a:pt x="459" y="685"/>
                  <a:pt x="459" y="685"/>
                  <a:pt x="459" y="685"/>
                </a:cubicBezTo>
                <a:cubicBezTo>
                  <a:pt x="459" y="683"/>
                  <a:pt x="459" y="683"/>
                  <a:pt x="459" y="683"/>
                </a:cubicBezTo>
                <a:cubicBezTo>
                  <a:pt x="456" y="684"/>
                  <a:pt x="456" y="684"/>
                  <a:pt x="456" y="684"/>
                </a:cubicBezTo>
                <a:cubicBezTo>
                  <a:pt x="455" y="686"/>
                  <a:pt x="455" y="686"/>
                  <a:pt x="455" y="686"/>
                </a:cubicBezTo>
                <a:cubicBezTo>
                  <a:pt x="453" y="686"/>
                  <a:pt x="453" y="686"/>
                  <a:pt x="453" y="686"/>
                </a:cubicBezTo>
                <a:cubicBezTo>
                  <a:pt x="451" y="684"/>
                  <a:pt x="451" y="684"/>
                  <a:pt x="451" y="684"/>
                </a:cubicBezTo>
                <a:cubicBezTo>
                  <a:pt x="449" y="686"/>
                  <a:pt x="449" y="686"/>
                  <a:pt x="449" y="686"/>
                </a:cubicBezTo>
                <a:cubicBezTo>
                  <a:pt x="445" y="684"/>
                  <a:pt x="445" y="684"/>
                  <a:pt x="445" y="684"/>
                </a:cubicBezTo>
                <a:cubicBezTo>
                  <a:pt x="447" y="685"/>
                  <a:pt x="447" y="685"/>
                  <a:pt x="447" y="685"/>
                </a:cubicBezTo>
                <a:cubicBezTo>
                  <a:pt x="448" y="682"/>
                  <a:pt x="448" y="682"/>
                  <a:pt x="448" y="682"/>
                </a:cubicBezTo>
                <a:cubicBezTo>
                  <a:pt x="448" y="682"/>
                  <a:pt x="450" y="681"/>
                  <a:pt x="451" y="680"/>
                </a:cubicBezTo>
                <a:cubicBezTo>
                  <a:pt x="451" y="680"/>
                  <a:pt x="455" y="678"/>
                  <a:pt x="455" y="678"/>
                </a:cubicBezTo>
                <a:cubicBezTo>
                  <a:pt x="455" y="670"/>
                  <a:pt x="455" y="670"/>
                  <a:pt x="455" y="670"/>
                </a:cubicBezTo>
                <a:cubicBezTo>
                  <a:pt x="455" y="669"/>
                  <a:pt x="455" y="668"/>
                  <a:pt x="455" y="668"/>
                </a:cubicBezTo>
                <a:cubicBezTo>
                  <a:pt x="455" y="667"/>
                  <a:pt x="457" y="662"/>
                  <a:pt x="458" y="661"/>
                </a:cubicBezTo>
                <a:cubicBezTo>
                  <a:pt x="459" y="660"/>
                  <a:pt x="459" y="660"/>
                  <a:pt x="459" y="660"/>
                </a:cubicBezTo>
                <a:cubicBezTo>
                  <a:pt x="459" y="657"/>
                  <a:pt x="459" y="657"/>
                  <a:pt x="459" y="657"/>
                </a:cubicBezTo>
                <a:cubicBezTo>
                  <a:pt x="458" y="656"/>
                  <a:pt x="457" y="656"/>
                  <a:pt x="457" y="656"/>
                </a:cubicBezTo>
                <a:cubicBezTo>
                  <a:pt x="459" y="652"/>
                  <a:pt x="459" y="652"/>
                  <a:pt x="459" y="652"/>
                </a:cubicBezTo>
                <a:cubicBezTo>
                  <a:pt x="460" y="652"/>
                  <a:pt x="460" y="652"/>
                  <a:pt x="460" y="652"/>
                </a:cubicBezTo>
                <a:cubicBezTo>
                  <a:pt x="459" y="656"/>
                  <a:pt x="459" y="655"/>
                  <a:pt x="460" y="657"/>
                </a:cubicBezTo>
                <a:cubicBezTo>
                  <a:pt x="462" y="657"/>
                  <a:pt x="462" y="657"/>
                  <a:pt x="462" y="657"/>
                </a:cubicBezTo>
                <a:cubicBezTo>
                  <a:pt x="463" y="654"/>
                  <a:pt x="463" y="654"/>
                  <a:pt x="463" y="654"/>
                </a:cubicBezTo>
                <a:cubicBezTo>
                  <a:pt x="464" y="651"/>
                  <a:pt x="464" y="651"/>
                  <a:pt x="464" y="651"/>
                </a:cubicBezTo>
                <a:cubicBezTo>
                  <a:pt x="465" y="647"/>
                  <a:pt x="465" y="647"/>
                  <a:pt x="465" y="647"/>
                </a:cubicBezTo>
                <a:cubicBezTo>
                  <a:pt x="464" y="647"/>
                  <a:pt x="464" y="647"/>
                  <a:pt x="464" y="647"/>
                </a:cubicBezTo>
                <a:cubicBezTo>
                  <a:pt x="465" y="644"/>
                  <a:pt x="465" y="644"/>
                  <a:pt x="465" y="644"/>
                </a:cubicBezTo>
                <a:cubicBezTo>
                  <a:pt x="467" y="643"/>
                  <a:pt x="467" y="643"/>
                  <a:pt x="467" y="643"/>
                </a:cubicBezTo>
                <a:cubicBezTo>
                  <a:pt x="465" y="643"/>
                  <a:pt x="465" y="643"/>
                  <a:pt x="465" y="643"/>
                </a:cubicBezTo>
                <a:cubicBezTo>
                  <a:pt x="466" y="641"/>
                  <a:pt x="466" y="641"/>
                  <a:pt x="466" y="641"/>
                </a:cubicBezTo>
                <a:cubicBezTo>
                  <a:pt x="467" y="641"/>
                  <a:pt x="467" y="641"/>
                  <a:pt x="467" y="641"/>
                </a:cubicBezTo>
                <a:cubicBezTo>
                  <a:pt x="467" y="638"/>
                  <a:pt x="467" y="638"/>
                  <a:pt x="467" y="638"/>
                </a:cubicBezTo>
                <a:cubicBezTo>
                  <a:pt x="470" y="633"/>
                  <a:pt x="470" y="633"/>
                  <a:pt x="470" y="633"/>
                </a:cubicBezTo>
                <a:cubicBezTo>
                  <a:pt x="473" y="630"/>
                  <a:pt x="473" y="630"/>
                  <a:pt x="473" y="630"/>
                </a:cubicBezTo>
                <a:cubicBezTo>
                  <a:pt x="475" y="627"/>
                  <a:pt x="475" y="627"/>
                  <a:pt x="475" y="627"/>
                </a:cubicBezTo>
                <a:cubicBezTo>
                  <a:pt x="475" y="622"/>
                  <a:pt x="475" y="622"/>
                  <a:pt x="475" y="622"/>
                </a:cubicBezTo>
                <a:cubicBezTo>
                  <a:pt x="472" y="621"/>
                  <a:pt x="472" y="621"/>
                  <a:pt x="472" y="621"/>
                </a:cubicBezTo>
                <a:cubicBezTo>
                  <a:pt x="471" y="622"/>
                  <a:pt x="471" y="622"/>
                  <a:pt x="471" y="622"/>
                </a:cubicBezTo>
                <a:cubicBezTo>
                  <a:pt x="469" y="622"/>
                  <a:pt x="468" y="622"/>
                  <a:pt x="466" y="622"/>
                </a:cubicBezTo>
                <a:cubicBezTo>
                  <a:pt x="462" y="621"/>
                  <a:pt x="462" y="621"/>
                  <a:pt x="462" y="621"/>
                </a:cubicBezTo>
                <a:cubicBezTo>
                  <a:pt x="462" y="621"/>
                  <a:pt x="455" y="624"/>
                  <a:pt x="455" y="624"/>
                </a:cubicBezTo>
                <a:cubicBezTo>
                  <a:pt x="454" y="624"/>
                  <a:pt x="450" y="624"/>
                  <a:pt x="450" y="624"/>
                </a:cubicBezTo>
                <a:cubicBezTo>
                  <a:pt x="447" y="625"/>
                  <a:pt x="447" y="625"/>
                  <a:pt x="447" y="625"/>
                </a:cubicBezTo>
                <a:cubicBezTo>
                  <a:pt x="440" y="627"/>
                  <a:pt x="440" y="627"/>
                  <a:pt x="440" y="627"/>
                </a:cubicBezTo>
                <a:cubicBezTo>
                  <a:pt x="439" y="634"/>
                  <a:pt x="439" y="634"/>
                  <a:pt x="439" y="634"/>
                </a:cubicBezTo>
                <a:cubicBezTo>
                  <a:pt x="438" y="635"/>
                  <a:pt x="438" y="640"/>
                  <a:pt x="437" y="640"/>
                </a:cubicBezTo>
                <a:cubicBezTo>
                  <a:pt x="435" y="642"/>
                  <a:pt x="435" y="642"/>
                  <a:pt x="435" y="642"/>
                </a:cubicBezTo>
                <a:cubicBezTo>
                  <a:pt x="434" y="645"/>
                  <a:pt x="434" y="645"/>
                  <a:pt x="434" y="645"/>
                </a:cubicBezTo>
                <a:cubicBezTo>
                  <a:pt x="432" y="649"/>
                  <a:pt x="432" y="649"/>
                  <a:pt x="432" y="649"/>
                </a:cubicBezTo>
                <a:cubicBezTo>
                  <a:pt x="428" y="651"/>
                  <a:pt x="428" y="651"/>
                  <a:pt x="428" y="651"/>
                </a:cubicBezTo>
                <a:cubicBezTo>
                  <a:pt x="428" y="652"/>
                  <a:pt x="428" y="653"/>
                  <a:pt x="428" y="654"/>
                </a:cubicBezTo>
                <a:cubicBezTo>
                  <a:pt x="423" y="656"/>
                  <a:pt x="423" y="656"/>
                  <a:pt x="423" y="656"/>
                </a:cubicBezTo>
                <a:cubicBezTo>
                  <a:pt x="422" y="655"/>
                  <a:pt x="422" y="655"/>
                  <a:pt x="421" y="654"/>
                </a:cubicBezTo>
                <a:cubicBezTo>
                  <a:pt x="413" y="654"/>
                  <a:pt x="413" y="654"/>
                  <a:pt x="413" y="654"/>
                </a:cubicBezTo>
                <a:cubicBezTo>
                  <a:pt x="411" y="656"/>
                  <a:pt x="411" y="656"/>
                  <a:pt x="411" y="656"/>
                </a:cubicBezTo>
                <a:cubicBezTo>
                  <a:pt x="407" y="656"/>
                  <a:pt x="407" y="656"/>
                  <a:pt x="407" y="656"/>
                </a:cubicBezTo>
                <a:cubicBezTo>
                  <a:pt x="406" y="656"/>
                  <a:pt x="404" y="658"/>
                  <a:pt x="402" y="658"/>
                </a:cubicBezTo>
                <a:cubicBezTo>
                  <a:pt x="398" y="659"/>
                  <a:pt x="398" y="659"/>
                  <a:pt x="398" y="659"/>
                </a:cubicBezTo>
                <a:cubicBezTo>
                  <a:pt x="398" y="659"/>
                  <a:pt x="397" y="659"/>
                  <a:pt x="396" y="659"/>
                </a:cubicBezTo>
                <a:cubicBezTo>
                  <a:pt x="390" y="653"/>
                  <a:pt x="390" y="653"/>
                  <a:pt x="390" y="653"/>
                </a:cubicBezTo>
                <a:cubicBezTo>
                  <a:pt x="390" y="652"/>
                  <a:pt x="385" y="652"/>
                  <a:pt x="384" y="652"/>
                </a:cubicBezTo>
                <a:cubicBezTo>
                  <a:pt x="381" y="645"/>
                  <a:pt x="381" y="645"/>
                  <a:pt x="381" y="645"/>
                </a:cubicBezTo>
                <a:cubicBezTo>
                  <a:pt x="381" y="641"/>
                  <a:pt x="381" y="641"/>
                  <a:pt x="381" y="641"/>
                </a:cubicBezTo>
                <a:cubicBezTo>
                  <a:pt x="375" y="632"/>
                  <a:pt x="375" y="632"/>
                  <a:pt x="375" y="632"/>
                </a:cubicBezTo>
                <a:cubicBezTo>
                  <a:pt x="375" y="632"/>
                  <a:pt x="373" y="625"/>
                  <a:pt x="373" y="625"/>
                </a:cubicBezTo>
                <a:cubicBezTo>
                  <a:pt x="373" y="624"/>
                  <a:pt x="372" y="618"/>
                  <a:pt x="372" y="618"/>
                </a:cubicBezTo>
                <a:cubicBezTo>
                  <a:pt x="373" y="614"/>
                  <a:pt x="373" y="614"/>
                  <a:pt x="373" y="614"/>
                </a:cubicBezTo>
                <a:cubicBezTo>
                  <a:pt x="372" y="607"/>
                  <a:pt x="372" y="607"/>
                  <a:pt x="372" y="607"/>
                </a:cubicBezTo>
                <a:cubicBezTo>
                  <a:pt x="375" y="601"/>
                  <a:pt x="375" y="601"/>
                  <a:pt x="375" y="601"/>
                </a:cubicBezTo>
                <a:cubicBezTo>
                  <a:pt x="375" y="593"/>
                  <a:pt x="375" y="593"/>
                  <a:pt x="375" y="593"/>
                </a:cubicBezTo>
                <a:cubicBezTo>
                  <a:pt x="378" y="587"/>
                  <a:pt x="378" y="587"/>
                  <a:pt x="378" y="587"/>
                </a:cubicBezTo>
                <a:cubicBezTo>
                  <a:pt x="379" y="581"/>
                  <a:pt x="379" y="581"/>
                  <a:pt x="379" y="581"/>
                </a:cubicBezTo>
                <a:cubicBezTo>
                  <a:pt x="380" y="579"/>
                  <a:pt x="380" y="579"/>
                  <a:pt x="380" y="579"/>
                </a:cubicBezTo>
                <a:cubicBezTo>
                  <a:pt x="381" y="579"/>
                  <a:pt x="381" y="579"/>
                  <a:pt x="381" y="579"/>
                </a:cubicBezTo>
                <a:cubicBezTo>
                  <a:pt x="384" y="576"/>
                  <a:pt x="384" y="576"/>
                  <a:pt x="384" y="576"/>
                </a:cubicBezTo>
                <a:cubicBezTo>
                  <a:pt x="385" y="574"/>
                  <a:pt x="385" y="574"/>
                  <a:pt x="385" y="574"/>
                </a:cubicBezTo>
                <a:cubicBezTo>
                  <a:pt x="384" y="572"/>
                  <a:pt x="384" y="572"/>
                  <a:pt x="384" y="572"/>
                </a:cubicBezTo>
                <a:cubicBezTo>
                  <a:pt x="384" y="572"/>
                  <a:pt x="384" y="572"/>
                  <a:pt x="384" y="572"/>
                </a:cubicBezTo>
                <a:cubicBezTo>
                  <a:pt x="384" y="569"/>
                  <a:pt x="384" y="569"/>
                  <a:pt x="384" y="569"/>
                </a:cubicBezTo>
                <a:cubicBezTo>
                  <a:pt x="384" y="569"/>
                  <a:pt x="385" y="567"/>
                  <a:pt x="385" y="567"/>
                </a:cubicBezTo>
                <a:cubicBezTo>
                  <a:pt x="385" y="567"/>
                  <a:pt x="384" y="565"/>
                  <a:pt x="384" y="564"/>
                </a:cubicBezTo>
                <a:cubicBezTo>
                  <a:pt x="384" y="564"/>
                  <a:pt x="384" y="561"/>
                  <a:pt x="384" y="561"/>
                </a:cubicBezTo>
                <a:cubicBezTo>
                  <a:pt x="386" y="559"/>
                  <a:pt x="386" y="559"/>
                  <a:pt x="386" y="559"/>
                </a:cubicBezTo>
                <a:cubicBezTo>
                  <a:pt x="383" y="557"/>
                  <a:pt x="383" y="557"/>
                  <a:pt x="383" y="557"/>
                </a:cubicBezTo>
                <a:cubicBezTo>
                  <a:pt x="387" y="558"/>
                  <a:pt x="387" y="558"/>
                  <a:pt x="390" y="555"/>
                </a:cubicBezTo>
                <a:cubicBezTo>
                  <a:pt x="390" y="554"/>
                  <a:pt x="389" y="553"/>
                  <a:pt x="389" y="553"/>
                </a:cubicBezTo>
                <a:cubicBezTo>
                  <a:pt x="387" y="553"/>
                  <a:pt x="388" y="552"/>
                  <a:pt x="387" y="552"/>
                </a:cubicBezTo>
                <a:cubicBezTo>
                  <a:pt x="389" y="552"/>
                  <a:pt x="389" y="552"/>
                  <a:pt x="391" y="551"/>
                </a:cubicBezTo>
                <a:cubicBezTo>
                  <a:pt x="392" y="551"/>
                  <a:pt x="390" y="551"/>
                  <a:pt x="391" y="551"/>
                </a:cubicBezTo>
                <a:cubicBezTo>
                  <a:pt x="391" y="550"/>
                  <a:pt x="391" y="548"/>
                  <a:pt x="391" y="548"/>
                </a:cubicBezTo>
                <a:cubicBezTo>
                  <a:pt x="396" y="550"/>
                  <a:pt x="394" y="548"/>
                  <a:pt x="394" y="548"/>
                </a:cubicBezTo>
                <a:cubicBezTo>
                  <a:pt x="394" y="547"/>
                  <a:pt x="396" y="546"/>
                  <a:pt x="396" y="546"/>
                </a:cubicBezTo>
                <a:cubicBezTo>
                  <a:pt x="396" y="546"/>
                  <a:pt x="398" y="547"/>
                  <a:pt x="398" y="547"/>
                </a:cubicBezTo>
                <a:cubicBezTo>
                  <a:pt x="400" y="546"/>
                  <a:pt x="398" y="546"/>
                  <a:pt x="398" y="544"/>
                </a:cubicBezTo>
                <a:cubicBezTo>
                  <a:pt x="398" y="542"/>
                  <a:pt x="398" y="542"/>
                  <a:pt x="398" y="542"/>
                </a:cubicBezTo>
                <a:cubicBezTo>
                  <a:pt x="403" y="543"/>
                  <a:pt x="403" y="543"/>
                  <a:pt x="403" y="543"/>
                </a:cubicBezTo>
                <a:cubicBezTo>
                  <a:pt x="403" y="543"/>
                  <a:pt x="404" y="542"/>
                  <a:pt x="404" y="542"/>
                </a:cubicBezTo>
                <a:cubicBezTo>
                  <a:pt x="404" y="542"/>
                  <a:pt x="410" y="540"/>
                  <a:pt x="413" y="538"/>
                </a:cubicBezTo>
                <a:cubicBezTo>
                  <a:pt x="415" y="536"/>
                  <a:pt x="416" y="536"/>
                  <a:pt x="416" y="536"/>
                </a:cubicBezTo>
                <a:cubicBezTo>
                  <a:pt x="416" y="535"/>
                  <a:pt x="418" y="534"/>
                  <a:pt x="416" y="534"/>
                </a:cubicBezTo>
                <a:cubicBezTo>
                  <a:pt x="417" y="532"/>
                  <a:pt x="417" y="532"/>
                  <a:pt x="419" y="531"/>
                </a:cubicBezTo>
                <a:cubicBezTo>
                  <a:pt x="419" y="533"/>
                  <a:pt x="419" y="533"/>
                  <a:pt x="419" y="533"/>
                </a:cubicBezTo>
                <a:cubicBezTo>
                  <a:pt x="420" y="533"/>
                  <a:pt x="420" y="533"/>
                  <a:pt x="420" y="533"/>
                </a:cubicBezTo>
                <a:cubicBezTo>
                  <a:pt x="421" y="534"/>
                  <a:pt x="423" y="533"/>
                  <a:pt x="424" y="532"/>
                </a:cubicBezTo>
                <a:cubicBezTo>
                  <a:pt x="425" y="532"/>
                  <a:pt x="426" y="532"/>
                  <a:pt x="427" y="531"/>
                </a:cubicBezTo>
                <a:cubicBezTo>
                  <a:pt x="427" y="529"/>
                  <a:pt x="427" y="529"/>
                  <a:pt x="427" y="529"/>
                </a:cubicBezTo>
                <a:cubicBezTo>
                  <a:pt x="428" y="530"/>
                  <a:pt x="428" y="530"/>
                  <a:pt x="428" y="531"/>
                </a:cubicBezTo>
                <a:cubicBezTo>
                  <a:pt x="432" y="530"/>
                  <a:pt x="431" y="531"/>
                  <a:pt x="433" y="529"/>
                </a:cubicBezTo>
                <a:cubicBezTo>
                  <a:pt x="433" y="529"/>
                  <a:pt x="432" y="530"/>
                  <a:pt x="433" y="530"/>
                </a:cubicBezTo>
                <a:cubicBezTo>
                  <a:pt x="434" y="530"/>
                  <a:pt x="434" y="531"/>
                  <a:pt x="434" y="531"/>
                </a:cubicBezTo>
                <a:cubicBezTo>
                  <a:pt x="435" y="532"/>
                  <a:pt x="437" y="532"/>
                  <a:pt x="439" y="533"/>
                </a:cubicBezTo>
                <a:cubicBezTo>
                  <a:pt x="441" y="533"/>
                  <a:pt x="442" y="533"/>
                  <a:pt x="442" y="532"/>
                </a:cubicBezTo>
                <a:cubicBezTo>
                  <a:pt x="442" y="532"/>
                  <a:pt x="444" y="531"/>
                  <a:pt x="444" y="531"/>
                </a:cubicBezTo>
                <a:cubicBezTo>
                  <a:pt x="445" y="530"/>
                  <a:pt x="446" y="531"/>
                  <a:pt x="447" y="531"/>
                </a:cubicBezTo>
                <a:cubicBezTo>
                  <a:pt x="447" y="531"/>
                  <a:pt x="447" y="533"/>
                  <a:pt x="447" y="533"/>
                </a:cubicBezTo>
                <a:cubicBezTo>
                  <a:pt x="447" y="533"/>
                  <a:pt x="449" y="534"/>
                  <a:pt x="449" y="534"/>
                </a:cubicBezTo>
                <a:cubicBezTo>
                  <a:pt x="449" y="534"/>
                  <a:pt x="449" y="536"/>
                  <a:pt x="449" y="537"/>
                </a:cubicBezTo>
                <a:cubicBezTo>
                  <a:pt x="449" y="537"/>
                  <a:pt x="455" y="538"/>
                  <a:pt x="456" y="537"/>
                </a:cubicBezTo>
                <a:cubicBezTo>
                  <a:pt x="458" y="535"/>
                  <a:pt x="458" y="536"/>
                  <a:pt x="459" y="538"/>
                </a:cubicBezTo>
                <a:cubicBezTo>
                  <a:pt x="459" y="539"/>
                  <a:pt x="459" y="538"/>
                  <a:pt x="459" y="538"/>
                </a:cubicBezTo>
                <a:cubicBezTo>
                  <a:pt x="460" y="538"/>
                  <a:pt x="461" y="537"/>
                  <a:pt x="461" y="536"/>
                </a:cubicBezTo>
                <a:cubicBezTo>
                  <a:pt x="462" y="535"/>
                  <a:pt x="461" y="535"/>
                  <a:pt x="462" y="534"/>
                </a:cubicBezTo>
                <a:cubicBezTo>
                  <a:pt x="463" y="533"/>
                  <a:pt x="464" y="535"/>
                  <a:pt x="466" y="537"/>
                </a:cubicBezTo>
                <a:cubicBezTo>
                  <a:pt x="468" y="540"/>
                  <a:pt x="469" y="540"/>
                  <a:pt x="471" y="538"/>
                </a:cubicBezTo>
                <a:cubicBezTo>
                  <a:pt x="472" y="538"/>
                  <a:pt x="471" y="537"/>
                  <a:pt x="470" y="537"/>
                </a:cubicBezTo>
                <a:cubicBezTo>
                  <a:pt x="470" y="536"/>
                  <a:pt x="468" y="535"/>
                  <a:pt x="468" y="535"/>
                </a:cubicBezTo>
                <a:cubicBezTo>
                  <a:pt x="468" y="535"/>
                  <a:pt x="465" y="533"/>
                  <a:pt x="465" y="533"/>
                </a:cubicBezTo>
                <a:cubicBezTo>
                  <a:pt x="467" y="533"/>
                  <a:pt x="467" y="533"/>
                  <a:pt x="468" y="532"/>
                </a:cubicBezTo>
                <a:cubicBezTo>
                  <a:pt x="469" y="530"/>
                  <a:pt x="472" y="530"/>
                  <a:pt x="469" y="528"/>
                </a:cubicBezTo>
                <a:cubicBezTo>
                  <a:pt x="469" y="528"/>
                  <a:pt x="468" y="529"/>
                  <a:pt x="467" y="530"/>
                </a:cubicBezTo>
                <a:cubicBezTo>
                  <a:pt x="467" y="530"/>
                  <a:pt x="466" y="529"/>
                  <a:pt x="466" y="529"/>
                </a:cubicBezTo>
                <a:cubicBezTo>
                  <a:pt x="466" y="529"/>
                  <a:pt x="465" y="528"/>
                  <a:pt x="465" y="528"/>
                </a:cubicBezTo>
                <a:cubicBezTo>
                  <a:pt x="465" y="528"/>
                  <a:pt x="463" y="528"/>
                  <a:pt x="461" y="527"/>
                </a:cubicBezTo>
                <a:cubicBezTo>
                  <a:pt x="460" y="527"/>
                  <a:pt x="463" y="524"/>
                  <a:pt x="463" y="524"/>
                </a:cubicBezTo>
                <a:cubicBezTo>
                  <a:pt x="463" y="523"/>
                  <a:pt x="464" y="524"/>
                  <a:pt x="465" y="524"/>
                </a:cubicBezTo>
                <a:cubicBezTo>
                  <a:pt x="465" y="524"/>
                  <a:pt x="467" y="526"/>
                  <a:pt x="467" y="526"/>
                </a:cubicBezTo>
                <a:cubicBezTo>
                  <a:pt x="468" y="526"/>
                  <a:pt x="470" y="526"/>
                  <a:pt x="470" y="525"/>
                </a:cubicBezTo>
                <a:cubicBezTo>
                  <a:pt x="474" y="525"/>
                  <a:pt x="475" y="526"/>
                  <a:pt x="475" y="523"/>
                </a:cubicBezTo>
                <a:cubicBezTo>
                  <a:pt x="477" y="525"/>
                  <a:pt x="477" y="525"/>
                  <a:pt x="477" y="525"/>
                </a:cubicBezTo>
                <a:cubicBezTo>
                  <a:pt x="478" y="525"/>
                  <a:pt x="480" y="524"/>
                  <a:pt x="482" y="524"/>
                </a:cubicBezTo>
                <a:cubicBezTo>
                  <a:pt x="482" y="524"/>
                  <a:pt x="482" y="524"/>
                  <a:pt x="482" y="524"/>
                </a:cubicBezTo>
                <a:cubicBezTo>
                  <a:pt x="483" y="523"/>
                  <a:pt x="484" y="521"/>
                  <a:pt x="485" y="520"/>
                </a:cubicBezTo>
                <a:cubicBezTo>
                  <a:pt x="485" y="520"/>
                  <a:pt x="485" y="522"/>
                  <a:pt x="485" y="522"/>
                </a:cubicBezTo>
                <a:cubicBezTo>
                  <a:pt x="485" y="522"/>
                  <a:pt x="485" y="523"/>
                  <a:pt x="485" y="524"/>
                </a:cubicBezTo>
                <a:cubicBezTo>
                  <a:pt x="485" y="525"/>
                  <a:pt x="487" y="526"/>
                  <a:pt x="487" y="524"/>
                </a:cubicBezTo>
                <a:cubicBezTo>
                  <a:pt x="487" y="524"/>
                  <a:pt x="490" y="524"/>
                  <a:pt x="490" y="524"/>
                </a:cubicBezTo>
                <a:cubicBezTo>
                  <a:pt x="491" y="522"/>
                  <a:pt x="491" y="522"/>
                  <a:pt x="491" y="522"/>
                </a:cubicBezTo>
                <a:cubicBezTo>
                  <a:pt x="493" y="522"/>
                  <a:pt x="493" y="522"/>
                  <a:pt x="493" y="522"/>
                </a:cubicBezTo>
                <a:cubicBezTo>
                  <a:pt x="495" y="524"/>
                  <a:pt x="494" y="523"/>
                  <a:pt x="498" y="523"/>
                </a:cubicBezTo>
                <a:cubicBezTo>
                  <a:pt x="498" y="523"/>
                  <a:pt x="500" y="523"/>
                  <a:pt x="500" y="523"/>
                </a:cubicBezTo>
                <a:cubicBezTo>
                  <a:pt x="502" y="525"/>
                  <a:pt x="501" y="526"/>
                  <a:pt x="504" y="525"/>
                </a:cubicBezTo>
                <a:cubicBezTo>
                  <a:pt x="504" y="526"/>
                  <a:pt x="504" y="526"/>
                  <a:pt x="504" y="526"/>
                </a:cubicBezTo>
                <a:cubicBezTo>
                  <a:pt x="506" y="528"/>
                  <a:pt x="506" y="527"/>
                  <a:pt x="506" y="530"/>
                </a:cubicBezTo>
                <a:cubicBezTo>
                  <a:pt x="509" y="532"/>
                  <a:pt x="509" y="532"/>
                  <a:pt x="509" y="532"/>
                </a:cubicBezTo>
                <a:cubicBezTo>
                  <a:pt x="511" y="532"/>
                  <a:pt x="511" y="532"/>
                  <a:pt x="511" y="532"/>
                </a:cubicBezTo>
                <a:cubicBezTo>
                  <a:pt x="511" y="532"/>
                  <a:pt x="513" y="531"/>
                  <a:pt x="514" y="530"/>
                </a:cubicBezTo>
                <a:cubicBezTo>
                  <a:pt x="514" y="529"/>
                  <a:pt x="518" y="528"/>
                  <a:pt x="519" y="527"/>
                </a:cubicBezTo>
                <a:cubicBezTo>
                  <a:pt x="519" y="527"/>
                  <a:pt x="522" y="528"/>
                  <a:pt x="522" y="529"/>
                </a:cubicBezTo>
                <a:cubicBezTo>
                  <a:pt x="523" y="529"/>
                  <a:pt x="525" y="535"/>
                  <a:pt x="526" y="536"/>
                </a:cubicBezTo>
                <a:cubicBezTo>
                  <a:pt x="529" y="538"/>
                  <a:pt x="529" y="538"/>
                  <a:pt x="529" y="538"/>
                </a:cubicBezTo>
                <a:cubicBezTo>
                  <a:pt x="530" y="540"/>
                  <a:pt x="530" y="540"/>
                  <a:pt x="530" y="540"/>
                </a:cubicBezTo>
                <a:cubicBezTo>
                  <a:pt x="530" y="543"/>
                  <a:pt x="530" y="543"/>
                  <a:pt x="530" y="543"/>
                </a:cubicBezTo>
                <a:cubicBezTo>
                  <a:pt x="528" y="547"/>
                  <a:pt x="528" y="547"/>
                  <a:pt x="528" y="547"/>
                </a:cubicBezTo>
                <a:cubicBezTo>
                  <a:pt x="526" y="551"/>
                  <a:pt x="524" y="551"/>
                  <a:pt x="526" y="553"/>
                </a:cubicBezTo>
                <a:cubicBezTo>
                  <a:pt x="526" y="554"/>
                  <a:pt x="528" y="553"/>
                  <a:pt x="528" y="553"/>
                </a:cubicBezTo>
                <a:cubicBezTo>
                  <a:pt x="529" y="551"/>
                  <a:pt x="529" y="551"/>
                  <a:pt x="529" y="551"/>
                </a:cubicBezTo>
                <a:cubicBezTo>
                  <a:pt x="529" y="551"/>
                  <a:pt x="529" y="552"/>
                  <a:pt x="530" y="552"/>
                </a:cubicBezTo>
                <a:cubicBezTo>
                  <a:pt x="531" y="552"/>
                  <a:pt x="528" y="555"/>
                  <a:pt x="528" y="555"/>
                </a:cubicBezTo>
                <a:cubicBezTo>
                  <a:pt x="526" y="557"/>
                  <a:pt x="526" y="557"/>
                  <a:pt x="526" y="557"/>
                </a:cubicBezTo>
                <a:cubicBezTo>
                  <a:pt x="528" y="564"/>
                  <a:pt x="528" y="564"/>
                  <a:pt x="528" y="564"/>
                </a:cubicBezTo>
                <a:cubicBezTo>
                  <a:pt x="528" y="564"/>
                  <a:pt x="529" y="563"/>
                  <a:pt x="529" y="563"/>
                </a:cubicBezTo>
                <a:cubicBezTo>
                  <a:pt x="529" y="562"/>
                  <a:pt x="531" y="563"/>
                  <a:pt x="531" y="563"/>
                </a:cubicBezTo>
                <a:cubicBezTo>
                  <a:pt x="530" y="565"/>
                  <a:pt x="530" y="565"/>
                  <a:pt x="530" y="565"/>
                </a:cubicBezTo>
                <a:cubicBezTo>
                  <a:pt x="530" y="567"/>
                  <a:pt x="530" y="567"/>
                  <a:pt x="530" y="567"/>
                </a:cubicBezTo>
                <a:cubicBezTo>
                  <a:pt x="532" y="568"/>
                  <a:pt x="532" y="568"/>
                  <a:pt x="532" y="568"/>
                </a:cubicBezTo>
                <a:cubicBezTo>
                  <a:pt x="532" y="573"/>
                  <a:pt x="531" y="573"/>
                  <a:pt x="533" y="574"/>
                </a:cubicBezTo>
                <a:cubicBezTo>
                  <a:pt x="536" y="575"/>
                  <a:pt x="535" y="576"/>
                  <a:pt x="536" y="578"/>
                </a:cubicBezTo>
                <a:cubicBezTo>
                  <a:pt x="537" y="580"/>
                  <a:pt x="536" y="580"/>
                  <a:pt x="536" y="581"/>
                </a:cubicBezTo>
                <a:cubicBezTo>
                  <a:pt x="536" y="582"/>
                  <a:pt x="537" y="582"/>
                  <a:pt x="537" y="582"/>
                </a:cubicBezTo>
                <a:cubicBezTo>
                  <a:pt x="539" y="582"/>
                  <a:pt x="539" y="582"/>
                  <a:pt x="539" y="582"/>
                </a:cubicBezTo>
                <a:cubicBezTo>
                  <a:pt x="540" y="582"/>
                  <a:pt x="540" y="582"/>
                  <a:pt x="540" y="582"/>
                </a:cubicBezTo>
                <a:cubicBezTo>
                  <a:pt x="541" y="581"/>
                  <a:pt x="541" y="581"/>
                  <a:pt x="541" y="581"/>
                </a:cubicBezTo>
                <a:cubicBezTo>
                  <a:pt x="543" y="581"/>
                  <a:pt x="543" y="581"/>
                  <a:pt x="543" y="581"/>
                </a:cubicBezTo>
                <a:cubicBezTo>
                  <a:pt x="541" y="584"/>
                  <a:pt x="541" y="584"/>
                  <a:pt x="541" y="584"/>
                </a:cubicBezTo>
                <a:cubicBezTo>
                  <a:pt x="543" y="584"/>
                  <a:pt x="543" y="584"/>
                  <a:pt x="543" y="584"/>
                </a:cubicBezTo>
                <a:cubicBezTo>
                  <a:pt x="544" y="581"/>
                  <a:pt x="544" y="581"/>
                  <a:pt x="544" y="581"/>
                </a:cubicBezTo>
                <a:cubicBezTo>
                  <a:pt x="545" y="580"/>
                  <a:pt x="547" y="578"/>
                  <a:pt x="545" y="578"/>
                </a:cubicBezTo>
                <a:cubicBezTo>
                  <a:pt x="546" y="576"/>
                  <a:pt x="546" y="576"/>
                  <a:pt x="546" y="576"/>
                </a:cubicBezTo>
                <a:cubicBezTo>
                  <a:pt x="547" y="572"/>
                  <a:pt x="547" y="572"/>
                  <a:pt x="547" y="572"/>
                </a:cubicBezTo>
                <a:cubicBezTo>
                  <a:pt x="550" y="567"/>
                  <a:pt x="550" y="567"/>
                  <a:pt x="550" y="567"/>
                </a:cubicBezTo>
                <a:cubicBezTo>
                  <a:pt x="549" y="560"/>
                  <a:pt x="549" y="560"/>
                  <a:pt x="549" y="560"/>
                </a:cubicBezTo>
                <a:cubicBezTo>
                  <a:pt x="549" y="560"/>
                  <a:pt x="548" y="549"/>
                  <a:pt x="548" y="549"/>
                </a:cubicBezTo>
                <a:cubicBezTo>
                  <a:pt x="548" y="548"/>
                  <a:pt x="549" y="546"/>
                  <a:pt x="549" y="545"/>
                </a:cubicBezTo>
                <a:cubicBezTo>
                  <a:pt x="549" y="544"/>
                  <a:pt x="547" y="539"/>
                  <a:pt x="547" y="539"/>
                </a:cubicBezTo>
                <a:cubicBezTo>
                  <a:pt x="547" y="538"/>
                  <a:pt x="545" y="529"/>
                  <a:pt x="545" y="527"/>
                </a:cubicBezTo>
                <a:cubicBezTo>
                  <a:pt x="545" y="527"/>
                  <a:pt x="545" y="523"/>
                  <a:pt x="546" y="523"/>
                </a:cubicBezTo>
                <a:cubicBezTo>
                  <a:pt x="546" y="522"/>
                  <a:pt x="546" y="518"/>
                  <a:pt x="546" y="518"/>
                </a:cubicBezTo>
                <a:cubicBezTo>
                  <a:pt x="549" y="515"/>
                  <a:pt x="549" y="515"/>
                  <a:pt x="549" y="515"/>
                </a:cubicBezTo>
                <a:cubicBezTo>
                  <a:pt x="549" y="512"/>
                  <a:pt x="549" y="512"/>
                  <a:pt x="549" y="512"/>
                </a:cubicBezTo>
                <a:cubicBezTo>
                  <a:pt x="554" y="508"/>
                  <a:pt x="554" y="508"/>
                  <a:pt x="554" y="508"/>
                </a:cubicBezTo>
                <a:cubicBezTo>
                  <a:pt x="554" y="508"/>
                  <a:pt x="556" y="505"/>
                  <a:pt x="556" y="504"/>
                </a:cubicBezTo>
                <a:cubicBezTo>
                  <a:pt x="556" y="504"/>
                  <a:pt x="558" y="503"/>
                  <a:pt x="558" y="503"/>
                </a:cubicBezTo>
                <a:cubicBezTo>
                  <a:pt x="559" y="501"/>
                  <a:pt x="559" y="501"/>
                  <a:pt x="559" y="501"/>
                </a:cubicBezTo>
                <a:cubicBezTo>
                  <a:pt x="559" y="501"/>
                  <a:pt x="569" y="498"/>
                  <a:pt x="570" y="495"/>
                </a:cubicBezTo>
                <a:cubicBezTo>
                  <a:pt x="571" y="495"/>
                  <a:pt x="572" y="495"/>
                  <a:pt x="573" y="494"/>
                </a:cubicBezTo>
                <a:cubicBezTo>
                  <a:pt x="574" y="494"/>
                  <a:pt x="574" y="494"/>
                  <a:pt x="574" y="493"/>
                </a:cubicBezTo>
                <a:cubicBezTo>
                  <a:pt x="575" y="491"/>
                  <a:pt x="577" y="490"/>
                  <a:pt x="579" y="488"/>
                </a:cubicBezTo>
                <a:cubicBezTo>
                  <a:pt x="580" y="487"/>
                  <a:pt x="584" y="485"/>
                  <a:pt x="585" y="485"/>
                </a:cubicBezTo>
                <a:cubicBezTo>
                  <a:pt x="588" y="485"/>
                  <a:pt x="588" y="485"/>
                  <a:pt x="588" y="485"/>
                </a:cubicBezTo>
                <a:cubicBezTo>
                  <a:pt x="590" y="482"/>
                  <a:pt x="589" y="484"/>
                  <a:pt x="591" y="482"/>
                </a:cubicBezTo>
                <a:cubicBezTo>
                  <a:pt x="593" y="480"/>
                  <a:pt x="593" y="480"/>
                  <a:pt x="593" y="480"/>
                </a:cubicBezTo>
                <a:cubicBezTo>
                  <a:pt x="595" y="479"/>
                  <a:pt x="595" y="479"/>
                  <a:pt x="595" y="479"/>
                </a:cubicBezTo>
                <a:cubicBezTo>
                  <a:pt x="596" y="476"/>
                  <a:pt x="596" y="476"/>
                  <a:pt x="596" y="476"/>
                </a:cubicBezTo>
                <a:cubicBezTo>
                  <a:pt x="597" y="477"/>
                  <a:pt x="597" y="477"/>
                  <a:pt x="597" y="477"/>
                </a:cubicBezTo>
                <a:cubicBezTo>
                  <a:pt x="598" y="476"/>
                  <a:pt x="598" y="476"/>
                  <a:pt x="598" y="476"/>
                </a:cubicBezTo>
                <a:cubicBezTo>
                  <a:pt x="598" y="476"/>
                  <a:pt x="599" y="477"/>
                  <a:pt x="603" y="476"/>
                </a:cubicBezTo>
                <a:cubicBezTo>
                  <a:pt x="604" y="476"/>
                  <a:pt x="606" y="475"/>
                  <a:pt x="606" y="474"/>
                </a:cubicBezTo>
                <a:cubicBezTo>
                  <a:pt x="607" y="474"/>
                  <a:pt x="607" y="473"/>
                  <a:pt x="607" y="473"/>
                </a:cubicBezTo>
                <a:cubicBezTo>
                  <a:pt x="604" y="473"/>
                  <a:pt x="604" y="474"/>
                  <a:pt x="603" y="474"/>
                </a:cubicBezTo>
                <a:cubicBezTo>
                  <a:pt x="603" y="474"/>
                  <a:pt x="602" y="473"/>
                  <a:pt x="601" y="473"/>
                </a:cubicBezTo>
                <a:cubicBezTo>
                  <a:pt x="601" y="473"/>
                  <a:pt x="601" y="473"/>
                  <a:pt x="601" y="473"/>
                </a:cubicBezTo>
                <a:cubicBezTo>
                  <a:pt x="603" y="473"/>
                  <a:pt x="603" y="473"/>
                  <a:pt x="603" y="473"/>
                </a:cubicBezTo>
                <a:cubicBezTo>
                  <a:pt x="603" y="473"/>
                  <a:pt x="604" y="473"/>
                  <a:pt x="604" y="472"/>
                </a:cubicBezTo>
                <a:cubicBezTo>
                  <a:pt x="604" y="471"/>
                  <a:pt x="605" y="471"/>
                  <a:pt x="606" y="470"/>
                </a:cubicBezTo>
                <a:cubicBezTo>
                  <a:pt x="605" y="468"/>
                  <a:pt x="606" y="469"/>
                  <a:pt x="604" y="469"/>
                </a:cubicBezTo>
                <a:cubicBezTo>
                  <a:pt x="602" y="468"/>
                  <a:pt x="602" y="468"/>
                  <a:pt x="602" y="468"/>
                </a:cubicBezTo>
                <a:cubicBezTo>
                  <a:pt x="603" y="468"/>
                  <a:pt x="603" y="468"/>
                  <a:pt x="605" y="468"/>
                </a:cubicBezTo>
                <a:cubicBezTo>
                  <a:pt x="606" y="468"/>
                  <a:pt x="605" y="467"/>
                  <a:pt x="606" y="467"/>
                </a:cubicBezTo>
                <a:cubicBezTo>
                  <a:pt x="607" y="466"/>
                  <a:pt x="607" y="471"/>
                  <a:pt x="610" y="469"/>
                </a:cubicBezTo>
                <a:cubicBezTo>
                  <a:pt x="611" y="468"/>
                  <a:pt x="610" y="468"/>
                  <a:pt x="611" y="468"/>
                </a:cubicBezTo>
                <a:cubicBezTo>
                  <a:pt x="611" y="467"/>
                  <a:pt x="613" y="468"/>
                  <a:pt x="615" y="466"/>
                </a:cubicBezTo>
                <a:cubicBezTo>
                  <a:pt x="615" y="466"/>
                  <a:pt x="616" y="463"/>
                  <a:pt x="614" y="463"/>
                </a:cubicBezTo>
                <a:cubicBezTo>
                  <a:pt x="613" y="463"/>
                  <a:pt x="614" y="462"/>
                  <a:pt x="613" y="463"/>
                </a:cubicBezTo>
                <a:cubicBezTo>
                  <a:pt x="613" y="462"/>
                  <a:pt x="613" y="462"/>
                  <a:pt x="611" y="462"/>
                </a:cubicBezTo>
                <a:cubicBezTo>
                  <a:pt x="610" y="462"/>
                  <a:pt x="607" y="462"/>
                  <a:pt x="606" y="461"/>
                </a:cubicBezTo>
                <a:cubicBezTo>
                  <a:pt x="607" y="460"/>
                  <a:pt x="607" y="460"/>
                  <a:pt x="607" y="460"/>
                </a:cubicBezTo>
                <a:cubicBezTo>
                  <a:pt x="608" y="461"/>
                  <a:pt x="608" y="461"/>
                  <a:pt x="610" y="461"/>
                </a:cubicBezTo>
                <a:cubicBezTo>
                  <a:pt x="610" y="461"/>
                  <a:pt x="610" y="460"/>
                  <a:pt x="610" y="460"/>
                </a:cubicBezTo>
                <a:cubicBezTo>
                  <a:pt x="612" y="460"/>
                  <a:pt x="611" y="460"/>
                  <a:pt x="613" y="459"/>
                </a:cubicBezTo>
                <a:cubicBezTo>
                  <a:pt x="614" y="461"/>
                  <a:pt x="615" y="461"/>
                  <a:pt x="616" y="461"/>
                </a:cubicBezTo>
                <a:cubicBezTo>
                  <a:pt x="615" y="459"/>
                  <a:pt x="615" y="459"/>
                  <a:pt x="615" y="459"/>
                </a:cubicBezTo>
                <a:cubicBezTo>
                  <a:pt x="615" y="458"/>
                  <a:pt x="616" y="454"/>
                  <a:pt x="616" y="453"/>
                </a:cubicBezTo>
                <a:cubicBezTo>
                  <a:pt x="616" y="452"/>
                  <a:pt x="616" y="452"/>
                  <a:pt x="612" y="452"/>
                </a:cubicBezTo>
                <a:cubicBezTo>
                  <a:pt x="611" y="450"/>
                  <a:pt x="611" y="450"/>
                  <a:pt x="610" y="448"/>
                </a:cubicBezTo>
                <a:cubicBezTo>
                  <a:pt x="607" y="447"/>
                  <a:pt x="607" y="447"/>
                  <a:pt x="607" y="447"/>
                </a:cubicBezTo>
                <a:cubicBezTo>
                  <a:pt x="608" y="447"/>
                  <a:pt x="609" y="447"/>
                  <a:pt x="610" y="447"/>
                </a:cubicBezTo>
                <a:cubicBezTo>
                  <a:pt x="611" y="448"/>
                  <a:pt x="612" y="452"/>
                  <a:pt x="614" y="451"/>
                </a:cubicBezTo>
                <a:cubicBezTo>
                  <a:pt x="614" y="450"/>
                  <a:pt x="614" y="450"/>
                  <a:pt x="614" y="449"/>
                </a:cubicBezTo>
                <a:cubicBezTo>
                  <a:pt x="612" y="448"/>
                  <a:pt x="612" y="448"/>
                  <a:pt x="612" y="448"/>
                </a:cubicBezTo>
                <a:cubicBezTo>
                  <a:pt x="611" y="447"/>
                  <a:pt x="611" y="447"/>
                  <a:pt x="611" y="447"/>
                </a:cubicBezTo>
                <a:cubicBezTo>
                  <a:pt x="611" y="445"/>
                  <a:pt x="611" y="445"/>
                  <a:pt x="611" y="445"/>
                </a:cubicBezTo>
                <a:cubicBezTo>
                  <a:pt x="612" y="448"/>
                  <a:pt x="612" y="448"/>
                  <a:pt x="613" y="448"/>
                </a:cubicBezTo>
                <a:cubicBezTo>
                  <a:pt x="614" y="446"/>
                  <a:pt x="614" y="446"/>
                  <a:pt x="614" y="446"/>
                </a:cubicBezTo>
                <a:cubicBezTo>
                  <a:pt x="615" y="446"/>
                  <a:pt x="615" y="446"/>
                  <a:pt x="615" y="446"/>
                </a:cubicBezTo>
                <a:cubicBezTo>
                  <a:pt x="615" y="446"/>
                  <a:pt x="615" y="446"/>
                  <a:pt x="615" y="446"/>
                </a:cubicBezTo>
                <a:cubicBezTo>
                  <a:pt x="610" y="439"/>
                  <a:pt x="610" y="439"/>
                  <a:pt x="610" y="439"/>
                </a:cubicBezTo>
                <a:cubicBezTo>
                  <a:pt x="611" y="439"/>
                  <a:pt x="611" y="439"/>
                  <a:pt x="611" y="439"/>
                </a:cubicBezTo>
                <a:cubicBezTo>
                  <a:pt x="611" y="439"/>
                  <a:pt x="613" y="441"/>
                  <a:pt x="614" y="443"/>
                </a:cubicBezTo>
                <a:cubicBezTo>
                  <a:pt x="615" y="445"/>
                  <a:pt x="615" y="444"/>
                  <a:pt x="615" y="444"/>
                </a:cubicBezTo>
                <a:cubicBezTo>
                  <a:pt x="617" y="441"/>
                  <a:pt x="616" y="442"/>
                  <a:pt x="616" y="440"/>
                </a:cubicBezTo>
                <a:cubicBezTo>
                  <a:pt x="616" y="439"/>
                  <a:pt x="615" y="438"/>
                  <a:pt x="615" y="438"/>
                </a:cubicBezTo>
                <a:cubicBezTo>
                  <a:pt x="614" y="438"/>
                  <a:pt x="614" y="438"/>
                  <a:pt x="614" y="438"/>
                </a:cubicBezTo>
                <a:cubicBezTo>
                  <a:pt x="609" y="436"/>
                  <a:pt x="609" y="436"/>
                  <a:pt x="609" y="436"/>
                </a:cubicBezTo>
                <a:cubicBezTo>
                  <a:pt x="609" y="436"/>
                  <a:pt x="611" y="435"/>
                  <a:pt x="611" y="435"/>
                </a:cubicBezTo>
                <a:cubicBezTo>
                  <a:pt x="612" y="434"/>
                  <a:pt x="611" y="432"/>
                  <a:pt x="612" y="432"/>
                </a:cubicBezTo>
                <a:cubicBezTo>
                  <a:pt x="612" y="432"/>
                  <a:pt x="611" y="435"/>
                  <a:pt x="612" y="435"/>
                </a:cubicBezTo>
                <a:cubicBezTo>
                  <a:pt x="613" y="436"/>
                  <a:pt x="616" y="437"/>
                  <a:pt x="616" y="437"/>
                </a:cubicBezTo>
                <a:cubicBezTo>
                  <a:pt x="618" y="437"/>
                  <a:pt x="617" y="434"/>
                  <a:pt x="617" y="433"/>
                </a:cubicBezTo>
                <a:cubicBezTo>
                  <a:pt x="618" y="431"/>
                  <a:pt x="619" y="429"/>
                  <a:pt x="620" y="428"/>
                </a:cubicBezTo>
                <a:cubicBezTo>
                  <a:pt x="621" y="426"/>
                  <a:pt x="621" y="426"/>
                  <a:pt x="623" y="425"/>
                </a:cubicBezTo>
                <a:cubicBezTo>
                  <a:pt x="624" y="424"/>
                  <a:pt x="625" y="424"/>
                  <a:pt x="626" y="422"/>
                </a:cubicBezTo>
                <a:cubicBezTo>
                  <a:pt x="626" y="423"/>
                  <a:pt x="626" y="423"/>
                  <a:pt x="626" y="423"/>
                </a:cubicBezTo>
                <a:cubicBezTo>
                  <a:pt x="624" y="425"/>
                  <a:pt x="625" y="425"/>
                  <a:pt x="622" y="426"/>
                </a:cubicBezTo>
                <a:cubicBezTo>
                  <a:pt x="622" y="430"/>
                  <a:pt x="622" y="428"/>
                  <a:pt x="621" y="429"/>
                </a:cubicBezTo>
                <a:cubicBezTo>
                  <a:pt x="619" y="431"/>
                  <a:pt x="620" y="431"/>
                  <a:pt x="621" y="432"/>
                </a:cubicBezTo>
                <a:cubicBezTo>
                  <a:pt x="621" y="432"/>
                  <a:pt x="620" y="433"/>
                  <a:pt x="620" y="433"/>
                </a:cubicBezTo>
                <a:cubicBezTo>
                  <a:pt x="620" y="434"/>
                  <a:pt x="620" y="435"/>
                  <a:pt x="620" y="435"/>
                </a:cubicBezTo>
                <a:cubicBezTo>
                  <a:pt x="620" y="436"/>
                  <a:pt x="621" y="437"/>
                  <a:pt x="623" y="437"/>
                </a:cubicBezTo>
                <a:cubicBezTo>
                  <a:pt x="621" y="440"/>
                  <a:pt x="621" y="440"/>
                  <a:pt x="621" y="440"/>
                </a:cubicBezTo>
                <a:cubicBezTo>
                  <a:pt x="622" y="441"/>
                  <a:pt x="622" y="441"/>
                  <a:pt x="622" y="441"/>
                </a:cubicBezTo>
                <a:cubicBezTo>
                  <a:pt x="621" y="442"/>
                  <a:pt x="621" y="442"/>
                  <a:pt x="621" y="442"/>
                </a:cubicBezTo>
                <a:cubicBezTo>
                  <a:pt x="618" y="445"/>
                  <a:pt x="619" y="443"/>
                  <a:pt x="617" y="447"/>
                </a:cubicBezTo>
                <a:cubicBezTo>
                  <a:pt x="617" y="449"/>
                  <a:pt x="617" y="449"/>
                  <a:pt x="617" y="449"/>
                </a:cubicBezTo>
                <a:cubicBezTo>
                  <a:pt x="621" y="445"/>
                  <a:pt x="621" y="445"/>
                  <a:pt x="621" y="445"/>
                </a:cubicBezTo>
                <a:cubicBezTo>
                  <a:pt x="625" y="440"/>
                  <a:pt x="625" y="440"/>
                  <a:pt x="625" y="440"/>
                </a:cubicBezTo>
                <a:cubicBezTo>
                  <a:pt x="629" y="434"/>
                  <a:pt x="629" y="434"/>
                  <a:pt x="629" y="434"/>
                </a:cubicBezTo>
                <a:cubicBezTo>
                  <a:pt x="631" y="433"/>
                  <a:pt x="630" y="434"/>
                  <a:pt x="631" y="431"/>
                </a:cubicBezTo>
                <a:cubicBezTo>
                  <a:pt x="628" y="428"/>
                  <a:pt x="629" y="428"/>
                  <a:pt x="630" y="426"/>
                </a:cubicBezTo>
                <a:cubicBezTo>
                  <a:pt x="630" y="425"/>
                  <a:pt x="630" y="423"/>
                  <a:pt x="630" y="422"/>
                </a:cubicBezTo>
                <a:cubicBezTo>
                  <a:pt x="634" y="418"/>
                  <a:pt x="634" y="418"/>
                  <a:pt x="634" y="418"/>
                </a:cubicBezTo>
                <a:cubicBezTo>
                  <a:pt x="634" y="418"/>
                  <a:pt x="634" y="418"/>
                  <a:pt x="634" y="418"/>
                </a:cubicBezTo>
                <a:cubicBezTo>
                  <a:pt x="631" y="421"/>
                  <a:pt x="631" y="421"/>
                  <a:pt x="631" y="421"/>
                </a:cubicBezTo>
                <a:cubicBezTo>
                  <a:pt x="630" y="422"/>
                  <a:pt x="630" y="422"/>
                  <a:pt x="630" y="424"/>
                </a:cubicBezTo>
                <a:cubicBezTo>
                  <a:pt x="632" y="426"/>
                  <a:pt x="632" y="426"/>
                  <a:pt x="633" y="426"/>
                </a:cubicBezTo>
                <a:cubicBezTo>
                  <a:pt x="634" y="427"/>
                  <a:pt x="634" y="427"/>
                  <a:pt x="634" y="427"/>
                </a:cubicBezTo>
                <a:cubicBezTo>
                  <a:pt x="632" y="429"/>
                  <a:pt x="632" y="429"/>
                  <a:pt x="632" y="429"/>
                </a:cubicBezTo>
                <a:cubicBezTo>
                  <a:pt x="633" y="430"/>
                  <a:pt x="633" y="430"/>
                  <a:pt x="633" y="430"/>
                </a:cubicBezTo>
                <a:cubicBezTo>
                  <a:pt x="635" y="429"/>
                  <a:pt x="635" y="429"/>
                  <a:pt x="635" y="429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42" y="422"/>
                  <a:pt x="642" y="422"/>
                  <a:pt x="642" y="422"/>
                </a:cubicBezTo>
                <a:cubicBezTo>
                  <a:pt x="642" y="420"/>
                  <a:pt x="642" y="420"/>
                  <a:pt x="642" y="420"/>
                </a:cubicBezTo>
                <a:cubicBezTo>
                  <a:pt x="643" y="419"/>
                  <a:pt x="647" y="416"/>
                  <a:pt x="647" y="415"/>
                </a:cubicBezTo>
                <a:cubicBezTo>
                  <a:pt x="647" y="415"/>
                  <a:pt x="647" y="413"/>
                  <a:pt x="647" y="413"/>
                </a:cubicBezTo>
                <a:cubicBezTo>
                  <a:pt x="647" y="413"/>
                  <a:pt x="644" y="413"/>
                  <a:pt x="644" y="412"/>
                </a:cubicBezTo>
                <a:cubicBezTo>
                  <a:pt x="644" y="412"/>
                  <a:pt x="647" y="410"/>
                  <a:pt x="648" y="410"/>
                </a:cubicBezTo>
                <a:cubicBezTo>
                  <a:pt x="649" y="408"/>
                  <a:pt x="649" y="409"/>
                  <a:pt x="650" y="407"/>
                </a:cubicBezTo>
                <a:cubicBezTo>
                  <a:pt x="651" y="406"/>
                  <a:pt x="651" y="406"/>
                  <a:pt x="651" y="406"/>
                </a:cubicBezTo>
                <a:cubicBezTo>
                  <a:pt x="651" y="406"/>
                  <a:pt x="650" y="405"/>
                  <a:pt x="651" y="404"/>
                </a:cubicBezTo>
                <a:cubicBezTo>
                  <a:pt x="651" y="406"/>
                  <a:pt x="651" y="406"/>
                  <a:pt x="651" y="406"/>
                </a:cubicBezTo>
                <a:cubicBezTo>
                  <a:pt x="651" y="407"/>
                  <a:pt x="650" y="408"/>
                  <a:pt x="650" y="408"/>
                </a:cubicBezTo>
                <a:cubicBezTo>
                  <a:pt x="651" y="408"/>
                  <a:pt x="651" y="408"/>
                  <a:pt x="651" y="408"/>
                </a:cubicBezTo>
                <a:cubicBezTo>
                  <a:pt x="650" y="409"/>
                  <a:pt x="650" y="409"/>
                  <a:pt x="650" y="409"/>
                </a:cubicBezTo>
                <a:cubicBezTo>
                  <a:pt x="650" y="409"/>
                  <a:pt x="649" y="409"/>
                  <a:pt x="648" y="410"/>
                </a:cubicBezTo>
                <a:cubicBezTo>
                  <a:pt x="648" y="410"/>
                  <a:pt x="648" y="411"/>
                  <a:pt x="648" y="411"/>
                </a:cubicBezTo>
                <a:cubicBezTo>
                  <a:pt x="648" y="412"/>
                  <a:pt x="650" y="412"/>
                  <a:pt x="650" y="411"/>
                </a:cubicBezTo>
                <a:cubicBezTo>
                  <a:pt x="652" y="411"/>
                  <a:pt x="655" y="410"/>
                  <a:pt x="656" y="409"/>
                </a:cubicBezTo>
                <a:cubicBezTo>
                  <a:pt x="659" y="408"/>
                  <a:pt x="659" y="409"/>
                  <a:pt x="661" y="409"/>
                </a:cubicBezTo>
                <a:cubicBezTo>
                  <a:pt x="661" y="409"/>
                  <a:pt x="662" y="408"/>
                  <a:pt x="662" y="408"/>
                </a:cubicBezTo>
                <a:cubicBezTo>
                  <a:pt x="662" y="408"/>
                  <a:pt x="664" y="408"/>
                  <a:pt x="665" y="407"/>
                </a:cubicBezTo>
                <a:cubicBezTo>
                  <a:pt x="666" y="407"/>
                  <a:pt x="667" y="407"/>
                  <a:pt x="667" y="406"/>
                </a:cubicBezTo>
                <a:cubicBezTo>
                  <a:pt x="665" y="406"/>
                  <a:pt x="665" y="406"/>
                  <a:pt x="665" y="406"/>
                </a:cubicBezTo>
                <a:cubicBezTo>
                  <a:pt x="666" y="405"/>
                  <a:pt x="666" y="405"/>
                  <a:pt x="666" y="405"/>
                </a:cubicBezTo>
                <a:cubicBezTo>
                  <a:pt x="665" y="405"/>
                  <a:pt x="665" y="405"/>
                  <a:pt x="665" y="405"/>
                </a:cubicBezTo>
                <a:cubicBezTo>
                  <a:pt x="662" y="406"/>
                  <a:pt x="662" y="406"/>
                  <a:pt x="662" y="406"/>
                </a:cubicBezTo>
                <a:cubicBezTo>
                  <a:pt x="660" y="407"/>
                  <a:pt x="660" y="407"/>
                  <a:pt x="660" y="407"/>
                </a:cubicBezTo>
                <a:cubicBezTo>
                  <a:pt x="660" y="407"/>
                  <a:pt x="653" y="408"/>
                  <a:pt x="652" y="407"/>
                </a:cubicBezTo>
                <a:cubicBezTo>
                  <a:pt x="651" y="406"/>
                  <a:pt x="652" y="406"/>
                  <a:pt x="652" y="406"/>
                </a:cubicBezTo>
                <a:cubicBezTo>
                  <a:pt x="652" y="406"/>
                  <a:pt x="654" y="406"/>
                  <a:pt x="654" y="405"/>
                </a:cubicBezTo>
                <a:cubicBezTo>
                  <a:pt x="655" y="405"/>
                  <a:pt x="657" y="405"/>
                  <a:pt x="657" y="405"/>
                </a:cubicBezTo>
                <a:cubicBezTo>
                  <a:pt x="659" y="404"/>
                  <a:pt x="659" y="404"/>
                  <a:pt x="659" y="404"/>
                </a:cubicBezTo>
                <a:cubicBezTo>
                  <a:pt x="661" y="403"/>
                  <a:pt x="661" y="404"/>
                  <a:pt x="663" y="404"/>
                </a:cubicBezTo>
                <a:cubicBezTo>
                  <a:pt x="665" y="404"/>
                  <a:pt x="666" y="403"/>
                  <a:pt x="667" y="403"/>
                </a:cubicBezTo>
                <a:cubicBezTo>
                  <a:pt x="672" y="403"/>
                  <a:pt x="672" y="403"/>
                  <a:pt x="672" y="403"/>
                </a:cubicBezTo>
                <a:cubicBezTo>
                  <a:pt x="672" y="403"/>
                  <a:pt x="674" y="402"/>
                  <a:pt x="674" y="402"/>
                </a:cubicBezTo>
                <a:cubicBezTo>
                  <a:pt x="675" y="401"/>
                  <a:pt x="675" y="400"/>
                  <a:pt x="675" y="400"/>
                </a:cubicBezTo>
                <a:cubicBezTo>
                  <a:pt x="676" y="398"/>
                  <a:pt x="676" y="398"/>
                  <a:pt x="676" y="398"/>
                </a:cubicBezTo>
                <a:cubicBezTo>
                  <a:pt x="678" y="399"/>
                  <a:pt x="678" y="399"/>
                  <a:pt x="678" y="399"/>
                </a:cubicBezTo>
                <a:cubicBezTo>
                  <a:pt x="676" y="401"/>
                  <a:pt x="676" y="401"/>
                  <a:pt x="676" y="401"/>
                </a:cubicBezTo>
                <a:cubicBezTo>
                  <a:pt x="677" y="401"/>
                  <a:pt x="677" y="401"/>
                  <a:pt x="677" y="401"/>
                </a:cubicBezTo>
                <a:cubicBezTo>
                  <a:pt x="681" y="399"/>
                  <a:pt x="681" y="399"/>
                  <a:pt x="681" y="399"/>
                </a:cubicBezTo>
                <a:cubicBezTo>
                  <a:pt x="682" y="399"/>
                  <a:pt x="682" y="399"/>
                  <a:pt x="682" y="399"/>
                </a:cubicBezTo>
                <a:cubicBezTo>
                  <a:pt x="681" y="400"/>
                  <a:pt x="681" y="400"/>
                  <a:pt x="681" y="400"/>
                </a:cubicBezTo>
                <a:cubicBezTo>
                  <a:pt x="682" y="401"/>
                  <a:pt x="682" y="401"/>
                  <a:pt x="682" y="401"/>
                </a:cubicBezTo>
                <a:cubicBezTo>
                  <a:pt x="683" y="400"/>
                  <a:pt x="683" y="400"/>
                  <a:pt x="683" y="400"/>
                </a:cubicBezTo>
                <a:cubicBezTo>
                  <a:pt x="685" y="399"/>
                  <a:pt x="686" y="399"/>
                  <a:pt x="686" y="399"/>
                </a:cubicBezTo>
                <a:cubicBezTo>
                  <a:pt x="688" y="399"/>
                  <a:pt x="688" y="399"/>
                  <a:pt x="688" y="399"/>
                </a:cubicBezTo>
                <a:cubicBezTo>
                  <a:pt x="689" y="398"/>
                  <a:pt x="689" y="396"/>
                  <a:pt x="688" y="395"/>
                </a:cubicBezTo>
                <a:cubicBezTo>
                  <a:pt x="687" y="394"/>
                  <a:pt x="687" y="394"/>
                  <a:pt x="687" y="394"/>
                </a:cubicBezTo>
                <a:cubicBezTo>
                  <a:pt x="687" y="395"/>
                  <a:pt x="687" y="395"/>
                  <a:pt x="687" y="395"/>
                </a:cubicBezTo>
                <a:cubicBezTo>
                  <a:pt x="687" y="395"/>
                  <a:pt x="687" y="395"/>
                  <a:pt x="687" y="395"/>
                </a:cubicBezTo>
                <a:cubicBezTo>
                  <a:pt x="688" y="396"/>
                  <a:pt x="688" y="396"/>
                  <a:pt x="688" y="397"/>
                </a:cubicBezTo>
                <a:cubicBezTo>
                  <a:pt x="688" y="397"/>
                  <a:pt x="687" y="398"/>
                  <a:pt x="687" y="398"/>
                </a:cubicBezTo>
                <a:cubicBezTo>
                  <a:pt x="687" y="398"/>
                  <a:pt x="685" y="398"/>
                  <a:pt x="685" y="398"/>
                </a:cubicBezTo>
                <a:cubicBezTo>
                  <a:pt x="684" y="398"/>
                  <a:pt x="683" y="396"/>
                  <a:pt x="683" y="396"/>
                </a:cubicBezTo>
                <a:cubicBezTo>
                  <a:pt x="683" y="394"/>
                  <a:pt x="683" y="394"/>
                  <a:pt x="683" y="394"/>
                </a:cubicBezTo>
                <a:cubicBezTo>
                  <a:pt x="682" y="391"/>
                  <a:pt x="682" y="391"/>
                  <a:pt x="682" y="391"/>
                </a:cubicBezTo>
                <a:cubicBezTo>
                  <a:pt x="684" y="389"/>
                  <a:pt x="684" y="389"/>
                  <a:pt x="684" y="389"/>
                </a:cubicBezTo>
                <a:cubicBezTo>
                  <a:pt x="686" y="388"/>
                  <a:pt x="687" y="389"/>
                  <a:pt x="685" y="387"/>
                </a:cubicBezTo>
                <a:cubicBezTo>
                  <a:pt x="685" y="385"/>
                  <a:pt x="685" y="385"/>
                  <a:pt x="685" y="385"/>
                </a:cubicBezTo>
                <a:cubicBezTo>
                  <a:pt x="686" y="384"/>
                  <a:pt x="693" y="378"/>
                  <a:pt x="694" y="377"/>
                </a:cubicBezTo>
                <a:cubicBezTo>
                  <a:pt x="695" y="376"/>
                  <a:pt x="695" y="377"/>
                  <a:pt x="697" y="375"/>
                </a:cubicBezTo>
                <a:cubicBezTo>
                  <a:pt x="699" y="375"/>
                  <a:pt x="699" y="375"/>
                  <a:pt x="699" y="375"/>
                </a:cubicBezTo>
                <a:cubicBezTo>
                  <a:pt x="701" y="373"/>
                  <a:pt x="700" y="374"/>
                  <a:pt x="703" y="374"/>
                </a:cubicBezTo>
                <a:cubicBezTo>
                  <a:pt x="704" y="373"/>
                  <a:pt x="704" y="373"/>
                  <a:pt x="704" y="373"/>
                </a:cubicBezTo>
                <a:cubicBezTo>
                  <a:pt x="707" y="371"/>
                  <a:pt x="707" y="371"/>
                  <a:pt x="707" y="371"/>
                </a:cubicBezTo>
                <a:cubicBezTo>
                  <a:pt x="709" y="369"/>
                  <a:pt x="709" y="369"/>
                  <a:pt x="709" y="369"/>
                </a:cubicBezTo>
                <a:cubicBezTo>
                  <a:pt x="710" y="368"/>
                  <a:pt x="710" y="368"/>
                  <a:pt x="710" y="368"/>
                </a:cubicBezTo>
                <a:cubicBezTo>
                  <a:pt x="710" y="371"/>
                  <a:pt x="710" y="371"/>
                  <a:pt x="710" y="371"/>
                </a:cubicBezTo>
                <a:cubicBezTo>
                  <a:pt x="711" y="370"/>
                  <a:pt x="712" y="369"/>
                  <a:pt x="713" y="369"/>
                </a:cubicBezTo>
                <a:cubicBezTo>
                  <a:pt x="715" y="368"/>
                  <a:pt x="715" y="369"/>
                  <a:pt x="716" y="369"/>
                </a:cubicBezTo>
                <a:cubicBezTo>
                  <a:pt x="719" y="367"/>
                  <a:pt x="718" y="368"/>
                  <a:pt x="720" y="368"/>
                </a:cubicBezTo>
                <a:cubicBezTo>
                  <a:pt x="724" y="367"/>
                  <a:pt x="724" y="367"/>
                  <a:pt x="724" y="367"/>
                </a:cubicBezTo>
                <a:cubicBezTo>
                  <a:pt x="725" y="366"/>
                  <a:pt x="725" y="366"/>
                  <a:pt x="725" y="366"/>
                </a:cubicBezTo>
                <a:cubicBezTo>
                  <a:pt x="727" y="366"/>
                  <a:pt x="726" y="365"/>
                  <a:pt x="728" y="367"/>
                </a:cubicBezTo>
                <a:cubicBezTo>
                  <a:pt x="728" y="366"/>
                  <a:pt x="728" y="366"/>
                  <a:pt x="728" y="366"/>
                </a:cubicBezTo>
                <a:cubicBezTo>
                  <a:pt x="727" y="364"/>
                  <a:pt x="727" y="364"/>
                  <a:pt x="727" y="362"/>
                </a:cubicBezTo>
                <a:cubicBezTo>
                  <a:pt x="727" y="362"/>
                  <a:pt x="727" y="362"/>
                  <a:pt x="727" y="362"/>
                </a:cubicBezTo>
                <a:cubicBezTo>
                  <a:pt x="728" y="362"/>
                  <a:pt x="729" y="362"/>
                  <a:pt x="729" y="362"/>
                </a:cubicBezTo>
                <a:cubicBezTo>
                  <a:pt x="730" y="362"/>
                  <a:pt x="732" y="362"/>
                  <a:pt x="732" y="362"/>
                </a:cubicBezTo>
                <a:cubicBezTo>
                  <a:pt x="735" y="362"/>
                  <a:pt x="734" y="362"/>
                  <a:pt x="736" y="360"/>
                </a:cubicBezTo>
                <a:cubicBezTo>
                  <a:pt x="737" y="359"/>
                  <a:pt x="737" y="359"/>
                  <a:pt x="737" y="359"/>
                </a:cubicBezTo>
                <a:cubicBezTo>
                  <a:pt x="737" y="361"/>
                  <a:pt x="737" y="361"/>
                  <a:pt x="737" y="361"/>
                </a:cubicBezTo>
                <a:cubicBezTo>
                  <a:pt x="738" y="361"/>
                  <a:pt x="738" y="361"/>
                  <a:pt x="738" y="361"/>
                </a:cubicBezTo>
                <a:cubicBezTo>
                  <a:pt x="741" y="360"/>
                  <a:pt x="741" y="360"/>
                  <a:pt x="741" y="360"/>
                </a:cubicBezTo>
                <a:cubicBezTo>
                  <a:pt x="745" y="358"/>
                  <a:pt x="745" y="358"/>
                  <a:pt x="746" y="357"/>
                </a:cubicBezTo>
                <a:cubicBezTo>
                  <a:pt x="746" y="357"/>
                  <a:pt x="749" y="356"/>
                  <a:pt x="750" y="356"/>
                </a:cubicBezTo>
                <a:cubicBezTo>
                  <a:pt x="750" y="356"/>
                  <a:pt x="751" y="355"/>
                  <a:pt x="751" y="355"/>
                </a:cubicBezTo>
                <a:cubicBezTo>
                  <a:pt x="752" y="354"/>
                  <a:pt x="752" y="354"/>
                  <a:pt x="752" y="354"/>
                </a:cubicBezTo>
                <a:cubicBezTo>
                  <a:pt x="751" y="356"/>
                  <a:pt x="751" y="356"/>
                  <a:pt x="751" y="356"/>
                </a:cubicBezTo>
                <a:cubicBezTo>
                  <a:pt x="748" y="357"/>
                  <a:pt x="750" y="356"/>
                  <a:pt x="747" y="359"/>
                </a:cubicBezTo>
                <a:cubicBezTo>
                  <a:pt x="747" y="359"/>
                  <a:pt x="748" y="359"/>
                  <a:pt x="748" y="360"/>
                </a:cubicBezTo>
                <a:cubicBezTo>
                  <a:pt x="748" y="360"/>
                  <a:pt x="749" y="359"/>
                  <a:pt x="749" y="359"/>
                </a:cubicBezTo>
                <a:cubicBezTo>
                  <a:pt x="751" y="359"/>
                  <a:pt x="751" y="359"/>
                  <a:pt x="751" y="359"/>
                </a:cubicBezTo>
                <a:cubicBezTo>
                  <a:pt x="753" y="359"/>
                  <a:pt x="753" y="359"/>
                  <a:pt x="753" y="359"/>
                </a:cubicBezTo>
                <a:cubicBezTo>
                  <a:pt x="760" y="359"/>
                  <a:pt x="760" y="359"/>
                  <a:pt x="760" y="359"/>
                </a:cubicBezTo>
                <a:cubicBezTo>
                  <a:pt x="760" y="359"/>
                  <a:pt x="756" y="361"/>
                  <a:pt x="755" y="361"/>
                </a:cubicBezTo>
                <a:cubicBezTo>
                  <a:pt x="753" y="361"/>
                  <a:pt x="753" y="360"/>
                  <a:pt x="751" y="362"/>
                </a:cubicBezTo>
                <a:cubicBezTo>
                  <a:pt x="750" y="361"/>
                  <a:pt x="750" y="361"/>
                  <a:pt x="750" y="361"/>
                </a:cubicBezTo>
                <a:cubicBezTo>
                  <a:pt x="750" y="361"/>
                  <a:pt x="746" y="362"/>
                  <a:pt x="745" y="362"/>
                </a:cubicBezTo>
                <a:cubicBezTo>
                  <a:pt x="740" y="364"/>
                  <a:pt x="740" y="364"/>
                  <a:pt x="740" y="364"/>
                </a:cubicBezTo>
                <a:cubicBezTo>
                  <a:pt x="738" y="365"/>
                  <a:pt x="736" y="367"/>
                  <a:pt x="734" y="368"/>
                </a:cubicBezTo>
                <a:cubicBezTo>
                  <a:pt x="731" y="371"/>
                  <a:pt x="732" y="370"/>
                  <a:pt x="731" y="372"/>
                </a:cubicBezTo>
                <a:cubicBezTo>
                  <a:pt x="731" y="372"/>
                  <a:pt x="730" y="375"/>
                  <a:pt x="730" y="375"/>
                </a:cubicBezTo>
                <a:cubicBezTo>
                  <a:pt x="731" y="376"/>
                  <a:pt x="731" y="376"/>
                  <a:pt x="732" y="376"/>
                </a:cubicBezTo>
                <a:cubicBezTo>
                  <a:pt x="732" y="379"/>
                  <a:pt x="732" y="378"/>
                  <a:pt x="733" y="379"/>
                </a:cubicBezTo>
                <a:cubicBezTo>
                  <a:pt x="733" y="379"/>
                  <a:pt x="734" y="380"/>
                  <a:pt x="734" y="380"/>
                </a:cubicBezTo>
                <a:cubicBezTo>
                  <a:pt x="735" y="380"/>
                  <a:pt x="735" y="380"/>
                  <a:pt x="736" y="379"/>
                </a:cubicBezTo>
                <a:cubicBezTo>
                  <a:pt x="737" y="379"/>
                  <a:pt x="737" y="379"/>
                  <a:pt x="738" y="377"/>
                </a:cubicBezTo>
                <a:cubicBezTo>
                  <a:pt x="739" y="377"/>
                  <a:pt x="739" y="377"/>
                  <a:pt x="739" y="377"/>
                </a:cubicBezTo>
                <a:cubicBezTo>
                  <a:pt x="739" y="377"/>
                  <a:pt x="743" y="376"/>
                  <a:pt x="743" y="375"/>
                </a:cubicBezTo>
                <a:cubicBezTo>
                  <a:pt x="746" y="372"/>
                  <a:pt x="746" y="372"/>
                  <a:pt x="746" y="372"/>
                </a:cubicBezTo>
                <a:cubicBezTo>
                  <a:pt x="746" y="372"/>
                  <a:pt x="748" y="371"/>
                  <a:pt x="749" y="371"/>
                </a:cubicBezTo>
                <a:cubicBezTo>
                  <a:pt x="749" y="370"/>
                  <a:pt x="749" y="369"/>
                  <a:pt x="749" y="368"/>
                </a:cubicBezTo>
                <a:cubicBezTo>
                  <a:pt x="752" y="371"/>
                  <a:pt x="751" y="369"/>
                  <a:pt x="751" y="368"/>
                </a:cubicBezTo>
                <a:cubicBezTo>
                  <a:pt x="751" y="368"/>
                  <a:pt x="752" y="367"/>
                  <a:pt x="752" y="367"/>
                </a:cubicBezTo>
                <a:cubicBezTo>
                  <a:pt x="752" y="367"/>
                  <a:pt x="753" y="369"/>
                  <a:pt x="753" y="369"/>
                </a:cubicBezTo>
                <a:cubicBezTo>
                  <a:pt x="754" y="369"/>
                  <a:pt x="755" y="369"/>
                  <a:pt x="755" y="369"/>
                </a:cubicBezTo>
                <a:cubicBezTo>
                  <a:pt x="755" y="369"/>
                  <a:pt x="756" y="366"/>
                  <a:pt x="757" y="368"/>
                </a:cubicBezTo>
                <a:cubicBezTo>
                  <a:pt x="767" y="364"/>
                  <a:pt x="767" y="364"/>
                  <a:pt x="767" y="364"/>
                </a:cubicBezTo>
                <a:cubicBezTo>
                  <a:pt x="774" y="362"/>
                  <a:pt x="772" y="362"/>
                  <a:pt x="780" y="361"/>
                </a:cubicBezTo>
                <a:cubicBezTo>
                  <a:pt x="780" y="361"/>
                  <a:pt x="782" y="360"/>
                  <a:pt x="782" y="360"/>
                </a:cubicBezTo>
                <a:cubicBezTo>
                  <a:pt x="782" y="359"/>
                  <a:pt x="776" y="360"/>
                  <a:pt x="779" y="359"/>
                </a:cubicBezTo>
                <a:cubicBezTo>
                  <a:pt x="780" y="358"/>
                  <a:pt x="780" y="358"/>
                  <a:pt x="779" y="357"/>
                </a:cubicBezTo>
                <a:cubicBezTo>
                  <a:pt x="782" y="357"/>
                  <a:pt x="782" y="357"/>
                  <a:pt x="782" y="357"/>
                </a:cubicBezTo>
                <a:cubicBezTo>
                  <a:pt x="783" y="357"/>
                  <a:pt x="783" y="356"/>
                  <a:pt x="783" y="356"/>
                </a:cubicBezTo>
                <a:cubicBezTo>
                  <a:pt x="782" y="354"/>
                  <a:pt x="783" y="353"/>
                  <a:pt x="784" y="352"/>
                </a:cubicBezTo>
                <a:cubicBezTo>
                  <a:pt x="786" y="353"/>
                  <a:pt x="786" y="353"/>
                  <a:pt x="786" y="353"/>
                </a:cubicBezTo>
                <a:cubicBezTo>
                  <a:pt x="785" y="355"/>
                  <a:pt x="785" y="355"/>
                  <a:pt x="785" y="355"/>
                </a:cubicBezTo>
                <a:cubicBezTo>
                  <a:pt x="785" y="355"/>
                  <a:pt x="784" y="356"/>
                  <a:pt x="784" y="357"/>
                </a:cubicBezTo>
                <a:cubicBezTo>
                  <a:pt x="784" y="358"/>
                  <a:pt x="786" y="357"/>
                  <a:pt x="786" y="357"/>
                </a:cubicBezTo>
                <a:cubicBezTo>
                  <a:pt x="786" y="357"/>
                  <a:pt x="788" y="356"/>
                  <a:pt x="789" y="356"/>
                </a:cubicBezTo>
                <a:cubicBezTo>
                  <a:pt x="789" y="355"/>
                  <a:pt x="790" y="355"/>
                  <a:pt x="790" y="354"/>
                </a:cubicBezTo>
                <a:cubicBezTo>
                  <a:pt x="792" y="354"/>
                  <a:pt x="793" y="352"/>
                  <a:pt x="794" y="352"/>
                </a:cubicBezTo>
                <a:cubicBezTo>
                  <a:pt x="795" y="352"/>
                  <a:pt x="793" y="351"/>
                  <a:pt x="793" y="350"/>
                </a:cubicBezTo>
                <a:cubicBezTo>
                  <a:pt x="792" y="349"/>
                  <a:pt x="791" y="351"/>
                  <a:pt x="790" y="348"/>
                </a:cubicBezTo>
                <a:cubicBezTo>
                  <a:pt x="790" y="347"/>
                  <a:pt x="792" y="344"/>
                  <a:pt x="792" y="342"/>
                </a:cubicBezTo>
                <a:cubicBezTo>
                  <a:pt x="792" y="342"/>
                  <a:pt x="791" y="342"/>
                  <a:pt x="791" y="342"/>
                </a:cubicBezTo>
                <a:cubicBezTo>
                  <a:pt x="789" y="344"/>
                  <a:pt x="789" y="344"/>
                  <a:pt x="789" y="344"/>
                </a:cubicBezTo>
                <a:cubicBezTo>
                  <a:pt x="784" y="347"/>
                  <a:pt x="784" y="347"/>
                  <a:pt x="784" y="347"/>
                </a:cubicBezTo>
                <a:cubicBezTo>
                  <a:pt x="784" y="347"/>
                  <a:pt x="781" y="350"/>
                  <a:pt x="781" y="351"/>
                </a:cubicBezTo>
                <a:cubicBezTo>
                  <a:pt x="780" y="351"/>
                  <a:pt x="779" y="352"/>
                  <a:pt x="779" y="352"/>
                </a:cubicBezTo>
                <a:cubicBezTo>
                  <a:pt x="778" y="356"/>
                  <a:pt x="778" y="356"/>
                  <a:pt x="778" y="356"/>
                </a:cubicBezTo>
                <a:cubicBezTo>
                  <a:pt x="778" y="356"/>
                  <a:pt x="776" y="356"/>
                  <a:pt x="776" y="356"/>
                </a:cubicBezTo>
                <a:cubicBezTo>
                  <a:pt x="775" y="356"/>
                  <a:pt x="776" y="355"/>
                  <a:pt x="775" y="354"/>
                </a:cubicBezTo>
                <a:cubicBezTo>
                  <a:pt x="775" y="353"/>
                  <a:pt x="775" y="354"/>
                  <a:pt x="772" y="355"/>
                </a:cubicBezTo>
                <a:cubicBezTo>
                  <a:pt x="771" y="355"/>
                  <a:pt x="772" y="355"/>
                  <a:pt x="770" y="356"/>
                </a:cubicBezTo>
                <a:cubicBezTo>
                  <a:pt x="769" y="357"/>
                  <a:pt x="769" y="355"/>
                  <a:pt x="769" y="355"/>
                </a:cubicBezTo>
                <a:cubicBezTo>
                  <a:pt x="769" y="355"/>
                  <a:pt x="768" y="355"/>
                  <a:pt x="768" y="355"/>
                </a:cubicBezTo>
                <a:cubicBezTo>
                  <a:pt x="767" y="355"/>
                  <a:pt x="767" y="355"/>
                  <a:pt x="767" y="354"/>
                </a:cubicBezTo>
                <a:cubicBezTo>
                  <a:pt x="767" y="354"/>
                  <a:pt x="766" y="354"/>
                  <a:pt x="765" y="354"/>
                </a:cubicBezTo>
                <a:cubicBezTo>
                  <a:pt x="765" y="355"/>
                  <a:pt x="762" y="355"/>
                  <a:pt x="763" y="354"/>
                </a:cubicBezTo>
                <a:cubicBezTo>
                  <a:pt x="763" y="354"/>
                  <a:pt x="761" y="354"/>
                  <a:pt x="760" y="354"/>
                </a:cubicBezTo>
                <a:cubicBezTo>
                  <a:pt x="759" y="354"/>
                  <a:pt x="760" y="353"/>
                  <a:pt x="760" y="353"/>
                </a:cubicBezTo>
                <a:cubicBezTo>
                  <a:pt x="758" y="353"/>
                  <a:pt x="758" y="352"/>
                  <a:pt x="759" y="351"/>
                </a:cubicBezTo>
                <a:cubicBezTo>
                  <a:pt x="755" y="351"/>
                  <a:pt x="755" y="351"/>
                  <a:pt x="755" y="351"/>
                </a:cubicBezTo>
                <a:cubicBezTo>
                  <a:pt x="755" y="351"/>
                  <a:pt x="754" y="350"/>
                  <a:pt x="754" y="350"/>
                </a:cubicBezTo>
                <a:cubicBezTo>
                  <a:pt x="753" y="350"/>
                  <a:pt x="754" y="349"/>
                  <a:pt x="755" y="348"/>
                </a:cubicBezTo>
                <a:cubicBezTo>
                  <a:pt x="755" y="346"/>
                  <a:pt x="753" y="345"/>
                  <a:pt x="753" y="345"/>
                </a:cubicBezTo>
                <a:cubicBezTo>
                  <a:pt x="753" y="344"/>
                  <a:pt x="753" y="343"/>
                  <a:pt x="753" y="342"/>
                </a:cubicBezTo>
                <a:cubicBezTo>
                  <a:pt x="754" y="341"/>
                  <a:pt x="754" y="341"/>
                  <a:pt x="754" y="340"/>
                </a:cubicBezTo>
                <a:cubicBezTo>
                  <a:pt x="754" y="340"/>
                  <a:pt x="752" y="340"/>
                  <a:pt x="752" y="340"/>
                </a:cubicBezTo>
                <a:cubicBezTo>
                  <a:pt x="752" y="340"/>
                  <a:pt x="750" y="340"/>
                  <a:pt x="750" y="340"/>
                </a:cubicBezTo>
                <a:cubicBezTo>
                  <a:pt x="750" y="340"/>
                  <a:pt x="751" y="339"/>
                  <a:pt x="751" y="339"/>
                </a:cubicBezTo>
                <a:cubicBezTo>
                  <a:pt x="752" y="339"/>
                  <a:pt x="754" y="339"/>
                  <a:pt x="756" y="337"/>
                </a:cubicBezTo>
                <a:cubicBezTo>
                  <a:pt x="758" y="333"/>
                  <a:pt x="759" y="335"/>
                  <a:pt x="758" y="333"/>
                </a:cubicBezTo>
                <a:cubicBezTo>
                  <a:pt x="758" y="333"/>
                  <a:pt x="757" y="333"/>
                  <a:pt x="757" y="332"/>
                </a:cubicBezTo>
                <a:cubicBezTo>
                  <a:pt x="756" y="331"/>
                  <a:pt x="753" y="333"/>
                  <a:pt x="752" y="335"/>
                </a:cubicBezTo>
                <a:cubicBezTo>
                  <a:pt x="752" y="335"/>
                  <a:pt x="750" y="335"/>
                  <a:pt x="750" y="335"/>
                </a:cubicBezTo>
                <a:cubicBezTo>
                  <a:pt x="749" y="334"/>
                  <a:pt x="750" y="334"/>
                  <a:pt x="750" y="333"/>
                </a:cubicBezTo>
                <a:cubicBezTo>
                  <a:pt x="750" y="332"/>
                  <a:pt x="749" y="332"/>
                  <a:pt x="748" y="332"/>
                </a:cubicBezTo>
                <a:cubicBezTo>
                  <a:pt x="748" y="331"/>
                  <a:pt x="747" y="330"/>
                  <a:pt x="747" y="330"/>
                </a:cubicBezTo>
                <a:cubicBezTo>
                  <a:pt x="745" y="331"/>
                  <a:pt x="745" y="331"/>
                  <a:pt x="745" y="331"/>
                </a:cubicBezTo>
                <a:cubicBezTo>
                  <a:pt x="743" y="331"/>
                  <a:pt x="743" y="331"/>
                  <a:pt x="741" y="331"/>
                </a:cubicBezTo>
                <a:cubicBezTo>
                  <a:pt x="746" y="330"/>
                  <a:pt x="744" y="331"/>
                  <a:pt x="749" y="328"/>
                </a:cubicBezTo>
                <a:cubicBezTo>
                  <a:pt x="751" y="330"/>
                  <a:pt x="751" y="330"/>
                  <a:pt x="751" y="330"/>
                </a:cubicBezTo>
                <a:cubicBezTo>
                  <a:pt x="751" y="330"/>
                  <a:pt x="755" y="331"/>
                  <a:pt x="755" y="331"/>
                </a:cubicBezTo>
                <a:cubicBezTo>
                  <a:pt x="755" y="331"/>
                  <a:pt x="759" y="329"/>
                  <a:pt x="759" y="329"/>
                </a:cubicBezTo>
                <a:cubicBezTo>
                  <a:pt x="761" y="327"/>
                  <a:pt x="761" y="327"/>
                  <a:pt x="761" y="327"/>
                </a:cubicBezTo>
                <a:cubicBezTo>
                  <a:pt x="765" y="326"/>
                  <a:pt x="765" y="326"/>
                  <a:pt x="766" y="323"/>
                </a:cubicBezTo>
                <a:cubicBezTo>
                  <a:pt x="765" y="322"/>
                  <a:pt x="765" y="322"/>
                  <a:pt x="765" y="322"/>
                </a:cubicBezTo>
                <a:cubicBezTo>
                  <a:pt x="767" y="323"/>
                  <a:pt x="767" y="323"/>
                  <a:pt x="767" y="323"/>
                </a:cubicBezTo>
                <a:cubicBezTo>
                  <a:pt x="767" y="321"/>
                  <a:pt x="767" y="321"/>
                  <a:pt x="767" y="321"/>
                </a:cubicBezTo>
                <a:cubicBezTo>
                  <a:pt x="765" y="319"/>
                  <a:pt x="765" y="319"/>
                  <a:pt x="765" y="319"/>
                </a:cubicBezTo>
                <a:cubicBezTo>
                  <a:pt x="761" y="318"/>
                  <a:pt x="761" y="318"/>
                  <a:pt x="761" y="318"/>
                </a:cubicBezTo>
                <a:cubicBezTo>
                  <a:pt x="756" y="318"/>
                  <a:pt x="756" y="318"/>
                  <a:pt x="756" y="318"/>
                </a:cubicBezTo>
                <a:cubicBezTo>
                  <a:pt x="756" y="318"/>
                  <a:pt x="752" y="318"/>
                  <a:pt x="752" y="318"/>
                </a:cubicBezTo>
                <a:cubicBezTo>
                  <a:pt x="751" y="318"/>
                  <a:pt x="746" y="320"/>
                  <a:pt x="746" y="320"/>
                </a:cubicBezTo>
                <a:cubicBezTo>
                  <a:pt x="729" y="325"/>
                  <a:pt x="729" y="325"/>
                  <a:pt x="729" y="325"/>
                </a:cubicBezTo>
                <a:cubicBezTo>
                  <a:pt x="724" y="328"/>
                  <a:pt x="724" y="328"/>
                  <a:pt x="724" y="328"/>
                </a:cubicBezTo>
                <a:cubicBezTo>
                  <a:pt x="720" y="330"/>
                  <a:pt x="720" y="330"/>
                  <a:pt x="720" y="330"/>
                </a:cubicBezTo>
                <a:cubicBezTo>
                  <a:pt x="713" y="334"/>
                  <a:pt x="713" y="334"/>
                  <a:pt x="713" y="334"/>
                </a:cubicBezTo>
                <a:cubicBezTo>
                  <a:pt x="710" y="338"/>
                  <a:pt x="710" y="338"/>
                  <a:pt x="710" y="338"/>
                </a:cubicBezTo>
                <a:cubicBezTo>
                  <a:pt x="706" y="340"/>
                  <a:pt x="706" y="340"/>
                  <a:pt x="706" y="340"/>
                </a:cubicBezTo>
                <a:cubicBezTo>
                  <a:pt x="703" y="343"/>
                  <a:pt x="703" y="343"/>
                  <a:pt x="703" y="343"/>
                </a:cubicBezTo>
                <a:cubicBezTo>
                  <a:pt x="702" y="343"/>
                  <a:pt x="699" y="342"/>
                  <a:pt x="698" y="342"/>
                </a:cubicBezTo>
                <a:cubicBezTo>
                  <a:pt x="699" y="341"/>
                  <a:pt x="699" y="341"/>
                  <a:pt x="699" y="341"/>
                </a:cubicBezTo>
                <a:cubicBezTo>
                  <a:pt x="701" y="341"/>
                  <a:pt x="701" y="341"/>
                  <a:pt x="701" y="341"/>
                </a:cubicBezTo>
                <a:cubicBezTo>
                  <a:pt x="704" y="339"/>
                  <a:pt x="704" y="339"/>
                  <a:pt x="704" y="339"/>
                </a:cubicBezTo>
                <a:cubicBezTo>
                  <a:pt x="706" y="337"/>
                  <a:pt x="706" y="337"/>
                  <a:pt x="706" y="337"/>
                </a:cubicBezTo>
                <a:cubicBezTo>
                  <a:pt x="707" y="337"/>
                  <a:pt x="708" y="336"/>
                  <a:pt x="709" y="336"/>
                </a:cubicBezTo>
                <a:cubicBezTo>
                  <a:pt x="714" y="332"/>
                  <a:pt x="714" y="332"/>
                  <a:pt x="714" y="332"/>
                </a:cubicBezTo>
                <a:cubicBezTo>
                  <a:pt x="716" y="330"/>
                  <a:pt x="716" y="331"/>
                  <a:pt x="716" y="329"/>
                </a:cubicBezTo>
                <a:cubicBezTo>
                  <a:pt x="714" y="328"/>
                  <a:pt x="714" y="328"/>
                  <a:pt x="714" y="328"/>
                </a:cubicBezTo>
                <a:cubicBezTo>
                  <a:pt x="712" y="328"/>
                  <a:pt x="713" y="328"/>
                  <a:pt x="711" y="327"/>
                </a:cubicBezTo>
                <a:cubicBezTo>
                  <a:pt x="706" y="326"/>
                  <a:pt x="706" y="326"/>
                  <a:pt x="706" y="326"/>
                </a:cubicBezTo>
                <a:cubicBezTo>
                  <a:pt x="706" y="325"/>
                  <a:pt x="706" y="325"/>
                  <a:pt x="706" y="325"/>
                </a:cubicBezTo>
                <a:cubicBezTo>
                  <a:pt x="707" y="326"/>
                  <a:pt x="707" y="326"/>
                  <a:pt x="707" y="326"/>
                </a:cubicBezTo>
                <a:cubicBezTo>
                  <a:pt x="709" y="327"/>
                  <a:pt x="710" y="327"/>
                  <a:pt x="712" y="327"/>
                </a:cubicBezTo>
                <a:cubicBezTo>
                  <a:pt x="713" y="327"/>
                  <a:pt x="715" y="328"/>
                  <a:pt x="716" y="329"/>
                </a:cubicBezTo>
                <a:cubicBezTo>
                  <a:pt x="717" y="329"/>
                  <a:pt x="718" y="328"/>
                  <a:pt x="719" y="328"/>
                </a:cubicBezTo>
                <a:cubicBezTo>
                  <a:pt x="719" y="328"/>
                  <a:pt x="722" y="325"/>
                  <a:pt x="722" y="324"/>
                </a:cubicBezTo>
                <a:cubicBezTo>
                  <a:pt x="723" y="324"/>
                  <a:pt x="727" y="322"/>
                  <a:pt x="727" y="322"/>
                </a:cubicBezTo>
                <a:cubicBezTo>
                  <a:pt x="735" y="317"/>
                  <a:pt x="735" y="317"/>
                  <a:pt x="735" y="317"/>
                </a:cubicBezTo>
                <a:cubicBezTo>
                  <a:pt x="738" y="316"/>
                  <a:pt x="737" y="317"/>
                  <a:pt x="741" y="317"/>
                </a:cubicBezTo>
                <a:cubicBezTo>
                  <a:pt x="742" y="317"/>
                  <a:pt x="742" y="315"/>
                  <a:pt x="742" y="315"/>
                </a:cubicBezTo>
                <a:cubicBezTo>
                  <a:pt x="745" y="312"/>
                  <a:pt x="745" y="312"/>
                  <a:pt x="745" y="312"/>
                </a:cubicBezTo>
                <a:cubicBezTo>
                  <a:pt x="749" y="310"/>
                  <a:pt x="749" y="310"/>
                  <a:pt x="749" y="310"/>
                </a:cubicBezTo>
                <a:cubicBezTo>
                  <a:pt x="753" y="307"/>
                  <a:pt x="753" y="307"/>
                  <a:pt x="753" y="307"/>
                </a:cubicBezTo>
                <a:cubicBezTo>
                  <a:pt x="753" y="307"/>
                  <a:pt x="755" y="307"/>
                  <a:pt x="756" y="307"/>
                </a:cubicBezTo>
                <a:cubicBezTo>
                  <a:pt x="756" y="307"/>
                  <a:pt x="758" y="306"/>
                  <a:pt x="758" y="306"/>
                </a:cubicBezTo>
                <a:cubicBezTo>
                  <a:pt x="764" y="306"/>
                  <a:pt x="764" y="306"/>
                  <a:pt x="764" y="306"/>
                </a:cubicBezTo>
                <a:cubicBezTo>
                  <a:pt x="764" y="306"/>
                  <a:pt x="767" y="306"/>
                  <a:pt x="774" y="306"/>
                </a:cubicBezTo>
                <a:cubicBezTo>
                  <a:pt x="780" y="306"/>
                  <a:pt x="779" y="308"/>
                  <a:pt x="780" y="308"/>
                </a:cubicBezTo>
                <a:cubicBezTo>
                  <a:pt x="781" y="307"/>
                  <a:pt x="781" y="307"/>
                  <a:pt x="782" y="307"/>
                </a:cubicBezTo>
                <a:cubicBezTo>
                  <a:pt x="783" y="306"/>
                  <a:pt x="786" y="307"/>
                  <a:pt x="788" y="307"/>
                </a:cubicBezTo>
                <a:cubicBezTo>
                  <a:pt x="789" y="307"/>
                  <a:pt x="791" y="307"/>
                  <a:pt x="791" y="307"/>
                </a:cubicBezTo>
                <a:cubicBezTo>
                  <a:pt x="793" y="307"/>
                  <a:pt x="794" y="309"/>
                  <a:pt x="794" y="309"/>
                </a:cubicBezTo>
                <a:cubicBezTo>
                  <a:pt x="794" y="309"/>
                  <a:pt x="798" y="307"/>
                  <a:pt x="799" y="307"/>
                </a:cubicBezTo>
                <a:cubicBezTo>
                  <a:pt x="804" y="307"/>
                  <a:pt x="804" y="308"/>
                  <a:pt x="809" y="306"/>
                </a:cubicBezTo>
                <a:cubicBezTo>
                  <a:pt x="810" y="306"/>
                  <a:pt x="813" y="304"/>
                  <a:pt x="813" y="305"/>
                </a:cubicBezTo>
                <a:cubicBezTo>
                  <a:pt x="813" y="305"/>
                  <a:pt x="817" y="302"/>
                  <a:pt x="817" y="302"/>
                </a:cubicBezTo>
                <a:cubicBezTo>
                  <a:pt x="818" y="302"/>
                  <a:pt x="819" y="302"/>
                  <a:pt x="819" y="302"/>
                </a:cubicBezTo>
                <a:cubicBezTo>
                  <a:pt x="820" y="300"/>
                  <a:pt x="820" y="300"/>
                  <a:pt x="820" y="300"/>
                </a:cubicBezTo>
                <a:cubicBezTo>
                  <a:pt x="820" y="300"/>
                  <a:pt x="822" y="299"/>
                  <a:pt x="823" y="299"/>
                </a:cubicBezTo>
                <a:cubicBezTo>
                  <a:pt x="824" y="298"/>
                  <a:pt x="825" y="296"/>
                  <a:pt x="826" y="296"/>
                </a:cubicBezTo>
                <a:cubicBezTo>
                  <a:pt x="826" y="296"/>
                  <a:pt x="829" y="296"/>
                  <a:pt x="830" y="296"/>
                </a:cubicBezTo>
                <a:cubicBezTo>
                  <a:pt x="830" y="296"/>
                  <a:pt x="831" y="296"/>
                  <a:pt x="831" y="295"/>
                </a:cubicBezTo>
                <a:cubicBezTo>
                  <a:pt x="831" y="295"/>
                  <a:pt x="834" y="294"/>
                  <a:pt x="834" y="294"/>
                </a:cubicBezTo>
                <a:cubicBezTo>
                  <a:pt x="839" y="295"/>
                  <a:pt x="839" y="295"/>
                  <a:pt x="839" y="295"/>
                </a:cubicBezTo>
                <a:cubicBezTo>
                  <a:pt x="843" y="292"/>
                  <a:pt x="843" y="292"/>
                  <a:pt x="843" y="292"/>
                </a:cubicBezTo>
                <a:cubicBezTo>
                  <a:pt x="843" y="291"/>
                  <a:pt x="853" y="288"/>
                  <a:pt x="853" y="287"/>
                </a:cubicBezTo>
                <a:cubicBezTo>
                  <a:pt x="853" y="287"/>
                  <a:pt x="853" y="285"/>
                  <a:pt x="853" y="285"/>
                </a:cubicBezTo>
                <a:cubicBezTo>
                  <a:pt x="853" y="285"/>
                  <a:pt x="852" y="284"/>
                  <a:pt x="852" y="284"/>
                </a:cubicBezTo>
                <a:cubicBezTo>
                  <a:pt x="853" y="283"/>
                  <a:pt x="853" y="283"/>
                  <a:pt x="853" y="283"/>
                </a:cubicBezTo>
                <a:cubicBezTo>
                  <a:pt x="853" y="282"/>
                  <a:pt x="853" y="282"/>
                  <a:pt x="853" y="282"/>
                </a:cubicBezTo>
                <a:cubicBezTo>
                  <a:pt x="853" y="282"/>
                  <a:pt x="852" y="282"/>
                  <a:pt x="852" y="281"/>
                </a:cubicBezTo>
                <a:cubicBezTo>
                  <a:pt x="852" y="281"/>
                  <a:pt x="854" y="280"/>
                  <a:pt x="855" y="280"/>
                </a:cubicBezTo>
                <a:cubicBezTo>
                  <a:pt x="857" y="279"/>
                  <a:pt x="854" y="278"/>
                  <a:pt x="853" y="278"/>
                </a:cubicBezTo>
                <a:cubicBezTo>
                  <a:pt x="855" y="278"/>
                  <a:pt x="855" y="278"/>
                  <a:pt x="856" y="277"/>
                </a:cubicBezTo>
                <a:cubicBezTo>
                  <a:pt x="856" y="275"/>
                  <a:pt x="857" y="274"/>
                  <a:pt x="856" y="273"/>
                </a:cubicBezTo>
                <a:cubicBezTo>
                  <a:pt x="856" y="272"/>
                  <a:pt x="856" y="272"/>
                  <a:pt x="856" y="272"/>
                </a:cubicBezTo>
                <a:cubicBezTo>
                  <a:pt x="853" y="272"/>
                  <a:pt x="852" y="272"/>
                  <a:pt x="851" y="271"/>
                </a:cubicBezTo>
                <a:cubicBezTo>
                  <a:pt x="852" y="270"/>
                  <a:pt x="852" y="270"/>
                  <a:pt x="852" y="270"/>
                </a:cubicBezTo>
                <a:cubicBezTo>
                  <a:pt x="848" y="270"/>
                  <a:pt x="850" y="270"/>
                  <a:pt x="848" y="272"/>
                </a:cubicBezTo>
                <a:cubicBezTo>
                  <a:pt x="848" y="272"/>
                  <a:pt x="846" y="273"/>
                  <a:pt x="846" y="273"/>
                </a:cubicBezTo>
                <a:cubicBezTo>
                  <a:pt x="846" y="272"/>
                  <a:pt x="845" y="272"/>
                  <a:pt x="844" y="272"/>
                </a:cubicBezTo>
                <a:cubicBezTo>
                  <a:pt x="845" y="271"/>
                  <a:pt x="848" y="270"/>
                  <a:pt x="848" y="268"/>
                </a:cubicBezTo>
                <a:cubicBezTo>
                  <a:pt x="848" y="268"/>
                  <a:pt x="847" y="266"/>
                  <a:pt x="847" y="265"/>
                </a:cubicBezTo>
                <a:cubicBezTo>
                  <a:pt x="847" y="265"/>
                  <a:pt x="845" y="265"/>
                  <a:pt x="845" y="265"/>
                </a:cubicBezTo>
                <a:cubicBezTo>
                  <a:pt x="844" y="265"/>
                  <a:pt x="843" y="266"/>
                  <a:pt x="841" y="266"/>
                </a:cubicBezTo>
                <a:cubicBezTo>
                  <a:pt x="835" y="268"/>
                  <a:pt x="835" y="268"/>
                  <a:pt x="835" y="268"/>
                </a:cubicBezTo>
                <a:cubicBezTo>
                  <a:pt x="831" y="270"/>
                  <a:pt x="831" y="270"/>
                  <a:pt x="831" y="270"/>
                </a:cubicBezTo>
                <a:cubicBezTo>
                  <a:pt x="830" y="270"/>
                  <a:pt x="830" y="271"/>
                  <a:pt x="830" y="271"/>
                </a:cubicBezTo>
                <a:cubicBezTo>
                  <a:pt x="828" y="272"/>
                  <a:pt x="828" y="272"/>
                  <a:pt x="828" y="272"/>
                </a:cubicBezTo>
                <a:cubicBezTo>
                  <a:pt x="827" y="273"/>
                  <a:pt x="824" y="271"/>
                  <a:pt x="822" y="274"/>
                </a:cubicBezTo>
                <a:cubicBezTo>
                  <a:pt x="822" y="275"/>
                  <a:pt x="820" y="278"/>
                  <a:pt x="820" y="278"/>
                </a:cubicBezTo>
                <a:cubicBezTo>
                  <a:pt x="820" y="279"/>
                  <a:pt x="819" y="278"/>
                  <a:pt x="819" y="278"/>
                </a:cubicBezTo>
                <a:cubicBezTo>
                  <a:pt x="819" y="278"/>
                  <a:pt x="820" y="276"/>
                  <a:pt x="820" y="276"/>
                </a:cubicBezTo>
                <a:cubicBezTo>
                  <a:pt x="820" y="276"/>
                  <a:pt x="821" y="275"/>
                  <a:pt x="821" y="274"/>
                </a:cubicBezTo>
                <a:cubicBezTo>
                  <a:pt x="821" y="274"/>
                  <a:pt x="823" y="273"/>
                  <a:pt x="821" y="272"/>
                </a:cubicBezTo>
                <a:cubicBezTo>
                  <a:pt x="820" y="271"/>
                  <a:pt x="818" y="270"/>
                  <a:pt x="817" y="270"/>
                </a:cubicBezTo>
                <a:cubicBezTo>
                  <a:pt x="817" y="269"/>
                  <a:pt x="817" y="269"/>
                  <a:pt x="817" y="269"/>
                </a:cubicBezTo>
                <a:cubicBezTo>
                  <a:pt x="819" y="270"/>
                  <a:pt x="820" y="271"/>
                  <a:pt x="822" y="272"/>
                </a:cubicBezTo>
                <a:cubicBezTo>
                  <a:pt x="825" y="270"/>
                  <a:pt x="823" y="270"/>
                  <a:pt x="826" y="269"/>
                </a:cubicBezTo>
                <a:cubicBezTo>
                  <a:pt x="827" y="269"/>
                  <a:pt x="829" y="270"/>
                  <a:pt x="831" y="269"/>
                </a:cubicBezTo>
                <a:cubicBezTo>
                  <a:pt x="832" y="268"/>
                  <a:pt x="836" y="266"/>
                  <a:pt x="837" y="266"/>
                </a:cubicBezTo>
                <a:cubicBezTo>
                  <a:pt x="839" y="265"/>
                  <a:pt x="840" y="266"/>
                  <a:pt x="842" y="264"/>
                </a:cubicBezTo>
                <a:cubicBezTo>
                  <a:pt x="842" y="263"/>
                  <a:pt x="846" y="265"/>
                  <a:pt x="849" y="262"/>
                </a:cubicBezTo>
                <a:cubicBezTo>
                  <a:pt x="848" y="260"/>
                  <a:pt x="849" y="261"/>
                  <a:pt x="847" y="261"/>
                </a:cubicBezTo>
                <a:cubicBezTo>
                  <a:pt x="844" y="260"/>
                  <a:pt x="847" y="260"/>
                  <a:pt x="845" y="258"/>
                </a:cubicBezTo>
                <a:cubicBezTo>
                  <a:pt x="845" y="258"/>
                  <a:pt x="844" y="259"/>
                  <a:pt x="843" y="259"/>
                </a:cubicBezTo>
                <a:cubicBezTo>
                  <a:pt x="840" y="259"/>
                  <a:pt x="840" y="259"/>
                  <a:pt x="840" y="259"/>
                </a:cubicBezTo>
                <a:cubicBezTo>
                  <a:pt x="836" y="258"/>
                  <a:pt x="838" y="258"/>
                  <a:pt x="838" y="257"/>
                </a:cubicBezTo>
                <a:cubicBezTo>
                  <a:pt x="839" y="257"/>
                  <a:pt x="838" y="256"/>
                  <a:pt x="838" y="256"/>
                </a:cubicBezTo>
                <a:cubicBezTo>
                  <a:pt x="838" y="255"/>
                  <a:pt x="837" y="256"/>
                  <a:pt x="837" y="256"/>
                </a:cubicBezTo>
                <a:cubicBezTo>
                  <a:pt x="836" y="257"/>
                  <a:pt x="836" y="258"/>
                  <a:pt x="833" y="257"/>
                </a:cubicBezTo>
                <a:cubicBezTo>
                  <a:pt x="833" y="257"/>
                  <a:pt x="834" y="256"/>
                  <a:pt x="834" y="256"/>
                </a:cubicBezTo>
                <a:cubicBezTo>
                  <a:pt x="835" y="255"/>
                  <a:pt x="832" y="256"/>
                  <a:pt x="832" y="256"/>
                </a:cubicBezTo>
                <a:cubicBezTo>
                  <a:pt x="832" y="256"/>
                  <a:pt x="832" y="255"/>
                  <a:pt x="832" y="255"/>
                </a:cubicBezTo>
                <a:cubicBezTo>
                  <a:pt x="832" y="254"/>
                  <a:pt x="831" y="255"/>
                  <a:pt x="831" y="255"/>
                </a:cubicBezTo>
                <a:cubicBezTo>
                  <a:pt x="829" y="254"/>
                  <a:pt x="829" y="254"/>
                  <a:pt x="829" y="254"/>
                </a:cubicBezTo>
                <a:cubicBezTo>
                  <a:pt x="829" y="254"/>
                  <a:pt x="829" y="252"/>
                  <a:pt x="829" y="252"/>
                </a:cubicBezTo>
                <a:cubicBezTo>
                  <a:pt x="829" y="252"/>
                  <a:pt x="830" y="250"/>
                  <a:pt x="830" y="249"/>
                </a:cubicBezTo>
                <a:cubicBezTo>
                  <a:pt x="830" y="249"/>
                  <a:pt x="827" y="249"/>
                  <a:pt x="827" y="249"/>
                </a:cubicBezTo>
                <a:cubicBezTo>
                  <a:pt x="827" y="249"/>
                  <a:pt x="826" y="248"/>
                  <a:pt x="826" y="248"/>
                </a:cubicBezTo>
                <a:cubicBezTo>
                  <a:pt x="825" y="248"/>
                  <a:pt x="822" y="247"/>
                  <a:pt x="824" y="246"/>
                </a:cubicBezTo>
                <a:cubicBezTo>
                  <a:pt x="824" y="246"/>
                  <a:pt x="824" y="245"/>
                  <a:pt x="824" y="245"/>
                </a:cubicBezTo>
                <a:cubicBezTo>
                  <a:pt x="822" y="244"/>
                  <a:pt x="823" y="245"/>
                  <a:pt x="821" y="245"/>
                </a:cubicBezTo>
                <a:cubicBezTo>
                  <a:pt x="821" y="245"/>
                  <a:pt x="821" y="244"/>
                  <a:pt x="821" y="244"/>
                </a:cubicBezTo>
                <a:cubicBezTo>
                  <a:pt x="821" y="243"/>
                  <a:pt x="819" y="243"/>
                  <a:pt x="819" y="242"/>
                </a:cubicBezTo>
                <a:cubicBezTo>
                  <a:pt x="819" y="242"/>
                  <a:pt x="821" y="242"/>
                  <a:pt x="821" y="242"/>
                </a:cubicBezTo>
                <a:cubicBezTo>
                  <a:pt x="821" y="241"/>
                  <a:pt x="821" y="240"/>
                  <a:pt x="821" y="240"/>
                </a:cubicBezTo>
                <a:cubicBezTo>
                  <a:pt x="821" y="240"/>
                  <a:pt x="819" y="239"/>
                  <a:pt x="819" y="239"/>
                </a:cubicBezTo>
                <a:cubicBezTo>
                  <a:pt x="819" y="237"/>
                  <a:pt x="820" y="239"/>
                  <a:pt x="821" y="239"/>
                </a:cubicBezTo>
                <a:cubicBezTo>
                  <a:pt x="822" y="239"/>
                  <a:pt x="825" y="242"/>
                  <a:pt x="825" y="239"/>
                </a:cubicBezTo>
                <a:cubicBezTo>
                  <a:pt x="825" y="239"/>
                  <a:pt x="829" y="237"/>
                  <a:pt x="829" y="237"/>
                </a:cubicBezTo>
                <a:cubicBezTo>
                  <a:pt x="829" y="236"/>
                  <a:pt x="829" y="235"/>
                  <a:pt x="828" y="235"/>
                </a:cubicBezTo>
                <a:cubicBezTo>
                  <a:pt x="828" y="234"/>
                  <a:pt x="827" y="235"/>
                  <a:pt x="825" y="234"/>
                </a:cubicBezTo>
                <a:cubicBezTo>
                  <a:pt x="825" y="234"/>
                  <a:pt x="827" y="233"/>
                  <a:pt x="827" y="233"/>
                </a:cubicBezTo>
                <a:cubicBezTo>
                  <a:pt x="828" y="232"/>
                  <a:pt x="826" y="231"/>
                  <a:pt x="826" y="231"/>
                </a:cubicBezTo>
                <a:cubicBezTo>
                  <a:pt x="824" y="231"/>
                  <a:pt x="825" y="232"/>
                  <a:pt x="821" y="231"/>
                </a:cubicBezTo>
                <a:cubicBezTo>
                  <a:pt x="822" y="231"/>
                  <a:pt x="823" y="231"/>
                  <a:pt x="823" y="231"/>
                </a:cubicBezTo>
                <a:cubicBezTo>
                  <a:pt x="824" y="230"/>
                  <a:pt x="824" y="230"/>
                  <a:pt x="824" y="230"/>
                </a:cubicBezTo>
                <a:cubicBezTo>
                  <a:pt x="826" y="230"/>
                  <a:pt x="827" y="230"/>
                  <a:pt x="827" y="228"/>
                </a:cubicBezTo>
                <a:cubicBezTo>
                  <a:pt x="828" y="227"/>
                  <a:pt x="827" y="227"/>
                  <a:pt x="827" y="227"/>
                </a:cubicBezTo>
                <a:cubicBezTo>
                  <a:pt x="826" y="226"/>
                  <a:pt x="826" y="225"/>
                  <a:pt x="826" y="224"/>
                </a:cubicBezTo>
                <a:cubicBezTo>
                  <a:pt x="824" y="224"/>
                  <a:pt x="824" y="224"/>
                  <a:pt x="824" y="224"/>
                </a:cubicBezTo>
                <a:cubicBezTo>
                  <a:pt x="823" y="225"/>
                  <a:pt x="820" y="226"/>
                  <a:pt x="818" y="226"/>
                </a:cubicBezTo>
                <a:cubicBezTo>
                  <a:pt x="818" y="226"/>
                  <a:pt x="818" y="226"/>
                  <a:pt x="818" y="226"/>
                </a:cubicBezTo>
                <a:cubicBezTo>
                  <a:pt x="820" y="225"/>
                  <a:pt x="822" y="224"/>
                  <a:pt x="824" y="224"/>
                </a:cubicBezTo>
                <a:cubicBezTo>
                  <a:pt x="824" y="224"/>
                  <a:pt x="826" y="223"/>
                  <a:pt x="826" y="222"/>
                </a:cubicBezTo>
                <a:cubicBezTo>
                  <a:pt x="826" y="222"/>
                  <a:pt x="826" y="221"/>
                  <a:pt x="826" y="221"/>
                </a:cubicBezTo>
                <a:cubicBezTo>
                  <a:pt x="826" y="220"/>
                  <a:pt x="823" y="221"/>
                  <a:pt x="822" y="221"/>
                </a:cubicBezTo>
                <a:cubicBezTo>
                  <a:pt x="820" y="222"/>
                  <a:pt x="820" y="222"/>
                  <a:pt x="820" y="222"/>
                </a:cubicBezTo>
                <a:cubicBezTo>
                  <a:pt x="819" y="222"/>
                  <a:pt x="818" y="223"/>
                  <a:pt x="817" y="224"/>
                </a:cubicBezTo>
                <a:cubicBezTo>
                  <a:pt x="817" y="223"/>
                  <a:pt x="817" y="223"/>
                  <a:pt x="817" y="223"/>
                </a:cubicBezTo>
                <a:cubicBezTo>
                  <a:pt x="818" y="223"/>
                  <a:pt x="818" y="222"/>
                  <a:pt x="819" y="221"/>
                </a:cubicBezTo>
                <a:cubicBezTo>
                  <a:pt x="820" y="221"/>
                  <a:pt x="821" y="222"/>
                  <a:pt x="824" y="219"/>
                </a:cubicBezTo>
                <a:cubicBezTo>
                  <a:pt x="826" y="218"/>
                  <a:pt x="826" y="218"/>
                  <a:pt x="825" y="217"/>
                </a:cubicBezTo>
                <a:cubicBezTo>
                  <a:pt x="825" y="215"/>
                  <a:pt x="825" y="215"/>
                  <a:pt x="824" y="214"/>
                </a:cubicBezTo>
                <a:cubicBezTo>
                  <a:pt x="823" y="215"/>
                  <a:pt x="824" y="214"/>
                  <a:pt x="823" y="215"/>
                </a:cubicBezTo>
                <a:cubicBezTo>
                  <a:pt x="822" y="216"/>
                  <a:pt x="820" y="216"/>
                  <a:pt x="819" y="216"/>
                </a:cubicBezTo>
                <a:cubicBezTo>
                  <a:pt x="819" y="215"/>
                  <a:pt x="819" y="215"/>
                  <a:pt x="819" y="215"/>
                </a:cubicBezTo>
                <a:cubicBezTo>
                  <a:pt x="819" y="215"/>
                  <a:pt x="821" y="215"/>
                  <a:pt x="822" y="215"/>
                </a:cubicBezTo>
                <a:cubicBezTo>
                  <a:pt x="823" y="215"/>
                  <a:pt x="823" y="213"/>
                  <a:pt x="824" y="213"/>
                </a:cubicBezTo>
                <a:cubicBezTo>
                  <a:pt x="824" y="213"/>
                  <a:pt x="822" y="211"/>
                  <a:pt x="822" y="210"/>
                </a:cubicBezTo>
                <a:cubicBezTo>
                  <a:pt x="822" y="208"/>
                  <a:pt x="820" y="207"/>
                  <a:pt x="820" y="207"/>
                </a:cubicBezTo>
                <a:cubicBezTo>
                  <a:pt x="820" y="206"/>
                  <a:pt x="821" y="204"/>
                  <a:pt x="821" y="204"/>
                </a:cubicBezTo>
                <a:cubicBezTo>
                  <a:pt x="821" y="204"/>
                  <a:pt x="822" y="201"/>
                  <a:pt x="821" y="200"/>
                </a:cubicBezTo>
                <a:cubicBezTo>
                  <a:pt x="821" y="200"/>
                  <a:pt x="820" y="202"/>
                  <a:pt x="819" y="202"/>
                </a:cubicBezTo>
                <a:cubicBezTo>
                  <a:pt x="819" y="202"/>
                  <a:pt x="818" y="203"/>
                  <a:pt x="817" y="203"/>
                </a:cubicBezTo>
                <a:cubicBezTo>
                  <a:pt x="816" y="203"/>
                  <a:pt x="815" y="205"/>
                  <a:pt x="815" y="205"/>
                </a:cubicBezTo>
                <a:cubicBezTo>
                  <a:pt x="815" y="205"/>
                  <a:pt x="815" y="206"/>
                  <a:pt x="815" y="206"/>
                </a:cubicBezTo>
                <a:cubicBezTo>
                  <a:pt x="815" y="208"/>
                  <a:pt x="810" y="207"/>
                  <a:pt x="810" y="210"/>
                </a:cubicBezTo>
                <a:cubicBezTo>
                  <a:pt x="810" y="211"/>
                  <a:pt x="806" y="213"/>
                  <a:pt x="806" y="213"/>
                </a:cubicBezTo>
                <a:cubicBezTo>
                  <a:pt x="807" y="215"/>
                  <a:pt x="807" y="215"/>
                  <a:pt x="807" y="215"/>
                </a:cubicBezTo>
                <a:cubicBezTo>
                  <a:pt x="804" y="215"/>
                  <a:pt x="804" y="215"/>
                  <a:pt x="804" y="215"/>
                </a:cubicBezTo>
                <a:cubicBezTo>
                  <a:pt x="800" y="218"/>
                  <a:pt x="800" y="218"/>
                  <a:pt x="800" y="218"/>
                </a:cubicBezTo>
                <a:cubicBezTo>
                  <a:pt x="798" y="217"/>
                  <a:pt x="798" y="217"/>
                  <a:pt x="798" y="217"/>
                </a:cubicBezTo>
                <a:cubicBezTo>
                  <a:pt x="797" y="218"/>
                  <a:pt x="797" y="218"/>
                  <a:pt x="797" y="218"/>
                </a:cubicBezTo>
                <a:cubicBezTo>
                  <a:pt x="795" y="220"/>
                  <a:pt x="795" y="220"/>
                  <a:pt x="795" y="220"/>
                </a:cubicBezTo>
                <a:cubicBezTo>
                  <a:pt x="793" y="221"/>
                  <a:pt x="793" y="221"/>
                  <a:pt x="793" y="221"/>
                </a:cubicBezTo>
                <a:cubicBezTo>
                  <a:pt x="789" y="223"/>
                  <a:pt x="786" y="223"/>
                  <a:pt x="785" y="224"/>
                </a:cubicBezTo>
                <a:cubicBezTo>
                  <a:pt x="785" y="223"/>
                  <a:pt x="785" y="223"/>
                  <a:pt x="785" y="223"/>
                </a:cubicBezTo>
                <a:cubicBezTo>
                  <a:pt x="786" y="221"/>
                  <a:pt x="786" y="221"/>
                  <a:pt x="786" y="221"/>
                </a:cubicBezTo>
                <a:cubicBezTo>
                  <a:pt x="782" y="220"/>
                  <a:pt x="783" y="220"/>
                  <a:pt x="782" y="221"/>
                </a:cubicBezTo>
                <a:cubicBezTo>
                  <a:pt x="780" y="224"/>
                  <a:pt x="780" y="224"/>
                  <a:pt x="780" y="224"/>
                </a:cubicBezTo>
                <a:cubicBezTo>
                  <a:pt x="782" y="221"/>
                  <a:pt x="781" y="222"/>
                  <a:pt x="782" y="219"/>
                </a:cubicBezTo>
                <a:cubicBezTo>
                  <a:pt x="780" y="216"/>
                  <a:pt x="780" y="216"/>
                  <a:pt x="780" y="216"/>
                </a:cubicBezTo>
                <a:cubicBezTo>
                  <a:pt x="778" y="216"/>
                  <a:pt x="778" y="216"/>
                  <a:pt x="778" y="216"/>
                </a:cubicBezTo>
                <a:cubicBezTo>
                  <a:pt x="775" y="217"/>
                  <a:pt x="775" y="217"/>
                  <a:pt x="775" y="217"/>
                </a:cubicBezTo>
                <a:cubicBezTo>
                  <a:pt x="774" y="217"/>
                  <a:pt x="773" y="218"/>
                  <a:pt x="771" y="219"/>
                </a:cubicBezTo>
                <a:cubicBezTo>
                  <a:pt x="769" y="219"/>
                  <a:pt x="769" y="219"/>
                  <a:pt x="769" y="219"/>
                </a:cubicBezTo>
                <a:cubicBezTo>
                  <a:pt x="768" y="218"/>
                  <a:pt x="768" y="218"/>
                  <a:pt x="768" y="218"/>
                </a:cubicBezTo>
                <a:cubicBezTo>
                  <a:pt x="771" y="217"/>
                  <a:pt x="771" y="217"/>
                  <a:pt x="771" y="217"/>
                </a:cubicBezTo>
                <a:cubicBezTo>
                  <a:pt x="772" y="214"/>
                  <a:pt x="772" y="215"/>
                  <a:pt x="773" y="217"/>
                </a:cubicBezTo>
                <a:cubicBezTo>
                  <a:pt x="775" y="217"/>
                  <a:pt x="775" y="215"/>
                  <a:pt x="777" y="214"/>
                </a:cubicBezTo>
                <a:cubicBezTo>
                  <a:pt x="777" y="212"/>
                  <a:pt x="777" y="212"/>
                  <a:pt x="777" y="212"/>
                </a:cubicBezTo>
                <a:cubicBezTo>
                  <a:pt x="775" y="212"/>
                  <a:pt x="775" y="212"/>
                  <a:pt x="775" y="212"/>
                </a:cubicBezTo>
                <a:cubicBezTo>
                  <a:pt x="776" y="211"/>
                  <a:pt x="777" y="210"/>
                  <a:pt x="777" y="209"/>
                </a:cubicBezTo>
                <a:cubicBezTo>
                  <a:pt x="779" y="207"/>
                  <a:pt x="778" y="207"/>
                  <a:pt x="778" y="205"/>
                </a:cubicBezTo>
                <a:cubicBezTo>
                  <a:pt x="780" y="205"/>
                  <a:pt x="780" y="205"/>
                  <a:pt x="780" y="205"/>
                </a:cubicBezTo>
                <a:cubicBezTo>
                  <a:pt x="782" y="203"/>
                  <a:pt x="782" y="201"/>
                  <a:pt x="782" y="200"/>
                </a:cubicBezTo>
                <a:cubicBezTo>
                  <a:pt x="783" y="198"/>
                  <a:pt x="785" y="199"/>
                  <a:pt x="786" y="198"/>
                </a:cubicBezTo>
                <a:cubicBezTo>
                  <a:pt x="787" y="196"/>
                  <a:pt x="787" y="196"/>
                  <a:pt x="787" y="196"/>
                </a:cubicBezTo>
                <a:cubicBezTo>
                  <a:pt x="786" y="194"/>
                  <a:pt x="786" y="194"/>
                  <a:pt x="786" y="194"/>
                </a:cubicBezTo>
                <a:cubicBezTo>
                  <a:pt x="784" y="197"/>
                  <a:pt x="784" y="196"/>
                  <a:pt x="783" y="197"/>
                </a:cubicBezTo>
                <a:cubicBezTo>
                  <a:pt x="782" y="197"/>
                  <a:pt x="782" y="197"/>
                  <a:pt x="782" y="197"/>
                </a:cubicBezTo>
                <a:cubicBezTo>
                  <a:pt x="782" y="195"/>
                  <a:pt x="782" y="195"/>
                  <a:pt x="782" y="195"/>
                </a:cubicBezTo>
                <a:cubicBezTo>
                  <a:pt x="779" y="195"/>
                  <a:pt x="780" y="196"/>
                  <a:pt x="777" y="195"/>
                </a:cubicBezTo>
                <a:cubicBezTo>
                  <a:pt x="772" y="193"/>
                  <a:pt x="772" y="193"/>
                  <a:pt x="772" y="193"/>
                </a:cubicBezTo>
                <a:cubicBezTo>
                  <a:pt x="771" y="191"/>
                  <a:pt x="771" y="191"/>
                  <a:pt x="771" y="191"/>
                </a:cubicBezTo>
                <a:cubicBezTo>
                  <a:pt x="774" y="191"/>
                  <a:pt x="774" y="190"/>
                  <a:pt x="774" y="188"/>
                </a:cubicBezTo>
                <a:cubicBezTo>
                  <a:pt x="771" y="188"/>
                  <a:pt x="771" y="188"/>
                  <a:pt x="771" y="188"/>
                </a:cubicBezTo>
                <a:cubicBezTo>
                  <a:pt x="771" y="187"/>
                  <a:pt x="771" y="187"/>
                  <a:pt x="771" y="187"/>
                </a:cubicBezTo>
                <a:cubicBezTo>
                  <a:pt x="768" y="186"/>
                  <a:pt x="768" y="186"/>
                  <a:pt x="768" y="186"/>
                </a:cubicBezTo>
                <a:cubicBezTo>
                  <a:pt x="770" y="185"/>
                  <a:pt x="770" y="185"/>
                  <a:pt x="770" y="185"/>
                </a:cubicBezTo>
                <a:cubicBezTo>
                  <a:pt x="767" y="184"/>
                  <a:pt x="767" y="184"/>
                  <a:pt x="767" y="184"/>
                </a:cubicBezTo>
                <a:cubicBezTo>
                  <a:pt x="763" y="181"/>
                  <a:pt x="763" y="181"/>
                  <a:pt x="763" y="181"/>
                </a:cubicBezTo>
                <a:cubicBezTo>
                  <a:pt x="753" y="183"/>
                  <a:pt x="753" y="183"/>
                  <a:pt x="753" y="183"/>
                </a:cubicBezTo>
                <a:cubicBezTo>
                  <a:pt x="748" y="182"/>
                  <a:pt x="748" y="182"/>
                  <a:pt x="748" y="182"/>
                </a:cubicBezTo>
                <a:cubicBezTo>
                  <a:pt x="745" y="182"/>
                  <a:pt x="742" y="180"/>
                  <a:pt x="737" y="180"/>
                </a:cubicBezTo>
                <a:cubicBezTo>
                  <a:pt x="733" y="180"/>
                  <a:pt x="733" y="180"/>
                  <a:pt x="733" y="180"/>
                </a:cubicBezTo>
                <a:cubicBezTo>
                  <a:pt x="729" y="181"/>
                  <a:pt x="729" y="181"/>
                  <a:pt x="729" y="181"/>
                </a:cubicBezTo>
                <a:cubicBezTo>
                  <a:pt x="727" y="184"/>
                  <a:pt x="727" y="184"/>
                  <a:pt x="727" y="184"/>
                </a:cubicBezTo>
                <a:cubicBezTo>
                  <a:pt x="727" y="184"/>
                  <a:pt x="725" y="187"/>
                  <a:pt x="725" y="188"/>
                </a:cubicBezTo>
                <a:cubicBezTo>
                  <a:pt x="725" y="188"/>
                  <a:pt x="726" y="188"/>
                  <a:pt x="726" y="188"/>
                </a:cubicBezTo>
                <a:cubicBezTo>
                  <a:pt x="728" y="191"/>
                  <a:pt x="728" y="191"/>
                  <a:pt x="728" y="191"/>
                </a:cubicBezTo>
                <a:cubicBezTo>
                  <a:pt x="725" y="191"/>
                  <a:pt x="725" y="191"/>
                  <a:pt x="725" y="191"/>
                </a:cubicBezTo>
                <a:cubicBezTo>
                  <a:pt x="724" y="192"/>
                  <a:pt x="724" y="192"/>
                  <a:pt x="724" y="192"/>
                </a:cubicBezTo>
                <a:cubicBezTo>
                  <a:pt x="723" y="193"/>
                  <a:pt x="719" y="195"/>
                  <a:pt x="718" y="196"/>
                </a:cubicBezTo>
                <a:cubicBezTo>
                  <a:pt x="717" y="197"/>
                  <a:pt x="714" y="197"/>
                  <a:pt x="713" y="197"/>
                </a:cubicBezTo>
                <a:cubicBezTo>
                  <a:pt x="713" y="198"/>
                  <a:pt x="713" y="198"/>
                  <a:pt x="713" y="198"/>
                </a:cubicBezTo>
                <a:cubicBezTo>
                  <a:pt x="716" y="198"/>
                  <a:pt x="716" y="198"/>
                  <a:pt x="716" y="198"/>
                </a:cubicBezTo>
                <a:cubicBezTo>
                  <a:pt x="718" y="197"/>
                  <a:pt x="718" y="197"/>
                  <a:pt x="720" y="197"/>
                </a:cubicBezTo>
                <a:cubicBezTo>
                  <a:pt x="719" y="199"/>
                  <a:pt x="719" y="199"/>
                  <a:pt x="719" y="199"/>
                </a:cubicBezTo>
                <a:cubicBezTo>
                  <a:pt x="720" y="200"/>
                  <a:pt x="720" y="200"/>
                  <a:pt x="720" y="200"/>
                </a:cubicBezTo>
                <a:cubicBezTo>
                  <a:pt x="719" y="200"/>
                  <a:pt x="719" y="200"/>
                  <a:pt x="719" y="200"/>
                </a:cubicBezTo>
                <a:cubicBezTo>
                  <a:pt x="719" y="207"/>
                  <a:pt x="719" y="207"/>
                  <a:pt x="719" y="207"/>
                </a:cubicBezTo>
                <a:cubicBezTo>
                  <a:pt x="717" y="207"/>
                  <a:pt x="717" y="207"/>
                  <a:pt x="717" y="207"/>
                </a:cubicBezTo>
                <a:cubicBezTo>
                  <a:pt x="716" y="208"/>
                  <a:pt x="716" y="208"/>
                  <a:pt x="716" y="208"/>
                </a:cubicBezTo>
                <a:cubicBezTo>
                  <a:pt x="714" y="208"/>
                  <a:pt x="714" y="208"/>
                  <a:pt x="714" y="208"/>
                </a:cubicBezTo>
                <a:cubicBezTo>
                  <a:pt x="714" y="209"/>
                  <a:pt x="714" y="209"/>
                  <a:pt x="714" y="209"/>
                </a:cubicBezTo>
                <a:cubicBezTo>
                  <a:pt x="712" y="209"/>
                  <a:pt x="712" y="209"/>
                  <a:pt x="712" y="209"/>
                </a:cubicBezTo>
                <a:cubicBezTo>
                  <a:pt x="712" y="211"/>
                  <a:pt x="712" y="211"/>
                  <a:pt x="712" y="211"/>
                </a:cubicBezTo>
                <a:cubicBezTo>
                  <a:pt x="709" y="213"/>
                  <a:pt x="709" y="213"/>
                  <a:pt x="709" y="213"/>
                </a:cubicBezTo>
                <a:cubicBezTo>
                  <a:pt x="706" y="213"/>
                  <a:pt x="706" y="213"/>
                  <a:pt x="706" y="213"/>
                </a:cubicBezTo>
                <a:cubicBezTo>
                  <a:pt x="705" y="215"/>
                  <a:pt x="705" y="215"/>
                  <a:pt x="705" y="215"/>
                </a:cubicBezTo>
                <a:cubicBezTo>
                  <a:pt x="704" y="215"/>
                  <a:pt x="704" y="215"/>
                  <a:pt x="704" y="215"/>
                </a:cubicBezTo>
                <a:cubicBezTo>
                  <a:pt x="701" y="219"/>
                  <a:pt x="701" y="219"/>
                  <a:pt x="701" y="219"/>
                </a:cubicBezTo>
                <a:cubicBezTo>
                  <a:pt x="704" y="220"/>
                  <a:pt x="704" y="220"/>
                  <a:pt x="704" y="220"/>
                </a:cubicBezTo>
                <a:cubicBezTo>
                  <a:pt x="707" y="223"/>
                  <a:pt x="707" y="223"/>
                  <a:pt x="707" y="223"/>
                </a:cubicBezTo>
                <a:cubicBezTo>
                  <a:pt x="709" y="229"/>
                  <a:pt x="709" y="229"/>
                  <a:pt x="709" y="229"/>
                </a:cubicBezTo>
                <a:cubicBezTo>
                  <a:pt x="706" y="237"/>
                  <a:pt x="706" y="237"/>
                  <a:pt x="706" y="237"/>
                </a:cubicBezTo>
                <a:cubicBezTo>
                  <a:pt x="700" y="245"/>
                  <a:pt x="700" y="245"/>
                  <a:pt x="700" y="245"/>
                </a:cubicBezTo>
                <a:cubicBezTo>
                  <a:pt x="700" y="245"/>
                  <a:pt x="688" y="252"/>
                  <a:pt x="688" y="252"/>
                </a:cubicBezTo>
                <a:cubicBezTo>
                  <a:pt x="687" y="252"/>
                  <a:pt x="677" y="256"/>
                  <a:pt x="676" y="256"/>
                </a:cubicBezTo>
                <a:cubicBezTo>
                  <a:pt x="671" y="257"/>
                  <a:pt x="671" y="258"/>
                  <a:pt x="667" y="260"/>
                </a:cubicBezTo>
                <a:cubicBezTo>
                  <a:pt x="666" y="265"/>
                  <a:pt x="667" y="262"/>
                  <a:pt x="669" y="267"/>
                </a:cubicBezTo>
                <a:cubicBezTo>
                  <a:pt x="667" y="269"/>
                  <a:pt x="667" y="269"/>
                  <a:pt x="667" y="269"/>
                </a:cubicBezTo>
                <a:cubicBezTo>
                  <a:pt x="666" y="273"/>
                  <a:pt x="666" y="273"/>
                  <a:pt x="666" y="273"/>
                </a:cubicBezTo>
                <a:cubicBezTo>
                  <a:pt x="664" y="275"/>
                  <a:pt x="664" y="275"/>
                  <a:pt x="664" y="275"/>
                </a:cubicBezTo>
                <a:cubicBezTo>
                  <a:pt x="664" y="277"/>
                  <a:pt x="664" y="277"/>
                  <a:pt x="664" y="277"/>
                </a:cubicBezTo>
                <a:cubicBezTo>
                  <a:pt x="664" y="279"/>
                  <a:pt x="664" y="279"/>
                  <a:pt x="664" y="279"/>
                </a:cubicBezTo>
                <a:cubicBezTo>
                  <a:pt x="664" y="279"/>
                  <a:pt x="664" y="279"/>
                  <a:pt x="663" y="279"/>
                </a:cubicBezTo>
                <a:cubicBezTo>
                  <a:pt x="663" y="279"/>
                  <a:pt x="663" y="282"/>
                  <a:pt x="663" y="283"/>
                </a:cubicBezTo>
                <a:cubicBezTo>
                  <a:pt x="662" y="285"/>
                  <a:pt x="662" y="285"/>
                  <a:pt x="662" y="285"/>
                </a:cubicBezTo>
                <a:cubicBezTo>
                  <a:pt x="659" y="288"/>
                  <a:pt x="659" y="288"/>
                  <a:pt x="659" y="288"/>
                </a:cubicBezTo>
                <a:cubicBezTo>
                  <a:pt x="657" y="288"/>
                  <a:pt x="657" y="288"/>
                  <a:pt x="657" y="288"/>
                </a:cubicBezTo>
                <a:cubicBezTo>
                  <a:pt x="656" y="290"/>
                  <a:pt x="656" y="290"/>
                  <a:pt x="656" y="290"/>
                </a:cubicBezTo>
                <a:cubicBezTo>
                  <a:pt x="656" y="291"/>
                  <a:pt x="656" y="291"/>
                  <a:pt x="656" y="291"/>
                </a:cubicBezTo>
                <a:cubicBezTo>
                  <a:pt x="656" y="293"/>
                  <a:pt x="656" y="293"/>
                  <a:pt x="656" y="293"/>
                </a:cubicBezTo>
                <a:cubicBezTo>
                  <a:pt x="655" y="294"/>
                  <a:pt x="655" y="294"/>
                  <a:pt x="655" y="294"/>
                </a:cubicBezTo>
                <a:cubicBezTo>
                  <a:pt x="654" y="296"/>
                  <a:pt x="654" y="296"/>
                  <a:pt x="654" y="296"/>
                </a:cubicBezTo>
                <a:cubicBezTo>
                  <a:pt x="654" y="293"/>
                  <a:pt x="654" y="294"/>
                  <a:pt x="653" y="291"/>
                </a:cubicBezTo>
                <a:cubicBezTo>
                  <a:pt x="652" y="292"/>
                  <a:pt x="652" y="292"/>
                  <a:pt x="651" y="292"/>
                </a:cubicBezTo>
                <a:cubicBezTo>
                  <a:pt x="651" y="293"/>
                  <a:pt x="649" y="294"/>
                  <a:pt x="649" y="294"/>
                </a:cubicBezTo>
                <a:cubicBezTo>
                  <a:pt x="646" y="296"/>
                  <a:pt x="646" y="296"/>
                  <a:pt x="646" y="296"/>
                </a:cubicBezTo>
                <a:cubicBezTo>
                  <a:pt x="648" y="300"/>
                  <a:pt x="648" y="300"/>
                  <a:pt x="648" y="300"/>
                </a:cubicBezTo>
                <a:cubicBezTo>
                  <a:pt x="647" y="301"/>
                  <a:pt x="647" y="301"/>
                  <a:pt x="647" y="301"/>
                </a:cubicBezTo>
                <a:cubicBezTo>
                  <a:pt x="646" y="297"/>
                  <a:pt x="646" y="297"/>
                  <a:pt x="646" y="297"/>
                </a:cubicBezTo>
                <a:cubicBezTo>
                  <a:pt x="644" y="295"/>
                  <a:pt x="644" y="295"/>
                  <a:pt x="644" y="295"/>
                </a:cubicBezTo>
                <a:cubicBezTo>
                  <a:pt x="642" y="294"/>
                  <a:pt x="642" y="294"/>
                  <a:pt x="642" y="294"/>
                </a:cubicBezTo>
                <a:cubicBezTo>
                  <a:pt x="635" y="298"/>
                  <a:pt x="635" y="298"/>
                  <a:pt x="635" y="298"/>
                </a:cubicBezTo>
                <a:cubicBezTo>
                  <a:pt x="635" y="298"/>
                  <a:pt x="635" y="298"/>
                  <a:pt x="635" y="298"/>
                </a:cubicBezTo>
                <a:cubicBezTo>
                  <a:pt x="642" y="294"/>
                  <a:pt x="642" y="294"/>
                  <a:pt x="642" y="294"/>
                </a:cubicBezTo>
                <a:cubicBezTo>
                  <a:pt x="642" y="291"/>
                  <a:pt x="642" y="291"/>
                  <a:pt x="642" y="291"/>
                </a:cubicBezTo>
                <a:cubicBezTo>
                  <a:pt x="641" y="288"/>
                  <a:pt x="641" y="288"/>
                  <a:pt x="641" y="288"/>
                </a:cubicBezTo>
                <a:cubicBezTo>
                  <a:pt x="641" y="288"/>
                  <a:pt x="638" y="286"/>
                  <a:pt x="638" y="286"/>
                </a:cubicBezTo>
                <a:cubicBezTo>
                  <a:pt x="638" y="285"/>
                  <a:pt x="637" y="284"/>
                  <a:pt x="637" y="284"/>
                </a:cubicBezTo>
                <a:cubicBezTo>
                  <a:pt x="639" y="283"/>
                  <a:pt x="639" y="283"/>
                  <a:pt x="639" y="283"/>
                </a:cubicBezTo>
                <a:cubicBezTo>
                  <a:pt x="638" y="281"/>
                  <a:pt x="638" y="281"/>
                  <a:pt x="638" y="281"/>
                </a:cubicBezTo>
                <a:cubicBezTo>
                  <a:pt x="638" y="280"/>
                  <a:pt x="636" y="278"/>
                  <a:pt x="636" y="277"/>
                </a:cubicBezTo>
                <a:cubicBezTo>
                  <a:pt x="637" y="275"/>
                  <a:pt x="637" y="275"/>
                  <a:pt x="637" y="275"/>
                </a:cubicBezTo>
                <a:cubicBezTo>
                  <a:pt x="638" y="274"/>
                  <a:pt x="638" y="274"/>
                  <a:pt x="638" y="274"/>
                </a:cubicBezTo>
                <a:cubicBezTo>
                  <a:pt x="639" y="274"/>
                  <a:pt x="640" y="271"/>
                  <a:pt x="640" y="271"/>
                </a:cubicBezTo>
                <a:cubicBezTo>
                  <a:pt x="642" y="268"/>
                  <a:pt x="642" y="268"/>
                  <a:pt x="642" y="268"/>
                </a:cubicBezTo>
                <a:cubicBezTo>
                  <a:pt x="642" y="265"/>
                  <a:pt x="642" y="265"/>
                  <a:pt x="642" y="265"/>
                </a:cubicBezTo>
                <a:cubicBezTo>
                  <a:pt x="642" y="265"/>
                  <a:pt x="642" y="263"/>
                  <a:pt x="642" y="263"/>
                </a:cubicBezTo>
                <a:cubicBezTo>
                  <a:pt x="643" y="263"/>
                  <a:pt x="645" y="260"/>
                  <a:pt x="646" y="260"/>
                </a:cubicBezTo>
                <a:cubicBezTo>
                  <a:pt x="648" y="258"/>
                  <a:pt x="648" y="257"/>
                  <a:pt x="649" y="255"/>
                </a:cubicBezTo>
                <a:cubicBezTo>
                  <a:pt x="649" y="255"/>
                  <a:pt x="647" y="254"/>
                  <a:pt x="647" y="254"/>
                </a:cubicBezTo>
                <a:cubicBezTo>
                  <a:pt x="644" y="254"/>
                  <a:pt x="645" y="254"/>
                  <a:pt x="644" y="253"/>
                </a:cubicBezTo>
                <a:cubicBezTo>
                  <a:pt x="641" y="254"/>
                  <a:pt x="642" y="253"/>
                  <a:pt x="640" y="253"/>
                </a:cubicBezTo>
                <a:cubicBezTo>
                  <a:pt x="638" y="253"/>
                  <a:pt x="627" y="253"/>
                  <a:pt x="627" y="253"/>
                </a:cubicBezTo>
                <a:cubicBezTo>
                  <a:pt x="625" y="252"/>
                  <a:pt x="625" y="252"/>
                  <a:pt x="625" y="252"/>
                </a:cubicBezTo>
                <a:cubicBezTo>
                  <a:pt x="625" y="252"/>
                  <a:pt x="624" y="248"/>
                  <a:pt x="623" y="248"/>
                </a:cubicBezTo>
                <a:cubicBezTo>
                  <a:pt x="622" y="248"/>
                  <a:pt x="620" y="247"/>
                  <a:pt x="620" y="247"/>
                </a:cubicBezTo>
                <a:cubicBezTo>
                  <a:pt x="614" y="245"/>
                  <a:pt x="614" y="245"/>
                  <a:pt x="614" y="245"/>
                </a:cubicBezTo>
                <a:cubicBezTo>
                  <a:pt x="612" y="244"/>
                  <a:pt x="612" y="244"/>
                  <a:pt x="612" y="244"/>
                </a:cubicBezTo>
                <a:cubicBezTo>
                  <a:pt x="612" y="241"/>
                  <a:pt x="612" y="241"/>
                  <a:pt x="612" y="241"/>
                </a:cubicBezTo>
                <a:cubicBezTo>
                  <a:pt x="609" y="240"/>
                  <a:pt x="609" y="240"/>
                  <a:pt x="607" y="237"/>
                </a:cubicBezTo>
                <a:cubicBezTo>
                  <a:pt x="604" y="237"/>
                  <a:pt x="604" y="237"/>
                  <a:pt x="604" y="237"/>
                </a:cubicBezTo>
                <a:cubicBezTo>
                  <a:pt x="595" y="233"/>
                  <a:pt x="595" y="233"/>
                  <a:pt x="595" y="233"/>
                </a:cubicBezTo>
                <a:cubicBezTo>
                  <a:pt x="593" y="231"/>
                  <a:pt x="594" y="232"/>
                  <a:pt x="591" y="232"/>
                </a:cubicBezTo>
                <a:cubicBezTo>
                  <a:pt x="587" y="232"/>
                  <a:pt x="585" y="234"/>
                  <a:pt x="583" y="234"/>
                </a:cubicBezTo>
                <a:cubicBezTo>
                  <a:pt x="581" y="234"/>
                  <a:pt x="581" y="234"/>
                  <a:pt x="579" y="235"/>
                </a:cubicBezTo>
                <a:cubicBezTo>
                  <a:pt x="578" y="236"/>
                  <a:pt x="579" y="235"/>
                  <a:pt x="577" y="235"/>
                </a:cubicBezTo>
                <a:cubicBezTo>
                  <a:pt x="577" y="235"/>
                  <a:pt x="578" y="235"/>
                  <a:pt x="578" y="235"/>
                </a:cubicBezTo>
                <a:cubicBezTo>
                  <a:pt x="579" y="235"/>
                  <a:pt x="578" y="234"/>
                  <a:pt x="581" y="233"/>
                </a:cubicBezTo>
                <a:cubicBezTo>
                  <a:pt x="581" y="233"/>
                  <a:pt x="581" y="232"/>
                  <a:pt x="581" y="232"/>
                </a:cubicBezTo>
                <a:cubicBezTo>
                  <a:pt x="582" y="231"/>
                  <a:pt x="582" y="231"/>
                  <a:pt x="582" y="231"/>
                </a:cubicBezTo>
                <a:cubicBezTo>
                  <a:pt x="583" y="230"/>
                  <a:pt x="583" y="228"/>
                  <a:pt x="583" y="227"/>
                </a:cubicBezTo>
                <a:cubicBezTo>
                  <a:pt x="584" y="225"/>
                  <a:pt x="584" y="225"/>
                  <a:pt x="584" y="225"/>
                </a:cubicBezTo>
                <a:cubicBezTo>
                  <a:pt x="584" y="223"/>
                  <a:pt x="584" y="223"/>
                  <a:pt x="584" y="223"/>
                </a:cubicBezTo>
                <a:cubicBezTo>
                  <a:pt x="585" y="220"/>
                  <a:pt x="585" y="220"/>
                  <a:pt x="586" y="217"/>
                </a:cubicBezTo>
                <a:cubicBezTo>
                  <a:pt x="583" y="216"/>
                  <a:pt x="583" y="216"/>
                  <a:pt x="583" y="216"/>
                </a:cubicBezTo>
                <a:cubicBezTo>
                  <a:pt x="578" y="216"/>
                  <a:pt x="581" y="217"/>
                  <a:pt x="576" y="215"/>
                </a:cubicBezTo>
                <a:cubicBezTo>
                  <a:pt x="576" y="214"/>
                  <a:pt x="576" y="214"/>
                  <a:pt x="576" y="214"/>
                </a:cubicBezTo>
                <a:cubicBezTo>
                  <a:pt x="576" y="214"/>
                  <a:pt x="577" y="212"/>
                  <a:pt x="577" y="212"/>
                </a:cubicBezTo>
                <a:cubicBezTo>
                  <a:pt x="578" y="212"/>
                  <a:pt x="578" y="211"/>
                  <a:pt x="578" y="211"/>
                </a:cubicBezTo>
                <a:cubicBezTo>
                  <a:pt x="580" y="209"/>
                  <a:pt x="580" y="209"/>
                  <a:pt x="580" y="209"/>
                </a:cubicBezTo>
                <a:cubicBezTo>
                  <a:pt x="581" y="206"/>
                  <a:pt x="581" y="206"/>
                  <a:pt x="581" y="206"/>
                </a:cubicBezTo>
                <a:cubicBezTo>
                  <a:pt x="586" y="203"/>
                  <a:pt x="586" y="203"/>
                  <a:pt x="586" y="203"/>
                </a:cubicBezTo>
                <a:cubicBezTo>
                  <a:pt x="586" y="203"/>
                  <a:pt x="586" y="201"/>
                  <a:pt x="586" y="201"/>
                </a:cubicBezTo>
                <a:cubicBezTo>
                  <a:pt x="587" y="200"/>
                  <a:pt x="587" y="200"/>
                  <a:pt x="587" y="199"/>
                </a:cubicBezTo>
                <a:cubicBezTo>
                  <a:pt x="591" y="198"/>
                  <a:pt x="590" y="198"/>
                  <a:pt x="592" y="197"/>
                </a:cubicBezTo>
                <a:cubicBezTo>
                  <a:pt x="593" y="196"/>
                  <a:pt x="594" y="196"/>
                  <a:pt x="594" y="195"/>
                </a:cubicBezTo>
                <a:cubicBezTo>
                  <a:pt x="594" y="194"/>
                  <a:pt x="599" y="192"/>
                  <a:pt x="600" y="191"/>
                </a:cubicBezTo>
                <a:cubicBezTo>
                  <a:pt x="603" y="187"/>
                  <a:pt x="607" y="188"/>
                  <a:pt x="608" y="188"/>
                </a:cubicBezTo>
                <a:cubicBezTo>
                  <a:pt x="608" y="188"/>
                  <a:pt x="611" y="186"/>
                  <a:pt x="608" y="186"/>
                </a:cubicBezTo>
                <a:cubicBezTo>
                  <a:pt x="608" y="185"/>
                  <a:pt x="610" y="185"/>
                  <a:pt x="610" y="184"/>
                </a:cubicBezTo>
                <a:cubicBezTo>
                  <a:pt x="611" y="184"/>
                  <a:pt x="613" y="184"/>
                  <a:pt x="613" y="183"/>
                </a:cubicBezTo>
                <a:cubicBezTo>
                  <a:pt x="614" y="183"/>
                  <a:pt x="615" y="182"/>
                  <a:pt x="616" y="183"/>
                </a:cubicBezTo>
                <a:cubicBezTo>
                  <a:pt x="616" y="183"/>
                  <a:pt x="616" y="185"/>
                  <a:pt x="618" y="183"/>
                </a:cubicBezTo>
                <a:cubicBezTo>
                  <a:pt x="618" y="183"/>
                  <a:pt x="617" y="182"/>
                  <a:pt x="617" y="182"/>
                </a:cubicBezTo>
                <a:cubicBezTo>
                  <a:pt x="617" y="181"/>
                  <a:pt x="618" y="180"/>
                  <a:pt x="618" y="180"/>
                </a:cubicBezTo>
                <a:cubicBezTo>
                  <a:pt x="618" y="180"/>
                  <a:pt x="619" y="180"/>
                  <a:pt x="620" y="180"/>
                </a:cubicBezTo>
                <a:cubicBezTo>
                  <a:pt x="620" y="179"/>
                  <a:pt x="620" y="179"/>
                  <a:pt x="621" y="179"/>
                </a:cubicBezTo>
                <a:cubicBezTo>
                  <a:pt x="621" y="179"/>
                  <a:pt x="623" y="179"/>
                  <a:pt x="623" y="180"/>
                </a:cubicBezTo>
                <a:cubicBezTo>
                  <a:pt x="623" y="180"/>
                  <a:pt x="625" y="179"/>
                  <a:pt x="626" y="179"/>
                </a:cubicBezTo>
                <a:cubicBezTo>
                  <a:pt x="626" y="179"/>
                  <a:pt x="626" y="178"/>
                  <a:pt x="625" y="178"/>
                </a:cubicBezTo>
                <a:cubicBezTo>
                  <a:pt x="623" y="178"/>
                  <a:pt x="624" y="178"/>
                  <a:pt x="622" y="177"/>
                </a:cubicBezTo>
                <a:cubicBezTo>
                  <a:pt x="622" y="177"/>
                  <a:pt x="623" y="176"/>
                  <a:pt x="623" y="176"/>
                </a:cubicBezTo>
                <a:cubicBezTo>
                  <a:pt x="624" y="175"/>
                  <a:pt x="625" y="176"/>
                  <a:pt x="627" y="176"/>
                </a:cubicBezTo>
                <a:cubicBezTo>
                  <a:pt x="627" y="176"/>
                  <a:pt x="630" y="177"/>
                  <a:pt x="630" y="177"/>
                </a:cubicBezTo>
                <a:cubicBezTo>
                  <a:pt x="632" y="177"/>
                  <a:pt x="632" y="176"/>
                  <a:pt x="633" y="175"/>
                </a:cubicBezTo>
                <a:cubicBezTo>
                  <a:pt x="634" y="175"/>
                  <a:pt x="635" y="175"/>
                  <a:pt x="635" y="175"/>
                </a:cubicBezTo>
                <a:cubicBezTo>
                  <a:pt x="635" y="175"/>
                  <a:pt x="638" y="174"/>
                  <a:pt x="638" y="174"/>
                </a:cubicBezTo>
                <a:cubicBezTo>
                  <a:pt x="638" y="174"/>
                  <a:pt x="640" y="173"/>
                  <a:pt x="640" y="173"/>
                </a:cubicBezTo>
                <a:cubicBezTo>
                  <a:pt x="640" y="173"/>
                  <a:pt x="639" y="171"/>
                  <a:pt x="639" y="171"/>
                </a:cubicBezTo>
                <a:cubicBezTo>
                  <a:pt x="639" y="171"/>
                  <a:pt x="637" y="169"/>
                  <a:pt x="637" y="169"/>
                </a:cubicBezTo>
                <a:cubicBezTo>
                  <a:pt x="635" y="169"/>
                  <a:pt x="635" y="169"/>
                  <a:pt x="635" y="169"/>
                </a:cubicBezTo>
                <a:cubicBezTo>
                  <a:pt x="635" y="168"/>
                  <a:pt x="635" y="168"/>
                  <a:pt x="635" y="168"/>
                </a:cubicBezTo>
                <a:cubicBezTo>
                  <a:pt x="634" y="168"/>
                  <a:pt x="634" y="168"/>
                  <a:pt x="634" y="168"/>
                </a:cubicBezTo>
                <a:cubicBezTo>
                  <a:pt x="632" y="168"/>
                  <a:pt x="632" y="168"/>
                  <a:pt x="632" y="168"/>
                </a:cubicBezTo>
                <a:cubicBezTo>
                  <a:pt x="630" y="169"/>
                  <a:pt x="630" y="170"/>
                  <a:pt x="628" y="169"/>
                </a:cubicBezTo>
                <a:cubicBezTo>
                  <a:pt x="631" y="168"/>
                  <a:pt x="631" y="168"/>
                  <a:pt x="631" y="168"/>
                </a:cubicBezTo>
                <a:cubicBezTo>
                  <a:pt x="629" y="167"/>
                  <a:pt x="629" y="167"/>
                  <a:pt x="629" y="167"/>
                </a:cubicBezTo>
                <a:cubicBezTo>
                  <a:pt x="627" y="166"/>
                  <a:pt x="627" y="166"/>
                  <a:pt x="625" y="165"/>
                </a:cubicBezTo>
                <a:cubicBezTo>
                  <a:pt x="624" y="166"/>
                  <a:pt x="624" y="166"/>
                  <a:pt x="624" y="166"/>
                </a:cubicBezTo>
                <a:cubicBezTo>
                  <a:pt x="624" y="166"/>
                  <a:pt x="623" y="166"/>
                  <a:pt x="622" y="165"/>
                </a:cubicBezTo>
                <a:cubicBezTo>
                  <a:pt x="623" y="164"/>
                  <a:pt x="623" y="165"/>
                  <a:pt x="624" y="164"/>
                </a:cubicBezTo>
                <a:cubicBezTo>
                  <a:pt x="623" y="163"/>
                  <a:pt x="623" y="163"/>
                  <a:pt x="623" y="163"/>
                </a:cubicBezTo>
                <a:cubicBezTo>
                  <a:pt x="624" y="163"/>
                  <a:pt x="624" y="163"/>
                  <a:pt x="624" y="163"/>
                </a:cubicBezTo>
                <a:cubicBezTo>
                  <a:pt x="626" y="165"/>
                  <a:pt x="626" y="165"/>
                  <a:pt x="626" y="165"/>
                </a:cubicBezTo>
                <a:cubicBezTo>
                  <a:pt x="628" y="165"/>
                  <a:pt x="629" y="166"/>
                  <a:pt x="630" y="166"/>
                </a:cubicBezTo>
                <a:cubicBezTo>
                  <a:pt x="632" y="167"/>
                  <a:pt x="636" y="167"/>
                  <a:pt x="637" y="167"/>
                </a:cubicBezTo>
                <a:cubicBezTo>
                  <a:pt x="640" y="169"/>
                  <a:pt x="640" y="169"/>
                  <a:pt x="640" y="169"/>
                </a:cubicBezTo>
                <a:cubicBezTo>
                  <a:pt x="641" y="169"/>
                  <a:pt x="641" y="169"/>
                  <a:pt x="641" y="169"/>
                </a:cubicBezTo>
                <a:cubicBezTo>
                  <a:pt x="642" y="168"/>
                  <a:pt x="642" y="168"/>
                  <a:pt x="642" y="168"/>
                </a:cubicBezTo>
                <a:cubicBezTo>
                  <a:pt x="644" y="169"/>
                  <a:pt x="644" y="169"/>
                  <a:pt x="644" y="169"/>
                </a:cubicBezTo>
                <a:cubicBezTo>
                  <a:pt x="647" y="167"/>
                  <a:pt x="647" y="166"/>
                  <a:pt x="650" y="165"/>
                </a:cubicBezTo>
                <a:cubicBezTo>
                  <a:pt x="650" y="163"/>
                  <a:pt x="650" y="163"/>
                  <a:pt x="650" y="163"/>
                </a:cubicBezTo>
                <a:cubicBezTo>
                  <a:pt x="653" y="163"/>
                  <a:pt x="654" y="162"/>
                  <a:pt x="653" y="164"/>
                </a:cubicBezTo>
                <a:cubicBezTo>
                  <a:pt x="653" y="165"/>
                  <a:pt x="653" y="165"/>
                  <a:pt x="653" y="165"/>
                </a:cubicBezTo>
                <a:cubicBezTo>
                  <a:pt x="655" y="165"/>
                  <a:pt x="655" y="165"/>
                  <a:pt x="655" y="165"/>
                </a:cubicBezTo>
                <a:cubicBezTo>
                  <a:pt x="657" y="164"/>
                  <a:pt x="657" y="164"/>
                  <a:pt x="657" y="164"/>
                </a:cubicBezTo>
                <a:cubicBezTo>
                  <a:pt x="658" y="165"/>
                  <a:pt x="658" y="165"/>
                  <a:pt x="658" y="165"/>
                </a:cubicBezTo>
                <a:cubicBezTo>
                  <a:pt x="665" y="163"/>
                  <a:pt x="665" y="163"/>
                  <a:pt x="665" y="163"/>
                </a:cubicBezTo>
                <a:cubicBezTo>
                  <a:pt x="666" y="163"/>
                  <a:pt x="670" y="160"/>
                  <a:pt x="671" y="160"/>
                </a:cubicBezTo>
                <a:cubicBezTo>
                  <a:pt x="674" y="159"/>
                  <a:pt x="674" y="158"/>
                  <a:pt x="675" y="157"/>
                </a:cubicBezTo>
                <a:cubicBezTo>
                  <a:pt x="677" y="156"/>
                  <a:pt x="677" y="156"/>
                  <a:pt x="677" y="156"/>
                </a:cubicBezTo>
                <a:cubicBezTo>
                  <a:pt x="677" y="156"/>
                  <a:pt x="680" y="155"/>
                  <a:pt x="680" y="155"/>
                </a:cubicBezTo>
                <a:cubicBezTo>
                  <a:pt x="680" y="155"/>
                  <a:pt x="682" y="153"/>
                  <a:pt x="682" y="153"/>
                </a:cubicBezTo>
                <a:cubicBezTo>
                  <a:pt x="681" y="153"/>
                  <a:pt x="681" y="153"/>
                  <a:pt x="681" y="153"/>
                </a:cubicBezTo>
                <a:cubicBezTo>
                  <a:pt x="680" y="152"/>
                  <a:pt x="679" y="152"/>
                  <a:pt x="678" y="152"/>
                </a:cubicBezTo>
                <a:cubicBezTo>
                  <a:pt x="675" y="152"/>
                  <a:pt x="671" y="152"/>
                  <a:pt x="668" y="152"/>
                </a:cubicBezTo>
                <a:cubicBezTo>
                  <a:pt x="667" y="150"/>
                  <a:pt x="667" y="151"/>
                  <a:pt x="665" y="148"/>
                </a:cubicBezTo>
                <a:cubicBezTo>
                  <a:pt x="664" y="147"/>
                  <a:pt x="665" y="148"/>
                  <a:pt x="662" y="147"/>
                </a:cubicBezTo>
                <a:cubicBezTo>
                  <a:pt x="661" y="147"/>
                  <a:pt x="656" y="147"/>
                  <a:pt x="654" y="146"/>
                </a:cubicBezTo>
                <a:cubicBezTo>
                  <a:pt x="654" y="145"/>
                  <a:pt x="656" y="145"/>
                  <a:pt x="656" y="145"/>
                </a:cubicBezTo>
                <a:cubicBezTo>
                  <a:pt x="656" y="145"/>
                  <a:pt x="658" y="146"/>
                  <a:pt x="658" y="146"/>
                </a:cubicBezTo>
                <a:cubicBezTo>
                  <a:pt x="661" y="146"/>
                  <a:pt x="661" y="146"/>
                  <a:pt x="661" y="146"/>
                </a:cubicBezTo>
                <a:cubicBezTo>
                  <a:pt x="663" y="146"/>
                  <a:pt x="667" y="145"/>
                  <a:pt x="669" y="146"/>
                </a:cubicBezTo>
                <a:cubicBezTo>
                  <a:pt x="671" y="148"/>
                  <a:pt x="670" y="149"/>
                  <a:pt x="672" y="149"/>
                </a:cubicBezTo>
                <a:cubicBezTo>
                  <a:pt x="673" y="150"/>
                  <a:pt x="674" y="149"/>
                  <a:pt x="674" y="148"/>
                </a:cubicBezTo>
                <a:cubicBezTo>
                  <a:pt x="675" y="148"/>
                  <a:pt x="675" y="148"/>
                  <a:pt x="675" y="148"/>
                </a:cubicBezTo>
                <a:cubicBezTo>
                  <a:pt x="673" y="150"/>
                  <a:pt x="673" y="150"/>
                  <a:pt x="673" y="150"/>
                </a:cubicBezTo>
                <a:cubicBezTo>
                  <a:pt x="677" y="152"/>
                  <a:pt x="677" y="152"/>
                  <a:pt x="677" y="152"/>
                </a:cubicBezTo>
                <a:cubicBezTo>
                  <a:pt x="679" y="152"/>
                  <a:pt x="688" y="149"/>
                  <a:pt x="690" y="148"/>
                </a:cubicBezTo>
                <a:cubicBezTo>
                  <a:pt x="693" y="146"/>
                  <a:pt x="693" y="146"/>
                  <a:pt x="693" y="146"/>
                </a:cubicBezTo>
                <a:cubicBezTo>
                  <a:pt x="695" y="145"/>
                  <a:pt x="696" y="146"/>
                  <a:pt x="696" y="143"/>
                </a:cubicBezTo>
                <a:cubicBezTo>
                  <a:pt x="695" y="143"/>
                  <a:pt x="693" y="142"/>
                  <a:pt x="693" y="141"/>
                </a:cubicBezTo>
                <a:cubicBezTo>
                  <a:pt x="693" y="141"/>
                  <a:pt x="695" y="140"/>
                  <a:pt x="695" y="140"/>
                </a:cubicBezTo>
                <a:cubicBezTo>
                  <a:pt x="699" y="140"/>
                  <a:pt x="699" y="140"/>
                  <a:pt x="699" y="140"/>
                </a:cubicBezTo>
                <a:cubicBezTo>
                  <a:pt x="707" y="140"/>
                  <a:pt x="707" y="140"/>
                  <a:pt x="707" y="140"/>
                </a:cubicBezTo>
                <a:cubicBezTo>
                  <a:pt x="707" y="140"/>
                  <a:pt x="705" y="141"/>
                  <a:pt x="704" y="141"/>
                </a:cubicBezTo>
                <a:cubicBezTo>
                  <a:pt x="704" y="141"/>
                  <a:pt x="703" y="142"/>
                  <a:pt x="703" y="142"/>
                </a:cubicBezTo>
                <a:cubicBezTo>
                  <a:pt x="702" y="142"/>
                  <a:pt x="704" y="143"/>
                  <a:pt x="704" y="143"/>
                </a:cubicBezTo>
                <a:cubicBezTo>
                  <a:pt x="704" y="143"/>
                  <a:pt x="706" y="143"/>
                  <a:pt x="706" y="144"/>
                </a:cubicBezTo>
                <a:cubicBezTo>
                  <a:pt x="709" y="144"/>
                  <a:pt x="709" y="144"/>
                  <a:pt x="709" y="143"/>
                </a:cubicBezTo>
                <a:cubicBezTo>
                  <a:pt x="709" y="143"/>
                  <a:pt x="708" y="143"/>
                  <a:pt x="708" y="143"/>
                </a:cubicBezTo>
                <a:cubicBezTo>
                  <a:pt x="707" y="142"/>
                  <a:pt x="708" y="142"/>
                  <a:pt x="708" y="142"/>
                </a:cubicBezTo>
                <a:cubicBezTo>
                  <a:pt x="709" y="141"/>
                  <a:pt x="709" y="142"/>
                  <a:pt x="710" y="142"/>
                </a:cubicBezTo>
                <a:cubicBezTo>
                  <a:pt x="711" y="143"/>
                  <a:pt x="710" y="144"/>
                  <a:pt x="713" y="144"/>
                </a:cubicBezTo>
                <a:cubicBezTo>
                  <a:pt x="714" y="144"/>
                  <a:pt x="714" y="142"/>
                  <a:pt x="713" y="141"/>
                </a:cubicBezTo>
                <a:cubicBezTo>
                  <a:pt x="713" y="141"/>
                  <a:pt x="713" y="141"/>
                  <a:pt x="713" y="141"/>
                </a:cubicBezTo>
                <a:cubicBezTo>
                  <a:pt x="712" y="141"/>
                  <a:pt x="712" y="140"/>
                  <a:pt x="712" y="140"/>
                </a:cubicBezTo>
                <a:cubicBezTo>
                  <a:pt x="713" y="136"/>
                  <a:pt x="711" y="138"/>
                  <a:pt x="709" y="138"/>
                </a:cubicBezTo>
                <a:cubicBezTo>
                  <a:pt x="709" y="138"/>
                  <a:pt x="708" y="137"/>
                  <a:pt x="708" y="137"/>
                </a:cubicBezTo>
                <a:cubicBezTo>
                  <a:pt x="710" y="137"/>
                  <a:pt x="710" y="137"/>
                  <a:pt x="711" y="136"/>
                </a:cubicBezTo>
                <a:cubicBezTo>
                  <a:pt x="712" y="136"/>
                  <a:pt x="712" y="136"/>
                  <a:pt x="713" y="136"/>
                </a:cubicBezTo>
                <a:cubicBezTo>
                  <a:pt x="715" y="139"/>
                  <a:pt x="713" y="140"/>
                  <a:pt x="717" y="138"/>
                </a:cubicBezTo>
                <a:cubicBezTo>
                  <a:pt x="716" y="139"/>
                  <a:pt x="716" y="139"/>
                  <a:pt x="715" y="140"/>
                </a:cubicBezTo>
                <a:cubicBezTo>
                  <a:pt x="716" y="140"/>
                  <a:pt x="718" y="140"/>
                  <a:pt x="719" y="140"/>
                </a:cubicBezTo>
                <a:cubicBezTo>
                  <a:pt x="719" y="140"/>
                  <a:pt x="719" y="141"/>
                  <a:pt x="719" y="141"/>
                </a:cubicBezTo>
                <a:cubicBezTo>
                  <a:pt x="718" y="141"/>
                  <a:pt x="717" y="141"/>
                  <a:pt x="715" y="141"/>
                </a:cubicBezTo>
                <a:cubicBezTo>
                  <a:pt x="715" y="141"/>
                  <a:pt x="716" y="143"/>
                  <a:pt x="717" y="143"/>
                </a:cubicBezTo>
                <a:cubicBezTo>
                  <a:pt x="717" y="143"/>
                  <a:pt x="719" y="141"/>
                  <a:pt x="720" y="141"/>
                </a:cubicBezTo>
                <a:cubicBezTo>
                  <a:pt x="722" y="139"/>
                  <a:pt x="723" y="142"/>
                  <a:pt x="726" y="139"/>
                </a:cubicBezTo>
                <a:cubicBezTo>
                  <a:pt x="729" y="139"/>
                  <a:pt x="729" y="139"/>
                  <a:pt x="729" y="139"/>
                </a:cubicBezTo>
                <a:cubicBezTo>
                  <a:pt x="731" y="137"/>
                  <a:pt x="731" y="137"/>
                  <a:pt x="731" y="137"/>
                </a:cubicBezTo>
                <a:cubicBezTo>
                  <a:pt x="736" y="137"/>
                  <a:pt x="736" y="137"/>
                  <a:pt x="736" y="137"/>
                </a:cubicBezTo>
                <a:cubicBezTo>
                  <a:pt x="739" y="133"/>
                  <a:pt x="739" y="133"/>
                  <a:pt x="739" y="133"/>
                </a:cubicBezTo>
                <a:cubicBezTo>
                  <a:pt x="739" y="133"/>
                  <a:pt x="740" y="133"/>
                  <a:pt x="741" y="132"/>
                </a:cubicBezTo>
                <a:cubicBezTo>
                  <a:pt x="742" y="132"/>
                  <a:pt x="739" y="128"/>
                  <a:pt x="739" y="129"/>
                </a:cubicBezTo>
                <a:cubicBezTo>
                  <a:pt x="737" y="128"/>
                  <a:pt x="737" y="129"/>
                  <a:pt x="739" y="126"/>
                </a:cubicBezTo>
                <a:cubicBezTo>
                  <a:pt x="739" y="125"/>
                  <a:pt x="741" y="126"/>
                  <a:pt x="741" y="126"/>
                </a:cubicBezTo>
                <a:cubicBezTo>
                  <a:pt x="742" y="126"/>
                  <a:pt x="739" y="124"/>
                  <a:pt x="739" y="124"/>
                </a:cubicBezTo>
                <a:cubicBezTo>
                  <a:pt x="739" y="123"/>
                  <a:pt x="739" y="122"/>
                  <a:pt x="740" y="122"/>
                </a:cubicBezTo>
                <a:cubicBezTo>
                  <a:pt x="743" y="123"/>
                  <a:pt x="744" y="122"/>
                  <a:pt x="746" y="122"/>
                </a:cubicBezTo>
                <a:cubicBezTo>
                  <a:pt x="747" y="122"/>
                  <a:pt x="750" y="121"/>
                  <a:pt x="750" y="120"/>
                </a:cubicBezTo>
                <a:cubicBezTo>
                  <a:pt x="750" y="120"/>
                  <a:pt x="748" y="118"/>
                  <a:pt x="749" y="118"/>
                </a:cubicBezTo>
                <a:cubicBezTo>
                  <a:pt x="749" y="118"/>
                  <a:pt x="752" y="117"/>
                  <a:pt x="752" y="116"/>
                </a:cubicBezTo>
                <a:cubicBezTo>
                  <a:pt x="752" y="115"/>
                  <a:pt x="751" y="115"/>
                  <a:pt x="750" y="115"/>
                </a:cubicBezTo>
                <a:cubicBezTo>
                  <a:pt x="747" y="115"/>
                  <a:pt x="747" y="116"/>
                  <a:pt x="747" y="114"/>
                </a:cubicBezTo>
                <a:cubicBezTo>
                  <a:pt x="746" y="113"/>
                  <a:pt x="745" y="114"/>
                  <a:pt x="746" y="112"/>
                </a:cubicBezTo>
                <a:cubicBezTo>
                  <a:pt x="747" y="112"/>
                  <a:pt x="749" y="112"/>
                  <a:pt x="750" y="112"/>
                </a:cubicBezTo>
                <a:cubicBezTo>
                  <a:pt x="750" y="112"/>
                  <a:pt x="748" y="111"/>
                  <a:pt x="748" y="111"/>
                </a:cubicBezTo>
                <a:cubicBezTo>
                  <a:pt x="747" y="111"/>
                  <a:pt x="744" y="111"/>
                  <a:pt x="744" y="111"/>
                </a:cubicBezTo>
                <a:cubicBezTo>
                  <a:pt x="742" y="111"/>
                  <a:pt x="733" y="110"/>
                  <a:pt x="729" y="110"/>
                </a:cubicBezTo>
                <a:cubicBezTo>
                  <a:pt x="729" y="110"/>
                  <a:pt x="727" y="112"/>
                  <a:pt x="727" y="112"/>
                </a:cubicBezTo>
                <a:cubicBezTo>
                  <a:pt x="727" y="112"/>
                  <a:pt x="725" y="114"/>
                  <a:pt x="725" y="114"/>
                </a:cubicBezTo>
                <a:cubicBezTo>
                  <a:pt x="724" y="114"/>
                  <a:pt x="724" y="114"/>
                  <a:pt x="724" y="114"/>
                </a:cubicBezTo>
                <a:cubicBezTo>
                  <a:pt x="724" y="114"/>
                  <a:pt x="724" y="116"/>
                  <a:pt x="725" y="116"/>
                </a:cubicBezTo>
                <a:cubicBezTo>
                  <a:pt x="726" y="116"/>
                  <a:pt x="728" y="118"/>
                  <a:pt x="726" y="118"/>
                </a:cubicBezTo>
                <a:cubicBezTo>
                  <a:pt x="725" y="118"/>
                  <a:pt x="724" y="117"/>
                  <a:pt x="724" y="119"/>
                </a:cubicBezTo>
                <a:cubicBezTo>
                  <a:pt x="724" y="119"/>
                  <a:pt x="722" y="120"/>
                  <a:pt x="722" y="120"/>
                </a:cubicBezTo>
                <a:cubicBezTo>
                  <a:pt x="719" y="120"/>
                  <a:pt x="719" y="120"/>
                  <a:pt x="719" y="120"/>
                </a:cubicBezTo>
                <a:cubicBezTo>
                  <a:pt x="714" y="123"/>
                  <a:pt x="714" y="123"/>
                  <a:pt x="714" y="123"/>
                </a:cubicBezTo>
                <a:cubicBezTo>
                  <a:pt x="714" y="123"/>
                  <a:pt x="711" y="127"/>
                  <a:pt x="709" y="127"/>
                </a:cubicBezTo>
                <a:cubicBezTo>
                  <a:pt x="708" y="127"/>
                  <a:pt x="707" y="128"/>
                  <a:pt x="707" y="127"/>
                </a:cubicBezTo>
                <a:cubicBezTo>
                  <a:pt x="707" y="126"/>
                  <a:pt x="708" y="126"/>
                  <a:pt x="708" y="126"/>
                </a:cubicBezTo>
                <a:cubicBezTo>
                  <a:pt x="709" y="125"/>
                  <a:pt x="709" y="124"/>
                  <a:pt x="708" y="124"/>
                </a:cubicBezTo>
                <a:cubicBezTo>
                  <a:pt x="707" y="123"/>
                  <a:pt x="707" y="124"/>
                  <a:pt x="706" y="124"/>
                </a:cubicBezTo>
                <a:cubicBezTo>
                  <a:pt x="705" y="124"/>
                  <a:pt x="703" y="127"/>
                  <a:pt x="703" y="128"/>
                </a:cubicBezTo>
                <a:cubicBezTo>
                  <a:pt x="702" y="128"/>
                  <a:pt x="703" y="129"/>
                  <a:pt x="704" y="129"/>
                </a:cubicBezTo>
                <a:cubicBezTo>
                  <a:pt x="704" y="129"/>
                  <a:pt x="704" y="131"/>
                  <a:pt x="704" y="131"/>
                </a:cubicBezTo>
                <a:cubicBezTo>
                  <a:pt x="701" y="132"/>
                  <a:pt x="703" y="132"/>
                  <a:pt x="700" y="132"/>
                </a:cubicBezTo>
                <a:cubicBezTo>
                  <a:pt x="698" y="132"/>
                  <a:pt x="695" y="134"/>
                  <a:pt x="694" y="135"/>
                </a:cubicBezTo>
                <a:cubicBezTo>
                  <a:pt x="694" y="134"/>
                  <a:pt x="695" y="134"/>
                  <a:pt x="694" y="133"/>
                </a:cubicBezTo>
                <a:cubicBezTo>
                  <a:pt x="694" y="130"/>
                  <a:pt x="694" y="130"/>
                  <a:pt x="694" y="130"/>
                </a:cubicBezTo>
                <a:cubicBezTo>
                  <a:pt x="693" y="129"/>
                  <a:pt x="693" y="129"/>
                  <a:pt x="693" y="127"/>
                </a:cubicBezTo>
                <a:cubicBezTo>
                  <a:pt x="694" y="126"/>
                  <a:pt x="694" y="126"/>
                  <a:pt x="694" y="126"/>
                </a:cubicBezTo>
                <a:cubicBezTo>
                  <a:pt x="695" y="126"/>
                  <a:pt x="696" y="125"/>
                  <a:pt x="696" y="124"/>
                </a:cubicBezTo>
                <a:cubicBezTo>
                  <a:pt x="698" y="124"/>
                  <a:pt x="698" y="124"/>
                  <a:pt x="698" y="124"/>
                </a:cubicBezTo>
                <a:cubicBezTo>
                  <a:pt x="698" y="124"/>
                  <a:pt x="698" y="125"/>
                  <a:pt x="698" y="125"/>
                </a:cubicBezTo>
                <a:cubicBezTo>
                  <a:pt x="699" y="125"/>
                  <a:pt x="700" y="124"/>
                  <a:pt x="700" y="124"/>
                </a:cubicBezTo>
                <a:cubicBezTo>
                  <a:pt x="701" y="123"/>
                  <a:pt x="701" y="122"/>
                  <a:pt x="701" y="121"/>
                </a:cubicBezTo>
                <a:cubicBezTo>
                  <a:pt x="702" y="119"/>
                  <a:pt x="704" y="120"/>
                  <a:pt x="702" y="118"/>
                </a:cubicBezTo>
                <a:cubicBezTo>
                  <a:pt x="701" y="117"/>
                  <a:pt x="699" y="115"/>
                  <a:pt x="699" y="114"/>
                </a:cubicBezTo>
                <a:cubicBezTo>
                  <a:pt x="699" y="114"/>
                  <a:pt x="694" y="114"/>
                  <a:pt x="696" y="115"/>
                </a:cubicBezTo>
                <a:cubicBezTo>
                  <a:pt x="696" y="115"/>
                  <a:pt x="695" y="116"/>
                  <a:pt x="693" y="117"/>
                </a:cubicBezTo>
                <a:cubicBezTo>
                  <a:pt x="691" y="118"/>
                  <a:pt x="692" y="118"/>
                  <a:pt x="692" y="118"/>
                </a:cubicBezTo>
                <a:cubicBezTo>
                  <a:pt x="692" y="117"/>
                  <a:pt x="692" y="117"/>
                  <a:pt x="692" y="117"/>
                </a:cubicBezTo>
                <a:cubicBezTo>
                  <a:pt x="692" y="117"/>
                  <a:pt x="692" y="118"/>
                  <a:pt x="692" y="118"/>
                </a:cubicBezTo>
                <a:cubicBezTo>
                  <a:pt x="692" y="118"/>
                  <a:pt x="692" y="118"/>
                  <a:pt x="691" y="118"/>
                </a:cubicBezTo>
                <a:cubicBezTo>
                  <a:pt x="690" y="119"/>
                  <a:pt x="691" y="119"/>
                  <a:pt x="690" y="120"/>
                </a:cubicBezTo>
                <a:cubicBezTo>
                  <a:pt x="690" y="121"/>
                  <a:pt x="689" y="120"/>
                  <a:pt x="688" y="120"/>
                </a:cubicBezTo>
                <a:cubicBezTo>
                  <a:pt x="688" y="121"/>
                  <a:pt x="688" y="121"/>
                  <a:pt x="688" y="122"/>
                </a:cubicBezTo>
                <a:cubicBezTo>
                  <a:pt x="688" y="123"/>
                  <a:pt x="686" y="122"/>
                  <a:pt x="686" y="122"/>
                </a:cubicBezTo>
                <a:cubicBezTo>
                  <a:pt x="685" y="122"/>
                  <a:pt x="683" y="124"/>
                  <a:pt x="683" y="124"/>
                </a:cubicBezTo>
                <a:cubicBezTo>
                  <a:pt x="682" y="124"/>
                  <a:pt x="681" y="123"/>
                  <a:pt x="681" y="122"/>
                </a:cubicBezTo>
                <a:cubicBezTo>
                  <a:pt x="682" y="121"/>
                  <a:pt x="683" y="120"/>
                  <a:pt x="685" y="119"/>
                </a:cubicBezTo>
                <a:cubicBezTo>
                  <a:pt x="686" y="119"/>
                  <a:pt x="685" y="119"/>
                  <a:pt x="685" y="118"/>
                </a:cubicBezTo>
                <a:cubicBezTo>
                  <a:pt x="686" y="116"/>
                  <a:pt x="684" y="116"/>
                  <a:pt x="683" y="114"/>
                </a:cubicBezTo>
                <a:cubicBezTo>
                  <a:pt x="685" y="115"/>
                  <a:pt x="687" y="115"/>
                  <a:pt x="689" y="114"/>
                </a:cubicBezTo>
                <a:cubicBezTo>
                  <a:pt x="689" y="114"/>
                  <a:pt x="691" y="113"/>
                  <a:pt x="691" y="113"/>
                </a:cubicBezTo>
                <a:cubicBezTo>
                  <a:pt x="691" y="112"/>
                  <a:pt x="691" y="112"/>
                  <a:pt x="690" y="112"/>
                </a:cubicBezTo>
                <a:cubicBezTo>
                  <a:pt x="689" y="112"/>
                  <a:pt x="689" y="112"/>
                  <a:pt x="689" y="112"/>
                </a:cubicBezTo>
                <a:cubicBezTo>
                  <a:pt x="688" y="112"/>
                  <a:pt x="688" y="112"/>
                  <a:pt x="687" y="112"/>
                </a:cubicBezTo>
                <a:cubicBezTo>
                  <a:pt x="687" y="112"/>
                  <a:pt x="687" y="111"/>
                  <a:pt x="687" y="111"/>
                </a:cubicBezTo>
                <a:cubicBezTo>
                  <a:pt x="686" y="110"/>
                  <a:pt x="685" y="111"/>
                  <a:pt x="684" y="111"/>
                </a:cubicBezTo>
                <a:cubicBezTo>
                  <a:pt x="683" y="112"/>
                  <a:pt x="683" y="111"/>
                  <a:pt x="683" y="111"/>
                </a:cubicBezTo>
                <a:cubicBezTo>
                  <a:pt x="682" y="111"/>
                  <a:pt x="682" y="112"/>
                  <a:pt x="681" y="113"/>
                </a:cubicBezTo>
                <a:cubicBezTo>
                  <a:pt x="680" y="113"/>
                  <a:pt x="680" y="112"/>
                  <a:pt x="680" y="111"/>
                </a:cubicBezTo>
                <a:cubicBezTo>
                  <a:pt x="678" y="111"/>
                  <a:pt x="678" y="111"/>
                  <a:pt x="676" y="111"/>
                </a:cubicBezTo>
                <a:cubicBezTo>
                  <a:pt x="676" y="111"/>
                  <a:pt x="676" y="111"/>
                  <a:pt x="676" y="110"/>
                </a:cubicBezTo>
                <a:cubicBezTo>
                  <a:pt x="677" y="110"/>
                  <a:pt x="677" y="110"/>
                  <a:pt x="678" y="110"/>
                </a:cubicBezTo>
                <a:cubicBezTo>
                  <a:pt x="678" y="110"/>
                  <a:pt x="679" y="110"/>
                  <a:pt x="680" y="109"/>
                </a:cubicBezTo>
                <a:cubicBezTo>
                  <a:pt x="681" y="109"/>
                  <a:pt x="681" y="109"/>
                  <a:pt x="681" y="109"/>
                </a:cubicBezTo>
                <a:cubicBezTo>
                  <a:pt x="682" y="109"/>
                  <a:pt x="683" y="108"/>
                  <a:pt x="683" y="108"/>
                </a:cubicBezTo>
                <a:cubicBezTo>
                  <a:pt x="684" y="108"/>
                  <a:pt x="685" y="108"/>
                  <a:pt x="685" y="107"/>
                </a:cubicBezTo>
                <a:cubicBezTo>
                  <a:pt x="685" y="107"/>
                  <a:pt x="683" y="107"/>
                  <a:pt x="683" y="107"/>
                </a:cubicBezTo>
                <a:cubicBezTo>
                  <a:pt x="682" y="107"/>
                  <a:pt x="682" y="108"/>
                  <a:pt x="680" y="107"/>
                </a:cubicBezTo>
                <a:cubicBezTo>
                  <a:pt x="684" y="106"/>
                  <a:pt x="682" y="106"/>
                  <a:pt x="684" y="105"/>
                </a:cubicBezTo>
                <a:cubicBezTo>
                  <a:pt x="684" y="105"/>
                  <a:pt x="685" y="106"/>
                  <a:pt x="686" y="107"/>
                </a:cubicBezTo>
                <a:cubicBezTo>
                  <a:pt x="688" y="107"/>
                  <a:pt x="688" y="107"/>
                  <a:pt x="688" y="107"/>
                </a:cubicBezTo>
                <a:cubicBezTo>
                  <a:pt x="688" y="107"/>
                  <a:pt x="689" y="105"/>
                  <a:pt x="689" y="105"/>
                </a:cubicBezTo>
                <a:cubicBezTo>
                  <a:pt x="689" y="104"/>
                  <a:pt x="686" y="104"/>
                  <a:pt x="688" y="102"/>
                </a:cubicBezTo>
                <a:cubicBezTo>
                  <a:pt x="689" y="102"/>
                  <a:pt x="686" y="100"/>
                  <a:pt x="685" y="100"/>
                </a:cubicBezTo>
                <a:cubicBezTo>
                  <a:pt x="687" y="98"/>
                  <a:pt x="687" y="98"/>
                  <a:pt x="689" y="96"/>
                </a:cubicBezTo>
                <a:cubicBezTo>
                  <a:pt x="688" y="94"/>
                  <a:pt x="688" y="95"/>
                  <a:pt x="687" y="94"/>
                </a:cubicBezTo>
                <a:cubicBezTo>
                  <a:pt x="688" y="92"/>
                  <a:pt x="688" y="92"/>
                  <a:pt x="688" y="92"/>
                </a:cubicBezTo>
                <a:cubicBezTo>
                  <a:pt x="685" y="91"/>
                  <a:pt x="686" y="92"/>
                  <a:pt x="685" y="92"/>
                </a:cubicBezTo>
                <a:cubicBezTo>
                  <a:pt x="685" y="92"/>
                  <a:pt x="683" y="92"/>
                  <a:pt x="683" y="92"/>
                </a:cubicBezTo>
                <a:cubicBezTo>
                  <a:pt x="683" y="92"/>
                  <a:pt x="681" y="94"/>
                  <a:pt x="682" y="92"/>
                </a:cubicBezTo>
                <a:cubicBezTo>
                  <a:pt x="681" y="92"/>
                  <a:pt x="680" y="91"/>
                  <a:pt x="680" y="91"/>
                </a:cubicBezTo>
                <a:cubicBezTo>
                  <a:pt x="680" y="91"/>
                  <a:pt x="681" y="92"/>
                  <a:pt x="683" y="91"/>
                </a:cubicBezTo>
                <a:cubicBezTo>
                  <a:pt x="686" y="90"/>
                  <a:pt x="683" y="90"/>
                  <a:pt x="687" y="90"/>
                </a:cubicBezTo>
                <a:cubicBezTo>
                  <a:pt x="688" y="89"/>
                  <a:pt x="688" y="89"/>
                  <a:pt x="688" y="89"/>
                </a:cubicBezTo>
                <a:cubicBezTo>
                  <a:pt x="688" y="89"/>
                  <a:pt x="690" y="88"/>
                  <a:pt x="691" y="88"/>
                </a:cubicBezTo>
                <a:cubicBezTo>
                  <a:pt x="692" y="88"/>
                  <a:pt x="694" y="86"/>
                  <a:pt x="696" y="85"/>
                </a:cubicBezTo>
                <a:cubicBezTo>
                  <a:pt x="696" y="84"/>
                  <a:pt x="696" y="84"/>
                  <a:pt x="696" y="84"/>
                </a:cubicBezTo>
                <a:cubicBezTo>
                  <a:pt x="693" y="83"/>
                  <a:pt x="693" y="83"/>
                  <a:pt x="693" y="83"/>
                </a:cubicBezTo>
                <a:cubicBezTo>
                  <a:pt x="696" y="83"/>
                  <a:pt x="696" y="83"/>
                  <a:pt x="696" y="83"/>
                </a:cubicBezTo>
                <a:cubicBezTo>
                  <a:pt x="701" y="82"/>
                  <a:pt x="700" y="83"/>
                  <a:pt x="703" y="84"/>
                </a:cubicBezTo>
                <a:cubicBezTo>
                  <a:pt x="704" y="84"/>
                  <a:pt x="708" y="83"/>
                  <a:pt x="710" y="83"/>
                </a:cubicBezTo>
                <a:cubicBezTo>
                  <a:pt x="719" y="78"/>
                  <a:pt x="719" y="78"/>
                  <a:pt x="719" y="78"/>
                </a:cubicBezTo>
                <a:cubicBezTo>
                  <a:pt x="724" y="76"/>
                  <a:pt x="724" y="76"/>
                  <a:pt x="724" y="76"/>
                </a:cubicBezTo>
                <a:cubicBezTo>
                  <a:pt x="725" y="76"/>
                  <a:pt x="726" y="76"/>
                  <a:pt x="726" y="76"/>
                </a:cubicBezTo>
                <a:cubicBezTo>
                  <a:pt x="728" y="74"/>
                  <a:pt x="728" y="74"/>
                  <a:pt x="728" y="74"/>
                </a:cubicBezTo>
                <a:cubicBezTo>
                  <a:pt x="730" y="73"/>
                  <a:pt x="730" y="73"/>
                  <a:pt x="730" y="73"/>
                </a:cubicBezTo>
                <a:cubicBezTo>
                  <a:pt x="726" y="73"/>
                  <a:pt x="726" y="73"/>
                  <a:pt x="726" y="73"/>
                </a:cubicBezTo>
                <a:cubicBezTo>
                  <a:pt x="719" y="73"/>
                  <a:pt x="719" y="73"/>
                  <a:pt x="719" y="73"/>
                </a:cubicBezTo>
                <a:cubicBezTo>
                  <a:pt x="718" y="73"/>
                  <a:pt x="717" y="73"/>
                  <a:pt x="717" y="72"/>
                </a:cubicBezTo>
                <a:cubicBezTo>
                  <a:pt x="715" y="70"/>
                  <a:pt x="713" y="72"/>
                  <a:pt x="710" y="72"/>
                </a:cubicBezTo>
                <a:cubicBezTo>
                  <a:pt x="706" y="71"/>
                  <a:pt x="706" y="71"/>
                  <a:pt x="706" y="71"/>
                </a:cubicBezTo>
                <a:cubicBezTo>
                  <a:pt x="706" y="71"/>
                  <a:pt x="698" y="72"/>
                  <a:pt x="697" y="72"/>
                </a:cubicBezTo>
                <a:cubicBezTo>
                  <a:pt x="697" y="73"/>
                  <a:pt x="697" y="73"/>
                  <a:pt x="697" y="73"/>
                </a:cubicBezTo>
                <a:cubicBezTo>
                  <a:pt x="697" y="74"/>
                  <a:pt x="697" y="74"/>
                  <a:pt x="698" y="75"/>
                </a:cubicBezTo>
                <a:cubicBezTo>
                  <a:pt x="697" y="75"/>
                  <a:pt x="697" y="75"/>
                  <a:pt x="696" y="75"/>
                </a:cubicBezTo>
                <a:cubicBezTo>
                  <a:pt x="695" y="74"/>
                  <a:pt x="695" y="74"/>
                  <a:pt x="695" y="74"/>
                </a:cubicBezTo>
                <a:cubicBezTo>
                  <a:pt x="692" y="74"/>
                  <a:pt x="692" y="74"/>
                  <a:pt x="692" y="74"/>
                </a:cubicBezTo>
                <a:cubicBezTo>
                  <a:pt x="690" y="78"/>
                  <a:pt x="690" y="78"/>
                  <a:pt x="690" y="78"/>
                </a:cubicBezTo>
                <a:cubicBezTo>
                  <a:pt x="683" y="83"/>
                  <a:pt x="683" y="83"/>
                  <a:pt x="683" y="83"/>
                </a:cubicBezTo>
                <a:cubicBezTo>
                  <a:pt x="683" y="84"/>
                  <a:pt x="684" y="85"/>
                  <a:pt x="684" y="86"/>
                </a:cubicBezTo>
                <a:cubicBezTo>
                  <a:pt x="683" y="86"/>
                  <a:pt x="683" y="86"/>
                  <a:pt x="683" y="86"/>
                </a:cubicBezTo>
                <a:cubicBezTo>
                  <a:pt x="682" y="87"/>
                  <a:pt x="682" y="89"/>
                  <a:pt x="681" y="89"/>
                </a:cubicBezTo>
                <a:cubicBezTo>
                  <a:pt x="680" y="90"/>
                  <a:pt x="679" y="90"/>
                  <a:pt x="678" y="91"/>
                </a:cubicBezTo>
                <a:cubicBezTo>
                  <a:pt x="678" y="91"/>
                  <a:pt x="678" y="92"/>
                  <a:pt x="678" y="92"/>
                </a:cubicBezTo>
                <a:cubicBezTo>
                  <a:pt x="677" y="93"/>
                  <a:pt x="675" y="92"/>
                  <a:pt x="674" y="92"/>
                </a:cubicBezTo>
                <a:cubicBezTo>
                  <a:pt x="674" y="93"/>
                  <a:pt x="673" y="93"/>
                  <a:pt x="673" y="93"/>
                </a:cubicBezTo>
                <a:cubicBezTo>
                  <a:pt x="672" y="93"/>
                  <a:pt x="671" y="93"/>
                  <a:pt x="670" y="93"/>
                </a:cubicBezTo>
                <a:cubicBezTo>
                  <a:pt x="670" y="93"/>
                  <a:pt x="670" y="94"/>
                  <a:pt x="670" y="94"/>
                </a:cubicBezTo>
                <a:cubicBezTo>
                  <a:pt x="670" y="95"/>
                  <a:pt x="673" y="94"/>
                  <a:pt x="672" y="95"/>
                </a:cubicBezTo>
                <a:cubicBezTo>
                  <a:pt x="671" y="97"/>
                  <a:pt x="669" y="95"/>
                  <a:pt x="667" y="95"/>
                </a:cubicBezTo>
                <a:cubicBezTo>
                  <a:pt x="666" y="95"/>
                  <a:pt x="663" y="97"/>
                  <a:pt x="662" y="98"/>
                </a:cubicBezTo>
                <a:cubicBezTo>
                  <a:pt x="661" y="98"/>
                  <a:pt x="660" y="99"/>
                  <a:pt x="659" y="99"/>
                </a:cubicBezTo>
                <a:cubicBezTo>
                  <a:pt x="659" y="99"/>
                  <a:pt x="659" y="101"/>
                  <a:pt x="659" y="101"/>
                </a:cubicBezTo>
                <a:cubicBezTo>
                  <a:pt x="659" y="102"/>
                  <a:pt x="661" y="102"/>
                  <a:pt x="661" y="102"/>
                </a:cubicBezTo>
                <a:cubicBezTo>
                  <a:pt x="662" y="103"/>
                  <a:pt x="662" y="103"/>
                  <a:pt x="662" y="103"/>
                </a:cubicBezTo>
                <a:cubicBezTo>
                  <a:pt x="661" y="103"/>
                  <a:pt x="660" y="103"/>
                  <a:pt x="659" y="103"/>
                </a:cubicBezTo>
                <a:cubicBezTo>
                  <a:pt x="657" y="104"/>
                  <a:pt x="655" y="105"/>
                  <a:pt x="653" y="106"/>
                </a:cubicBezTo>
                <a:cubicBezTo>
                  <a:pt x="653" y="108"/>
                  <a:pt x="653" y="108"/>
                  <a:pt x="654" y="109"/>
                </a:cubicBezTo>
                <a:cubicBezTo>
                  <a:pt x="657" y="110"/>
                  <a:pt x="656" y="110"/>
                  <a:pt x="658" y="112"/>
                </a:cubicBezTo>
                <a:cubicBezTo>
                  <a:pt x="659" y="112"/>
                  <a:pt x="660" y="112"/>
                  <a:pt x="660" y="112"/>
                </a:cubicBezTo>
                <a:cubicBezTo>
                  <a:pt x="662" y="111"/>
                  <a:pt x="662" y="111"/>
                  <a:pt x="662" y="111"/>
                </a:cubicBezTo>
                <a:cubicBezTo>
                  <a:pt x="663" y="112"/>
                  <a:pt x="663" y="112"/>
                  <a:pt x="663" y="112"/>
                </a:cubicBezTo>
                <a:cubicBezTo>
                  <a:pt x="663" y="113"/>
                  <a:pt x="663" y="113"/>
                  <a:pt x="663" y="113"/>
                </a:cubicBezTo>
                <a:cubicBezTo>
                  <a:pt x="664" y="113"/>
                  <a:pt x="667" y="113"/>
                  <a:pt x="668" y="112"/>
                </a:cubicBezTo>
                <a:cubicBezTo>
                  <a:pt x="668" y="114"/>
                  <a:pt x="667" y="114"/>
                  <a:pt x="666" y="114"/>
                </a:cubicBezTo>
                <a:cubicBezTo>
                  <a:pt x="664" y="115"/>
                  <a:pt x="664" y="115"/>
                  <a:pt x="664" y="115"/>
                </a:cubicBezTo>
                <a:cubicBezTo>
                  <a:pt x="663" y="114"/>
                  <a:pt x="663" y="114"/>
                  <a:pt x="663" y="114"/>
                </a:cubicBezTo>
                <a:cubicBezTo>
                  <a:pt x="662" y="114"/>
                  <a:pt x="662" y="114"/>
                  <a:pt x="662" y="114"/>
                </a:cubicBezTo>
                <a:cubicBezTo>
                  <a:pt x="660" y="115"/>
                  <a:pt x="660" y="115"/>
                  <a:pt x="660" y="115"/>
                </a:cubicBezTo>
                <a:cubicBezTo>
                  <a:pt x="660" y="117"/>
                  <a:pt x="660" y="117"/>
                  <a:pt x="660" y="117"/>
                </a:cubicBezTo>
                <a:cubicBezTo>
                  <a:pt x="659" y="117"/>
                  <a:pt x="656" y="118"/>
                  <a:pt x="655" y="120"/>
                </a:cubicBezTo>
                <a:cubicBezTo>
                  <a:pt x="655" y="120"/>
                  <a:pt x="655" y="120"/>
                  <a:pt x="656" y="120"/>
                </a:cubicBezTo>
                <a:cubicBezTo>
                  <a:pt x="656" y="120"/>
                  <a:pt x="657" y="120"/>
                  <a:pt x="658" y="120"/>
                </a:cubicBezTo>
                <a:cubicBezTo>
                  <a:pt x="659" y="120"/>
                  <a:pt x="662" y="118"/>
                  <a:pt x="663" y="117"/>
                </a:cubicBezTo>
                <a:cubicBezTo>
                  <a:pt x="663" y="118"/>
                  <a:pt x="663" y="118"/>
                  <a:pt x="663" y="118"/>
                </a:cubicBezTo>
                <a:cubicBezTo>
                  <a:pt x="663" y="118"/>
                  <a:pt x="662" y="119"/>
                  <a:pt x="661" y="119"/>
                </a:cubicBezTo>
                <a:cubicBezTo>
                  <a:pt x="661" y="119"/>
                  <a:pt x="661" y="121"/>
                  <a:pt x="660" y="121"/>
                </a:cubicBezTo>
                <a:cubicBezTo>
                  <a:pt x="660" y="121"/>
                  <a:pt x="659" y="122"/>
                  <a:pt x="658" y="122"/>
                </a:cubicBezTo>
                <a:cubicBezTo>
                  <a:pt x="658" y="122"/>
                  <a:pt x="656" y="122"/>
                  <a:pt x="656" y="122"/>
                </a:cubicBezTo>
                <a:cubicBezTo>
                  <a:pt x="656" y="122"/>
                  <a:pt x="654" y="123"/>
                  <a:pt x="654" y="123"/>
                </a:cubicBezTo>
                <a:cubicBezTo>
                  <a:pt x="649" y="125"/>
                  <a:pt x="649" y="125"/>
                  <a:pt x="649" y="125"/>
                </a:cubicBezTo>
                <a:cubicBezTo>
                  <a:pt x="648" y="126"/>
                  <a:pt x="644" y="125"/>
                  <a:pt x="643" y="125"/>
                </a:cubicBezTo>
                <a:cubicBezTo>
                  <a:pt x="643" y="126"/>
                  <a:pt x="642" y="127"/>
                  <a:pt x="640" y="128"/>
                </a:cubicBezTo>
                <a:cubicBezTo>
                  <a:pt x="639" y="128"/>
                  <a:pt x="639" y="129"/>
                  <a:pt x="639" y="130"/>
                </a:cubicBezTo>
                <a:cubicBezTo>
                  <a:pt x="639" y="130"/>
                  <a:pt x="638" y="133"/>
                  <a:pt x="638" y="133"/>
                </a:cubicBezTo>
                <a:cubicBezTo>
                  <a:pt x="638" y="133"/>
                  <a:pt x="636" y="134"/>
                  <a:pt x="636" y="134"/>
                </a:cubicBezTo>
                <a:cubicBezTo>
                  <a:pt x="635" y="133"/>
                  <a:pt x="635" y="133"/>
                  <a:pt x="635" y="133"/>
                </a:cubicBezTo>
                <a:cubicBezTo>
                  <a:pt x="632" y="131"/>
                  <a:pt x="632" y="134"/>
                  <a:pt x="630" y="133"/>
                </a:cubicBezTo>
                <a:cubicBezTo>
                  <a:pt x="633" y="131"/>
                  <a:pt x="633" y="131"/>
                  <a:pt x="633" y="131"/>
                </a:cubicBezTo>
                <a:cubicBezTo>
                  <a:pt x="631" y="131"/>
                  <a:pt x="631" y="131"/>
                  <a:pt x="632" y="130"/>
                </a:cubicBezTo>
                <a:cubicBezTo>
                  <a:pt x="633" y="129"/>
                  <a:pt x="633" y="130"/>
                  <a:pt x="635" y="128"/>
                </a:cubicBezTo>
                <a:cubicBezTo>
                  <a:pt x="635" y="126"/>
                  <a:pt x="637" y="127"/>
                  <a:pt x="638" y="126"/>
                </a:cubicBezTo>
                <a:cubicBezTo>
                  <a:pt x="639" y="126"/>
                  <a:pt x="641" y="124"/>
                  <a:pt x="642" y="124"/>
                </a:cubicBezTo>
                <a:cubicBezTo>
                  <a:pt x="642" y="123"/>
                  <a:pt x="640" y="124"/>
                  <a:pt x="640" y="124"/>
                </a:cubicBezTo>
                <a:cubicBezTo>
                  <a:pt x="639" y="125"/>
                  <a:pt x="636" y="125"/>
                  <a:pt x="638" y="124"/>
                </a:cubicBezTo>
                <a:cubicBezTo>
                  <a:pt x="637" y="124"/>
                  <a:pt x="636" y="124"/>
                  <a:pt x="634" y="124"/>
                </a:cubicBezTo>
                <a:cubicBezTo>
                  <a:pt x="634" y="122"/>
                  <a:pt x="634" y="122"/>
                  <a:pt x="634" y="122"/>
                </a:cubicBezTo>
                <a:cubicBezTo>
                  <a:pt x="634" y="122"/>
                  <a:pt x="631" y="122"/>
                  <a:pt x="631" y="122"/>
                </a:cubicBezTo>
                <a:cubicBezTo>
                  <a:pt x="630" y="122"/>
                  <a:pt x="628" y="123"/>
                  <a:pt x="627" y="123"/>
                </a:cubicBezTo>
                <a:cubicBezTo>
                  <a:pt x="626" y="123"/>
                  <a:pt x="625" y="123"/>
                  <a:pt x="625" y="123"/>
                </a:cubicBezTo>
                <a:cubicBezTo>
                  <a:pt x="623" y="123"/>
                  <a:pt x="623" y="122"/>
                  <a:pt x="623" y="125"/>
                </a:cubicBezTo>
                <a:cubicBezTo>
                  <a:pt x="623" y="125"/>
                  <a:pt x="622" y="125"/>
                  <a:pt x="622" y="125"/>
                </a:cubicBezTo>
                <a:cubicBezTo>
                  <a:pt x="622" y="125"/>
                  <a:pt x="622" y="127"/>
                  <a:pt x="623" y="127"/>
                </a:cubicBezTo>
                <a:cubicBezTo>
                  <a:pt x="624" y="127"/>
                  <a:pt x="625" y="126"/>
                  <a:pt x="626" y="126"/>
                </a:cubicBezTo>
                <a:cubicBezTo>
                  <a:pt x="628" y="126"/>
                  <a:pt x="628" y="127"/>
                  <a:pt x="628" y="129"/>
                </a:cubicBezTo>
                <a:cubicBezTo>
                  <a:pt x="626" y="129"/>
                  <a:pt x="626" y="129"/>
                  <a:pt x="626" y="129"/>
                </a:cubicBezTo>
                <a:cubicBezTo>
                  <a:pt x="626" y="129"/>
                  <a:pt x="623" y="129"/>
                  <a:pt x="623" y="129"/>
                </a:cubicBezTo>
                <a:cubicBezTo>
                  <a:pt x="622" y="128"/>
                  <a:pt x="622" y="127"/>
                  <a:pt x="621" y="126"/>
                </a:cubicBezTo>
                <a:cubicBezTo>
                  <a:pt x="621" y="126"/>
                  <a:pt x="620" y="125"/>
                  <a:pt x="620" y="125"/>
                </a:cubicBezTo>
                <a:cubicBezTo>
                  <a:pt x="620" y="125"/>
                  <a:pt x="619" y="127"/>
                  <a:pt x="619" y="127"/>
                </a:cubicBezTo>
                <a:cubicBezTo>
                  <a:pt x="619" y="128"/>
                  <a:pt x="619" y="128"/>
                  <a:pt x="619" y="128"/>
                </a:cubicBezTo>
                <a:cubicBezTo>
                  <a:pt x="618" y="128"/>
                  <a:pt x="618" y="128"/>
                  <a:pt x="618" y="128"/>
                </a:cubicBezTo>
                <a:cubicBezTo>
                  <a:pt x="614" y="129"/>
                  <a:pt x="607" y="128"/>
                  <a:pt x="604" y="128"/>
                </a:cubicBezTo>
                <a:cubicBezTo>
                  <a:pt x="604" y="128"/>
                  <a:pt x="601" y="129"/>
                  <a:pt x="600" y="129"/>
                </a:cubicBezTo>
                <a:cubicBezTo>
                  <a:pt x="600" y="129"/>
                  <a:pt x="597" y="129"/>
                  <a:pt x="597" y="128"/>
                </a:cubicBezTo>
                <a:cubicBezTo>
                  <a:pt x="596" y="128"/>
                  <a:pt x="594" y="128"/>
                  <a:pt x="593" y="128"/>
                </a:cubicBezTo>
                <a:cubicBezTo>
                  <a:pt x="593" y="128"/>
                  <a:pt x="589" y="128"/>
                  <a:pt x="589" y="128"/>
                </a:cubicBezTo>
                <a:cubicBezTo>
                  <a:pt x="587" y="127"/>
                  <a:pt x="587" y="127"/>
                  <a:pt x="587" y="127"/>
                </a:cubicBezTo>
                <a:cubicBezTo>
                  <a:pt x="587" y="126"/>
                  <a:pt x="587" y="125"/>
                  <a:pt x="586" y="125"/>
                </a:cubicBezTo>
                <a:cubicBezTo>
                  <a:pt x="584" y="126"/>
                  <a:pt x="584" y="126"/>
                  <a:pt x="584" y="126"/>
                </a:cubicBezTo>
                <a:cubicBezTo>
                  <a:pt x="578" y="126"/>
                  <a:pt x="578" y="126"/>
                  <a:pt x="578" y="126"/>
                </a:cubicBezTo>
                <a:cubicBezTo>
                  <a:pt x="577" y="125"/>
                  <a:pt x="577" y="125"/>
                  <a:pt x="576" y="124"/>
                </a:cubicBezTo>
                <a:cubicBezTo>
                  <a:pt x="576" y="123"/>
                  <a:pt x="576" y="123"/>
                  <a:pt x="575" y="123"/>
                </a:cubicBezTo>
                <a:cubicBezTo>
                  <a:pt x="573" y="122"/>
                  <a:pt x="573" y="122"/>
                  <a:pt x="573" y="122"/>
                </a:cubicBezTo>
                <a:cubicBezTo>
                  <a:pt x="573" y="122"/>
                  <a:pt x="571" y="123"/>
                  <a:pt x="570" y="123"/>
                </a:cubicBezTo>
                <a:cubicBezTo>
                  <a:pt x="565" y="123"/>
                  <a:pt x="567" y="123"/>
                  <a:pt x="564" y="125"/>
                </a:cubicBezTo>
                <a:cubicBezTo>
                  <a:pt x="562" y="125"/>
                  <a:pt x="557" y="126"/>
                  <a:pt x="554" y="126"/>
                </a:cubicBezTo>
                <a:cubicBezTo>
                  <a:pt x="554" y="125"/>
                  <a:pt x="555" y="125"/>
                  <a:pt x="556" y="124"/>
                </a:cubicBezTo>
                <a:cubicBezTo>
                  <a:pt x="558" y="123"/>
                  <a:pt x="558" y="123"/>
                  <a:pt x="558" y="123"/>
                </a:cubicBezTo>
                <a:cubicBezTo>
                  <a:pt x="560" y="124"/>
                  <a:pt x="560" y="124"/>
                  <a:pt x="560" y="124"/>
                </a:cubicBezTo>
                <a:cubicBezTo>
                  <a:pt x="561" y="124"/>
                  <a:pt x="564" y="123"/>
                  <a:pt x="565" y="123"/>
                </a:cubicBezTo>
                <a:cubicBezTo>
                  <a:pt x="565" y="123"/>
                  <a:pt x="566" y="123"/>
                  <a:pt x="566" y="123"/>
                </a:cubicBezTo>
                <a:cubicBezTo>
                  <a:pt x="567" y="123"/>
                  <a:pt x="569" y="121"/>
                  <a:pt x="574" y="120"/>
                </a:cubicBezTo>
                <a:cubicBezTo>
                  <a:pt x="573" y="121"/>
                  <a:pt x="573" y="121"/>
                  <a:pt x="574" y="122"/>
                </a:cubicBezTo>
                <a:cubicBezTo>
                  <a:pt x="575" y="122"/>
                  <a:pt x="577" y="121"/>
                  <a:pt x="577" y="120"/>
                </a:cubicBezTo>
                <a:cubicBezTo>
                  <a:pt x="577" y="120"/>
                  <a:pt x="577" y="118"/>
                  <a:pt x="577" y="118"/>
                </a:cubicBezTo>
                <a:cubicBezTo>
                  <a:pt x="574" y="117"/>
                  <a:pt x="574" y="117"/>
                  <a:pt x="574" y="117"/>
                </a:cubicBezTo>
                <a:cubicBezTo>
                  <a:pt x="570" y="119"/>
                  <a:pt x="570" y="119"/>
                  <a:pt x="570" y="119"/>
                </a:cubicBezTo>
                <a:cubicBezTo>
                  <a:pt x="569" y="119"/>
                  <a:pt x="564" y="120"/>
                  <a:pt x="563" y="120"/>
                </a:cubicBezTo>
                <a:cubicBezTo>
                  <a:pt x="555" y="120"/>
                  <a:pt x="555" y="120"/>
                  <a:pt x="555" y="120"/>
                </a:cubicBezTo>
                <a:cubicBezTo>
                  <a:pt x="555" y="121"/>
                  <a:pt x="549" y="123"/>
                  <a:pt x="549" y="123"/>
                </a:cubicBezTo>
                <a:cubicBezTo>
                  <a:pt x="549" y="123"/>
                  <a:pt x="551" y="125"/>
                  <a:pt x="551" y="125"/>
                </a:cubicBezTo>
                <a:cubicBezTo>
                  <a:pt x="553" y="125"/>
                  <a:pt x="553" y="125"/>
                  <a:pt x="553" y="125"/>
                </a:cubicBezTo>
                <a:cubicBezTo>
                  <a:pt x="554" y="128"/>
                  <a:pt x="555" y="127"/>
                  <a:pt x="553" y="128"/>
                </a:cubicBezTo>
                <a:cubicBezTo>
                  <a:pt x="551" y="128"/>
                  <a:pt x="551" y="128"/>
                  <a:pt x="551" y="128"/>
                </a:cubicBezTo>
                <a:cubicBezTo>
                  <a:pt x="550" y="129"/>
                  <a:pt x="550" y="129"/>
                  <a:pt x="550" y="129"/>
                </a:cubicBezTo>
                <a:cubicBezTo>
                  <a:pt x="551" y="131"/>
                  <a:pt x="551" y="131"/>
                  <a:pt x="551" y="131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7" y="133"/>
                  <a:pt x="550" y="133"/>
                  <a:pt x="550" y="135"/>
                </a:cubicBezTo>
                <a:cubicBezTo>
                  <a:pt x="550" y="136"/>
                  <a:pt x="549" y="135"/>
                  <a:pt x="548" y="135"/>
                </a:cubicBezTo>
                <a:cubicBezTo>
                  <a:pt x="547" y="137"/>
                  <a:pt x="547" y="137"/>
                  <a:pt x="547" y="137"/>
                </a:cubicBezTo>
                <a:cubicBezTo>
                  <a:pt x="547" y="137"/>
                  <a:pt x="546" y="137"/>
                  <a:pt x="546" y="136"/>
                </a:cubicBezTo>
                <a:cubicBezTo>
                  <a:pt x="545" y="135"/>
                  <a:pt x="544" y="138"/>
                  <a:pt x="543" y="138"/>
                </a:cubicBezTo>
                <a:cubicBezTo>
                  <a:pt x="543" y="138"/>
                  <a:pt x="542" y="139"/>
                  <a:pt x="542" y="140"/>
                </a:cubicBezTo>
                <a:cubicBezTo>
                  <a:pt x="542" y="140"/>
                  <a:pt x="541" y="138"/>
                  <a:pt x="541" y="138"/>
                </a:cubicBezTo>
                <a:cubicBezTo>
                  <a:pt x="541" y="136"/>
                  <a:pt x="541" y="136"/>
                  <a:pt x="541" y="136"/>
                </a:cubicBezTo>
                <a:cubicBezTo>
                  <a:pt x="539" y="135"/>
                  <a:pt x="539" y="135"/>
                  <a:pt x="539" y="135"/>
                </a:cubicBezTo>
                <a:cubicBezTo>
                  <a:pt x="541" y="134"/>
                  <a:pt x="541" y="134"/>
                  <a:pt x="542" y="136"/>
                </a:cubicBezTo>
                <a:cubicBezTo>
                  <a:pt x="544" y="135"/>
                  <a:pt x="544" y="135"/>
                  <a:pt x="546" y="133"/>
                </a:cubicBezTo>
                <a:cubicBezTo>
                  <a:pt x="546" y="133"/>
                  <a:pt x="545" y="133"/>
                  <a:pt x="545" y="132"/>
                </a:cubicBezTo>
                <a:cubicBezTo>
                  <a:pt x="543" y="132"/>
                  <a:pt x="543" y="132"/>
                  <a:pt x="543" y="132"/>
                </a:cubicBezTo>
                <a:cubicBezTo>
                  <a:pt x="543" y="132"/>
                  <a:pt x="544" y="131"/>
                  <a:pt x="544" y="130"/>
                </a:cubicBezTo>
                <a:cubicBezTo>
                  <a:pt x="543" y="131"/>
                  <a:pt x="543" y="131"/>
                  <a:pt x="543" y="131"/>
                </a:cubicBezTo>
                <a:cubicBezTo>
                  <a:pt x="542" y="132"/>
                  <a:pt x="542" y="132"/>
                  <a:pt x="542" y="132"/>
                </a:cubicBezTo>
                <a:cubicBezTo>
                  <a:pt x="541" y="132"/>
                  <a:pt x="541" y="132"/>
                  <a:pt x="541" y="132"/>
                </a:cubicBezTo>
                <a:cubicBezTo>
                  <a:pt x="540" y="131"/>
                  <a:pt x="540" y="131"/>
                  <a:pt x="540" y="131"/>
                </a:cubicBezTo>
                <a:cubicBezTo>
                  <a:pt x="543" y="129"/>
                  <a:pt x="543" y="129"/>
                  <a:pt x="538" y="129"/>
                </a:cubicBezTo>
                <a:cubicBezTo>
                  <a:pt x="537" y="126"/>
                  <a:pt x="537" y="126"/>
                  <a:pt x="537" y="126"/>
                </a:cubicBezTo>
                <a:cubicBezTo>
                  <a:pt x="536" y="127"/>
                  <a:pt x="532" y="127"/>
                  <a:pt x="531" y="127"/>
                </a:cubicBezTo>
                <a:cubicBezTo>
                  <a:pt x="531" y="127"/>
                  <a:pt x="529" y="128"/>
                  <a:pt x="529" y="128"/>
                </a:cubicBezTo>
                <a:cubicBezTo>
                  <a:pt x="520" y="129"/>
                  <a:pt x="520" y="129"/>
                  <a:pt x="520" y="129"/>
                </a:cubicBezTo>
                <a:cubicBezTo>
                  <a:pt x="520" y="129"/>
                  <a:pt x="517" y="129"/>
                  <a:pt x="517" y="129"/>
                </a:cubicBezTo>
                <a:cubicBezTo>
                  <a:pt x="516" y="129"/>
                  <a:pt x="510" y="129"/>
                  <a:pt x="510" y="129"/>
                </a:cubicBezTo>
                <a:cubicBezTo>
                  <a:pt x="510" y="129"/>
                  <a:pt x="504" y="129"/>
                  <a:pt x="503" y="129"/>
                </a:cubicBezTo>
                <a:cubicBezTo>
                  <a:pt x="501" y="129"/>
                  <a:pt x="501" y="129"/>
                  <a:pt x="499" y="128"/>
                </a:cubicBezTo>
                <a:cubicBezTo>
                  <a:pt x="499" y="127"/>
                  <a:pt x="500" y="126"/>
                  <a:pt x="501" y="126"/>
                </a:cubicBezTo>
                <a:cubicBezTo>
                  <a:pt x="501" y="125"/>
                  <a:pt x="503" y="125"/>
                  <a:pt x="503" y="125"/>
                </a:cubicBezTo>
                <a:cubicBezTo>
                  <a:pt x="503" y="125"/>
                  <a:pt x="506" y="124"/>
                  <a:pt x="506" y="124"/>
                </a:cubicBezTo>
                <a:cubicBezTo>
                  <a:pt x="507" y="124"/>
                  <a:pt x="508" y="124"/>
                  <a:pt x="508" y="124"/>
                </a:cubicBezTo>
                <a:cubicBezTo>
                  <a:pt x="510" y="124"/>
                  <a:pt x="513" y="122"/>
                  <a:pt x="513" y="121"/>
                </a:cubicBezTo>
                <a:cubicBezTo>
                  <a:pt x="513" y="121"/>
                  <a:pt x="511" y="119"/>
                  <a:pt x="511" y="119"/>
                </a:cubicBezTo>
                <a:cubicBezTo>
                  <a:pt x="511" y="119"/>
                  <a:pt x="508" y="117"/>
                  <a:pt x="508" y="117"/>
                </a:cubicBezTo>
                <a:cubicBezTo>
                  <a:pt x="508" y="117"/>
                  <a:pt x="506" y="117"/>
                  <a:pt x="506" y="117"/>
                </a:cubicBezTo>
                <a:cubicBezTo>
                  <a:pt x="503" y="117"/>
                  <a:pt x="503" y="117"/>
                  <a:pt x="502" y="118"/>
                </a:cubicBezTo>
                <a:cubicBezTo>
                  <a:pt x="499" y="118"/>
                  <a:pt x="499" y="118"/>
                  <a:pt x="499" y="118"/>
                </a:cubicBezTo>
                <a:cubicBezTo>
                  <a:pt x="495" y="118"/>
                  <a:pt x="495" y="118"/>
                  <a:pt x="495" y="118"/>
                </a:cubicBezTo>
                <a:cubicBezTo>
                  <a:pt x="492" y="118"/>
                  <a:pt x="491" y="118"/>
                  <a:pt x="488" y="116"/>
                </a:cubicBezTo>
                <a:cubicBezTo>
                  <a:pt x="486" y="114"/>
                  <a:pt x="487" y="114"/>
                  <a:pt x="485" y="114"/>
                </a:cubicBezTo>
                <a:cubicBezTo>
                  <a:pt x="483" y="114"/>
                  <a:pt x="482" y="114"/>
                  <a:pt x="480" y="113"/>
                </a:cubicBezTo>
                <a:cubicBezTo>
                  <a:pt x="478" y="112"/>
                  <a:pt x="475" y="110"/>
                  <a:pt x="475" y="110"/>
                </a:cubicBezTo>
                <a:cubicBezTo>
                  <a:pt x="475" y="110"/>
                  <a:pt x="466" y="110"/>
                  <a:pt x="463" y="110"/>
                </a:cubicBezTo>
                <a:cubicBezTo>
                  <a:pt x="463" y="110"/>
                  <a:pt x="461" y="112"/>
                  <a:pt x="460" y="112"/>
                </a:cubicBezTo>
                <a:cubicBezTo>
                  <a:pt x="458" y="113"/>
                  <a:pt x="458" y="113"/>
                  <a:pt x="458" y="113"/>
                </a:cubicBezTo>
                <a:cubicBezTo>
                  <a:pt x="457" y="113"/>
                  <a:pt x="449" y="115"/>
                  <a:pt x="450" y="113"/>
                </a:cubicBezTo>
                <a:cubicBezTo>
                  <a:pt x="451" y="113"/>
                  <a:pt x="452" y="112"/>
                  <a:pt x="453" y="111"/>
                </a:cubicBezTo>
                <a:cubicBezTo>
                  <a:pt x="455" y="109"/>
                  <a:pt x="455" y="109"/>
                  <a:pt x="458" y="107"/>
                </a:cubicBezTo>
                <a:cubicBezTo>
                  <a:pt x="457" y="106"/>
                  <a:pt x="457" y="106"/>
                  <a:pt x="457" y="106"/>
                </a:cubicBezTo>
                <a:cubicBezTo>
                  <a:pt x="454" y="108"/>
                  <a:pt x="455" y="107"/>
                  <a:pt x="452" y="107"/>
                </a:cubicBezTo>
                <a:cubicBezTo>
                  <a:pt x="450" y="110"/>
                  <a:pt x="450" y="110"/>
                  <a:pt x="450" y="110"/>
                </a:cubicBezTo>
                <a:cubicBezTo>
                  <a:pt x="448" y="110"/>
                  <a:pt x="448" y="110"/>
                  <a:pt x="448" y="110"/>
                </a:cubicBezTo>
                <a:cubicBezTo>
                  <a:pt x="447" y="111"/>
                  <a:pt x="447" y="111"/>
                  <a:pt x="447" y="111"/>
                </a:cubicBezTo>
                <a:cubicBezTo>
                  <a:pt x="446" y="111"/>
                  <a:pt x="446" y="111"/>
                  <a:pt x="446" y="111"/>
                </a:cubicBezTo>
                <a:cubicBezTo>
                  <a:pt x="445" y="113"/>
                  <a:pt x="445" y="112"/>
                  <a:pt x="443" y="112"/>
                </a:cubicBezTo>
                <a:cubicBezTo>
                  <a:pt x="440" y="114"/>
                  <a:pt x="440" y="114"/>
                  <a:pt x="440" y="114"/>
                </a:cubicBezTo>
                <a:cubicBezTo>
                  <a:pt x="438" y="112"/>
                  <a:pt x="438" y="112"/>
                  <a:pt x="438" y="112"/>
                </a:cubicBezTo>
                <a:cubicBezTo>
                  <a:pt x="437" y="110"/>
                  <a:pt x="437" y="110"/>
                  <a:pt x="437" y="110"/>
                </a:cubicBezTo>
                <a:cubicBezTo>
                  <a:pt x="438" y="109"/>
                  <a:pt x="440" y="106"/>
                  <a:pt x="440" y="105"/>
                </a:cubicBezTo>
                <a:cubicBezTo>
                  <a:pt x="439" y="104"/>
                  <a:pt x="439" y="104"/>
                  <a:pt x="437" y="103"/>
                </a:cubicBezTo>
                <a:cubicBezTo>
                  <a:pt x="435" y="104"/>
                  <a:pt x="434" y="104"/>
                  <a:pt x="434" y="106"/>
                </a:cubicBezTo>
                <a:cubicBezTo>
                  <a:pt x="433" y="106"/>
                  <a:pt x="431" y="106"/>
                  <a:pt x="430" y="107"/>
                </a:cubicBezTo>
                <a:cubicBezTo>
                  <a:pt x="429" y="108"/>
                  <a:pt x="429" y="108"/>
                  <a:pt x="429" y="108"/>
                </a:cubicBezTo>
                <a:cubicBezTo>
                  <a:pt x="427" y="109"/>
                  <a:pt x="424" y="109"/>
                  <a:pt x="422" y="109"/>
                </a:cubicBezTo>
                <a:cubicBezTo>
                  <a:pt x="422" y="109"/>
                  <a:pt x="420" y="111"/>
                  <a:pt x="420" y="111"/>
                </a:cubicBezTo>
                <a:cubicBezTo>
                  <a:pt x="415" y="110"/>
                  <a:pt x="415" y="110"/>
                  <a:pt x="415" y="110"/>
                </a:cubicBezTo>
                <a:cubicBezTo>
                  <a:pt x="415" y="110"/>
                  <a:pt x="409" y="112"/>
                  <a:pt x="408" y="112"/>
                </a:cubicBezTo>
                <a:cubicBezTo>
                  <a:pt x="407" y="112"/>
                  <a:pt x="405" y="113"/>
                  <a:pt x="405" y="113"/>
                </a:cubicBezTo>
                <a:cubicBezTo>
                  <a:pt x="405" y="113"/>
                  <a:pt x="403" y="114"/>
                  <a:pt x="402" y="114"/>
                </a:cubicBezTo>
                <a:cubicBezTo>
                  <a:pt x="402" y="114"/>
                  <a:pt x="401" y="115"/>
                  <a:pt x="401" y="115"/>
                </a:cubicBezTo>
                <a:cubicBezTo>
                  <a:pt x="401" y="115"/>
                  <a:pt x="401" y="115"/>
                  <a:pt x="401" y="114"/>
                </a:cubicBezTo>
                <a:cubicBezTo>
                  <a:pt x="400" y="112"/>
                  <a:pt x="400" y="112"/>
                  <a:pt x="400" y="112"/>
                </a:cubicBezTo>
                <a:cubicBezTo>
                  <a:pt x="398" y="112"/>
                  <a:pt x="398" y="112"/>
                  <a:pt x="398" y="112"/>
                </a:cubicBezTo>
                <a:cubicBezTo>
                  <a:pt x="397" y="112"/>
                  <a:pt x="394" y="114"/>
                  <a:pt x="394" y="115"/>
                </a:cubicBezTo>
                <a:cubicBezTo>
                  <a:pt x="393" y="115"/>
                  <a:pt x="387" y="116"/>
                  <a:pt x="386" y="116"/>
                </a:cubicBezTo>
                <a:cubicBezTo>
                  <a:pt x="385" y="118"/>
                  <a:pt x="385" y="118"/>
                  <a:pt x="385" y="118"/>
                </a:cubicBezTo>
                <a:cubicBezTo>
                  <a:pt x="381" y="118"/>
                  <a:pt x="383" y="117"/>
                  <a:pt x="380" y="119"/>
                </a:cubicBezTo>
                <a:cubicBezTo>
                  <a:pt x="379" y="119"/>
                  <a:pt x="379" y="119"/>
                  <a:pt x="379" y="119"/>
                </a:cubicBezTo>
                <a:cubicBezTo>
                  <a:pt x="380" y="118"/>
                  <a:pt x="380" y="118"/>
                  <a:pt x="380" y="118"/>
                </a:cubicBezTo>
                <a:cubicBezTo>
                  <a:pt x="381" y="117"/>
                  <a:pt x="384" y="116"/>
                  <a:pt x="386" y="116"/>
                </a:cubicBezTo>
                <a:cubicBezTo>
                  <a:pt x="387" y="115"/>
                  <a:pt x="387" y="115"/>
                  <a:pt x="387" y="115"/>
                </a:cubicBezTo>
                <a:cubicBezTo>
                  <a:pt x="389" y="114"/>
                  <a:pt x="389" y="114"/>
                  <a:pt x="391" y="114"/>
                </a:cubicBezTo>
                <a:cubicBezTo>
                  <a:pt x="395" y="113"/>
                  <a:pt x="393" y="113"/>
                  <a:pt x="396" y="112"/>
                </a:cubicBezTo>
                <a:cubicBezTo>
                  <a:pt x="398" y="111"/>
                  <a:pt x="399" y="112"/>
                  <a:pt x="402" y="111"/>
                </a:cubicBezTo>
                <a:cubicBezTo>
                  <a:pt x="407" y="111"/>
                  <a:pt x="406" y="111"/>
                  <a:pt x="409" y="110"/>
                </a:cubicBezTo>
                <a:cubicBezTo>
                  <a:pt x="411" y="109"/>
                  <a:pt x="411" y="109"/>
                  <a:pt x="411" y="109"/>
                </a:cubicBezTo>
                <a:cubicBezTo>
                  <a:pt x="414" y="108"/>
                  <a:pt x="413" y="108"/>
                  <a:pt x="417" y="108"/>
                </a:cubicBezTo>
                <a:cubicBezTo>
                  <a:pt x="419" y="108"/>
                  <a:pt x="421" y="107"/>
                  <a:pt x="422" y="107"/>
                </a:cubicBezTo>
                <a:cubicBezTo>
                  <a:pt x="423" y="107"/>
                  <a:pt x="423" y="105"/>
                  <a:pt x="423" y="105"/>
                </a:cubicBezTo>
                <a:cubicBezTo>
                  <a:pt x="423" y="105"/>
                  <a:pt x="420" y="105"/>
                  <a:pt x="420" y="105"/>
                </a:cubicBezTo>
                <a:cubicBezTo>
                  <a:pt x="420" y="105"/>
                  <a:pt x="419" y="106"/>
                  <a:pt x="419" y="106"/>
                </a:cubicBezTo>
                <a:cubicBezTo>
                  <a:pt x="416" y="108"/>
                  <a:pt x="417" y="107"/>
                  <a:pt x="415" y="107"/>
                </a:cubicBezTo>
                <a:cubicBezTo>
                  <a:pt x="410" y="106"/>
                  <a:pt x="410" y="107"/>
                  <a:pt x="409" y="108"/>
                </a:cubicBezTo>
                <a:cubicBezTo>
                  <a:pt x="406" y="108"/>
                  <a:pt x="406" y="108"/>
                  <a:pt x="406" y="108"/>
                </a:cubicBezTo>
                <a:cubicBezTo>
                  <a:pt x="405" y="110"/>
                  <a:pt x="405" y="110"/>
                  <a:pt x="405" y="110"/>
                </a:cubicBezTo>
                <a:cubicBezTo>
                  <a:pt x="398" y="110"/>
                  <a:pt x="398" y="110"/>
                  <a:pt x="398" y="110"/>
                </a:cubicBezTo>
                <a:cubicBezTo>
                  <a:pt x="397" y="110"/>
                  <a:pt x="394" y="110"/>
                  <a:pt x="393" y="110"/>
                </a:cubicBezTo>
                <a:cubicBezTo>
                  <a:pt x="391" y="111"/>
                  <a:pt x="391" y="112"/>
                  <a:pt x="390" y="112"/>
                </a:cubicBezTo>
                <a:cubicBezTo>
                  <a:pt x="390" y="113"/>
                  <a:pt x="385" y="113"/>
                  <a:pt x="383" y="113"/>
                </a:cubicBezTo>
                <a:cubicBezTo>
                  <a:pt x="379" y="114"/>
                  <a:pt x="379" y="114"/>
                  <a:pt x="379" y="114"/>
                </a:cubicBezTo>
                <a:cubicBezTo>
                  <a:pt x="380" y="113"/>
                  <a:pt x="380" y="113"/>
                  <a:pt x="380" y="113"/>
                </a:cubicBezTo>
                <a:cubicBezTo>
                  <a:pt x="380" y="113"/>
                  <a:pt x="384" y="112"/>
                  <a:pt x="385" y="112"/>
                </a:cubicBezTo>
                <a:cubicBezTo>
                  <a:pt x="385" y="112"/>
                  <a:pt x="383" y="110"/>
                  <a:pt x="383" y="110"/>
                </a:cubicBezTo>
                <a:cubicBezTo>
                  <a:pt x="382" y="110"/>
                  <a:pt x="381" y="112"/>
                  <a:pt x="378" y="113"/>
                </a:cubicBezTo>
                <a:cubicBezTo>
                  <a:pt x="376" y="113"/>
                  <a:pt x="374" y="112"/>
                  <a:pt x="373" y="113"/>
                </a:cubicBezTo>
                <a:cubicBezTo>
                  <a:pt x="371" y="114"/>
                  <a:pt x="373" y="114"/>
                  <a:pt x="370" y="114"/>
                </a:cubicBezTo>
                <a:cubicBezTo>
                  <a:pt x="367" y="114"/>
                  <a:pt x="367" y="115"/>
                  <a:pt x="366" y="115"/>
                </a:cubicBezTo>
                <a:cubicBezTo>
                  <a:pt x="365" y="115"/>
                  <a:pt x="365" y="116"/>
                  <a:pt x="364" y="116"/>
                </a:cubicBezTo>
                <a:cubicBezTo>
                  <a:pt x="365" y="117"/>
                  <a:pt x="365" y="117"/>
                  <a:pt x="365" y="117"/>
                </a:cubicBezTo>
                <a:cubicBezTo>
                  <a:pt x="364" y="119"/>
                  <a:pt x="364" y="119"/>
                  <a:pt x="364" y="119"/>
                </a:cubicBezTo>
                <a:cubicBezTo>
                  <a:pt x="363" y="117"/>
                  <a:pt x="363" y="117"/>
                  <a:pt x="363" y="117"/>
                </a:cubicBezTo>
                <a:cubicBezTo>
                  <a:pt x="358" y="118"/>
                  <a:pt x="360" y="117"/>
                  <a:pt x="357" y="117"/>
                </a:cubicBezTo>
                <a:cubicBezTo>
                  <a:pt x="354" y="118"/>
                  <a:pt x="354" y="118"/>
                  <a:pt x="354" y="118"/>
                </a:cubicBezTo>
                <a:cubicBezTo>
                  <a:pt x="351" y="116"/>
                  <a:pt x="351" y="116"/>
                  <a:pt x="351" y="116"/>
                </a:cubicBezTo>
                <a:cubicBezTo>
                  <a:pt x="349" y="115"/>
                  <a:pt x="349" y="115"/>
                  <a:pt x="349" y="115"/>
                </a:cubicBezTo>
                <a:cubicBezTo>
                  <a:pt x="349" y="114"/>
                  <a:pt x="349" y="114"/>
                  <a:pt x="349" y="114"/>
                </a:cubicBezTo>
                <a:cubicBezTo>
                  <a:pt x="347" y="113"/>
                  <a:pt x="347" y="113"/>
                  <a:pt x="347" y="113"/>
                </a:cubicBezTo>
                <a:cubicBezTo>
                  <a:pt x="346" y="112"/>
                  <a:pt x="346" y="112"/>
                  <a:pt x="346" y="112"/>
                </a:cubicBezTo>
                <a:cubicBezTo>
                  <a:pt x="348" y="110"/>
                  <a:pt x="347" y="111"/>
                  <a:pt x="350" y="111"/>
                </a:cubicBezTo>
                <a:cubicBezTo>
                  <a:pt x="349" y="110"/>
                  <a:pt x="349" y="110"/>
                  <a:pt x="349" y="110"/>
                </a:cubicBezTo>
                <a:cubicBezTo>
                  <a:pt x="346" y="111"/>
                  <a:pt x="346" y="111"/>
                  <a:pt x="346" y="111"/>
                </a:cubicBezTo>
                <a:cubicBezTo>
                  <a:pt x="342" y="111"/>
                  <a:pt x="342" y="111"/>
                  <a:pt x="342" y="111"/>
                </a:cubicBezTo>
                <a:cubicBezTo>
                  <a:pt x="339" y="111"/>
                  <a:pt x="339" y="111"/>
                  <a:pt x="339" y="111"/>
                </a:cubicBezTo>
                <a:cubicBezTo>
                  <a:pt x="335" y="110"/>
                  <a:pt x="335" y="110"/>
                  <a:pt x="335" y="110"/>
                </a:cubicBezTo>
                <a:cubicBezTo>
                  <a:pt x="332" y="109"/>
                  <a:pt x="329" y="107"/>
                  <a:pt x="329" y="107"/>
                </a:cubicBezTo>
                <a:cubicBezTo>
                  <a:pt x="329" y="107"/>
                  <a:pt x="327" y="106"/>
                  <a:pt x="327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20" y="106"/>
                  <a:pt x="317" y="107"/>
                  <a:pt x="316" y="107"/>
                </a:cubicBezTo>
                <a:cubicBezTo>
                  <a:pt x="316" y="107"/>
                  <a:pt x="313" y="107"/>
                  <a:pt x="312" y="107"/>
                </a:cubicBezTo>
                <a:cubicBezTo>
                  <a:pt x="310" y="107"/>
                  <a:pt x="310" y="106"/>
                  <a:pt x="310" y="106"/>
                </a:cubicBezTo>
                <a:cubicBezTo>
                  <a:pt x="310" y="106"/>
                  <a:pt x="308" y="105"/>
                  <a:pt x="308" y="105"/>
                </a:cubicBezTo>
                <a:cubicBezTo>
                  <a:pt x="297" y="105"/>
                  <a:pt x="297" y="105"/>
                  <a:pt x="297" y="105"/>
                </a:cubicBezTo>
                <a:cubicBezTo>
                  <a:pt x="296" y="105"/>
                  <a:pt x="296" y="104"/>
                  <a:pt x="296" y="103"/>
                </a:cubicBezTo>
                <a:cubicBezTo>
                  <a:pt x="296" y="103"/>
                  <a:pt x="295" y="103"/>
                  <a:pt x="294" y="103"/>
                </a:cubicBezTo>
                <a:cubicBezTo>
                  <a:pt x="292" y="103"/>
                  <a:pt x="291" y="104"/>
                  <a:pt x="290" y="102"/>
                </a:cubicBezTo>
                <a:cubicBezTo>
                  <a:pt x="288" y="102"/>
                  <a:pt x="288" y="102"/>
                  <a:pt x="288" y="102"/>
                </a:cubicBezTo>
                <a:cubicBezTo>
                  <a:pt x="288" y="102"/>
                  <a:pt x="281" y="102"/>
                  <a:pt x="281" y="102"/>
                </a:cubicBezTo>
                <a:cubicBezTo>
                  <a:pt x="280" y="102"/>
                  <a:pt x="273" y="102"/>
                  <a:pt x="272" y="102"/>
                </a:cubicBezTo>
                <a:cubicBezTo>
                  <a:pt x="270" y="102"/>
                  <a:pt x="271" y="102"/>
                  <a:pt x="270" y="101"/>
                </a:cubicBezTo>
                <a:cubicBezTo>
                  <a:pt x="269" y="100"/>
                  <a:pt x="269" y="101"/>
                  <a:pt x="269" y="101"/>
                </a:cubicBezTo>
                <a:cubicBezTo>
                  <a:pt x="269" y="101"/>
                  <a:pt x="267" y="101"/>
                  <a:pt x="267" y="101"/>
                </a:cubicBezTo>
                <a:cubicBezTo>
                  <a:pt x="267" y="100"/>
                  <a:pt x="270" y="99"/>
                  <a:pt x="270" y="99"/>
                </a:cubicBezTo>
                <a:cubicBezTo>
                  <a:pt x="271" y="99"/>
                  <a:pt x="272" y="98"/>
                  <a:pt x="272" y="98"/>
                </a:cubicBezTo>
                <a:cubicBezTo>
                  <a:pt x="270" y="98"/>
                  <a:pt x="262" y="97"/>
                  <a:pt x="260" y="98"/>
                </a:cubicBezTo>
                <a:cubicBezTo>
                  <a:pt x="258" y="99"/>
                  <a:pt x="258" y="99"/>
                  <a:pt x="256" y="98"/>
                </a:cubicBezTo>
                <a:cubicBezTo>
                  <a:pt x="256" y="98"/>
                  <a:pt x="257" y="97"/>
                  <a:pt x="258" y="97"/>
                </a:cubicBezTo>
                <a:cubicBezTo>
                  <a:pt x="258" y="96"/>
                  <a:pt x="257" y="96"/>
                  <a:pt x="257" y="96"/>
                </a:cubicBezTo>
                <a:cubicBezTo>
                  <a:pt x="257" y="96"/>
                  <a:pt x="256" y="96"/>
                  <a:pt x="255" y="96"/>
                </a:cubicBezTo>
                <a:cubicBezTo>
                  <a:pt x="253" y="96"/>
                  <a:pt x="254" y="96"/>
                  <a:pt x="252" y="97"/>
                </a:cubicBezTo>
                <a:cubicBezTo>
                  <a:pt x="251" y="98"/>
                  <a:pt x="250" y="97"/>
                  <a:pt x="250" y="97"/>
                </a:cubicBezTo>
                <a:cubicBezTo>
                  <a:pt x="249" y="97"/>
                  <a:pt x="246" y="98"/>
                  <a:pt x="246" y="98"/>
                </a:cubicBezTo>
                <a:cubicBezTo>
                  <a:pt x="246" y="98"/>
                  <a:pt x="246" y="97"/>
                  <a:pt x="247" y="97"/>
                </a:cubicBezTo>
                <a:cubicBezTo>
                  <a:pt x="248" y="96"/>
                  <a:pt x="252" y="97"/>
                  <a:pt x="252" y="95"/>
                </a:cubicBezTo>
                <a:cubicBezTo>
                  <a:pt x="253" y="94"/>
                  <a:pt x="247" y="94"/>
                  <a:pt x="246" y="94"/>
                </a:cubicBezTo>
                <a:cubicBezTo>
                  <a:pt x="240" y="95"/>
                  <a:pt x="238" y="97"/>
                  <a:pt x="235" y="97"/>
                </a:cubicBezTo>
                <a:cubicBezTo>
                  <a:pt x="232" y="98"/>
                  <a:pt x="228" y="98"/>
                  <a:pt x="224" y="98"/>
                </a:cubicBezTo>
                <a:cubicBezTo>
                  <a:pt x="224" y="98"/>
                  <a:pt x="222" y="98"/>
                  <a:pt x="221" y="98"/>
                </a:cubicBezTo>
                <a:cubicBezTo>
                  <a:pt x="216" y="99"/>
                  <a:pt x="216" y="99"/>
                  <a:pt x="216" y="99"/>
                </a:cubicBezTo>
                <a:cubicBezTo>
                  <a:pt x="215" y="99"/>
                  <a:pt x="216" y="100"/>
                  <a:pt x="217" y="100"/>
                </a:cubicBezTo>
                <a:cubicBezTo>
                  <a:pt x="217" y="100"/>
                  <a:pt x="216" y="100"/>
                  <a:pt x="215" y="100"/>
                </a:cubicBezTo>
                <a:cubicBezTo>
                  <a:pt x="215" y="100"/>
                  <a:pt x="213" y="102"/>
                  <a:pt x="213" y="102"/>
                </a:cubicBezTo>
                <a:cubicBezTo>
                  <a:pt x="213" y="102"/>
                  <a:pt x="211" y="101"/>
                  <a:pt x="213" y="100"/>
                </a:cubicBezTo>
                <a:cubicBezTo>
                  <a:pt x="213" y="100"/>
                  <a:pt x="213" y="99"/>
                  <a:pt x="213" y="100"/>
                </a:cubicBezTo>
                <a:cubicBezTo>
                  <a:pt x="211" y="100"/>
                  <a:pt x="210" y="102"/>
                  <a:pt x="208" y="102"/>
                </a:cubicBezTo>
                <a:cubicBezTo>
                  <a:pt x="204" y="103"/>
                  <a:pt x="200" y="103"/>
                  <a:pt x="196" y="103"/>
                </a:cubicBezTo>
                <a:cubicBezTo>
                  <a:pt x="183" y="107"/>
                  <a:pt x="183" y="107"/>
                  <a:pt x="183" y="107"/>
                </a:cubicBezTo>
                <a:cubicBezTo>
                  <a:pt x="169" y="114"/>
                  <a:pt x="169" y="114"/>
                  <a:pt x="169" y="114"/>
                </a:cubicBezTo>
                <a:cubicBezTo>
                  <a:pt x="153" y="116"/>
                  <a:pt x="153" y="116"/>
                  <a:pt x="153" y="116"/>
                </a:cubicBezTo>
                <a:cubicBezTo>
                  <a:pt x="151" y="116"/>
                  <a:pt x="146" y="115"/>
                  <a:pt x="146" y="115"/>
                </a:cubicBezTo>
                <a:cubicBezTo>
                  <a:pt x="146" y="115"/>
                  <a:pt x="143" y="116"/>
                  <a:pt x="143" y="117"/>
                </a:cubicBezTo>
                <a:cubicBezTo>
                  <a:pt x="141" y="119"/>
                  <a:pt x="139" y="119"/>
                  <a:pt x="137" y="120"/>
                </a:cubicBezTo>
                <a:cubicBezTo>
                  <a:pt x="135" y="121"/>
                  <a:pt x="140" y="123"/>
                  <a:pt x="140" y="123"/>
                </a:cubicBezTo>
                <a:cubicBezTo>
                  <a:pt x="140" y="123"/>
                  <a:pt x="142" y="126"/>
                  <a:pt x="142" y="127"/>
                </a:cubicBezTo>
                <a:cubicBezTo>
                  <a:pt x="142" y="127"/>
                  <a:pt x="142" y="130"/>
                  <a:pt x="142" y="130"/>
                </a:cubicBezTo>
                <a:cubicBezTo>
                  <a:pt x="142" y="131"/>
                  <a:pt x="139" y="130"/>
                  <a:pt x="139" y="133"/>
                </a:cubicBezTo>
                <a:cubicBezTo>
                  <a:pt x="146" y="134"/>
                  <a:pt x="146" y="133"/>
                  <a:pt x="147" y="132"/>
                </a:cubicBezTo>
                <a:cubicBezTo>
                  <a:pt x="147" y="132"/>
                  <a:pt x="149" y="133"/>
                  <a:pt x="150" y="133"/>
                </a:cubicBezTo>
                <a:cubicBezTo>
                  <a:pt x="152" y="133"/>
                  <a:pt x="152" y="134"/>
                  <a:pt x="152" y="134"/>
                </a:cubicBezTo>
                <a:cubicBezTo>
                  <a:pt x="151" y="135"/>
                  <a:pt x="147" y="135"/>
                  <a:pt x="148" y="137"/>
                </a:cubicBezTo>
                <a:cubicBezTo>
                  <a:pt x="149" y="138"/>
                  <a:pt x="149" y="138"/>
                  <a:pt x="149" y="138"/>
                </a:cubicBezTo>
                <a:cubicBezTo>
                  <a:pt x="153" y="136"/>
                  <a:pt x="152" y="137"/>
                  <a:pt x="156" y="137"/>
                </a:cubicBezTo>
                <a:cubicBezTo>
                  <a:pt x="157" y="137"/>
                  <a:pt x="157" y="137"/>
                  <a:pt x="158" y="137"/>
                </a:cubicBezTo>
                <a:cubicBezTo>
                  <a:pt x="158" y="137"/>
                  <a:pt x="157" y="138"/>
                  <a:pt x="157" y="139"/>
                </a:cubicBezTo>
                <a:cubicBezTo>
                  <a:pt x="156" y="139"/>
                  <a:pt x="153" y="139"/>
                  <a:pt x="151" y="139"/>
                </a:cubicBezTo>
                <a:cubicBezTo>
                  <a:pt x="149" y="139"/>
                  <a:pt x="148" y="137"/>
                  <a:pt x="147" y="139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1"/>
                  <a:pt x="145" y="141"/>
                  <a:pt x="145" y="141"/>
                </a:cubicBezTo>
                <a:cubicBezTo>
                  <a:pt x="145" y="141"/>
                  <a:pt x="146" y="140"/>
                  <a:pt x="146" y="140"/>
                </a:cubicBezTo>
                <a:cubicBezTo>
                  <a:pt x="146" y="138"/>
                  <a:pt x="145" y="138"/>
                  <a:pt x="144" y="138"/>
                </a:cubicBezTo>
                <a:cubicBezTo>
                  <a:pt x="143" y="138"/>
                  <a:pt x="143" y="139"/>
                  <a:pt x="143" y="139"/>
                </a:cubicBezTo>
                <a:cubicBezTo>
                  <a:pt x="141" y="141"/>
                  <a:pt x="141" y="141"/>
                  <a:pt x="141" y="141"/>
                </a:cubicBezTo>
                <a:cubicBezTo>
                  <a:pt x="141" y="141"/>
                  <a:pt x="141" y="141"/>
                  <a:pt x="141" y="141"/>
                </a:cubicBezTo>
                <a:cubicBezTo>
                  <a:pt x="134" y="144"/>
                  <a:pt x="137" y="142"/>
                  <a:pt x="129" y="142"/>
                </a:cubicBezTo>
                <a:cubicBezTo>
                  <a:pt x="128" y="142"/>
                  <a:pt x="125" y="143"/>
                  <a:pt x="124" y="142"/>
                </a:cubicBezTo>
                <a:cubicBezTo>
                  <a:pt x="126" y="141"/>
                  <a:pt x="129" y="140"/>
                  <a:pt x="131" y="138"/>
                </a:cubicBezTo>
                <a:cubicBezTo>
                  <a:pt x="131" y="138"/>
                  <a:pt x="126" y="138"/>
                  <a:pt x="125" y="138"/>
                </a:cubicBezTo>
                <a:cubicBezTo>
                  <a:pt x="125" y="138"/>
                  <a:pt x="124" y="137"/>
                  <a:pt x="123" y="137"/>
                </a:cubicBezTo>
                <a:cubicBezTo>
                  <a:pt x="123" y="137"/>
                  <a:pt x="121" y="138"/>
                  <a:pt x="120" y="138"/>
                </a:cubicBezTo>
                <a:cubicBezTo>
                  <a:pt x="120" y="139"/>
                  <a:pt x="118" y="138"/>
                  <a:pt x="118" y="138"/>
                </a:cubicBezTo>
                <a:cubicBezTo>
                  <a:pt x="117" y="138"/>
                  <a:pt x="117" y="139"/>
                  <a:pt x="113" y="139"/>
                </a:cubicBezTo>
                <a:cubicBezTo>
                  <a:pt x="112" y="139"/>
                  <a:pt x="113" y="141"/>
                  <a:pt x="110" y="141"/>
                </a:cubicBezTo>
                <a:cubicBezTo>
                  <a:pt x="110" y="141"/>
                  <a:pt x="103" y="142"/>
                  <a:pt x="103" y="142"/>
                </a:cubicBezTo>
                <a:cubicBezTo>
                  <a:pt x="102" y="142"/>
                  <a:pt x="100" y="143"/>
                  <a:pt x="97" y="143"/>
                </a:cubicBezTo>
                <a:cubicBezTo>
                  <a:pt x="95" y="143"/>
                  <a:pt x="95" y="144"/>
                  <a:pt x="95" y="144"/>
                </a:cubicBezTo>
                <a:cubicBezTo>
                  <a:pt x="94" y="144"/>
                  <a:pt x="93" y="145"/>
                  <a:pt x="92" y="145"/>
                </a:cubicBezTo>
                <a:cubicBezTo>
                  <a:pt x="91" y="146"/>
                  <a:pt x="89" y="146"/>
                  <a:pt x="89" y="146"/>
                </a:cubicBezTo>
                <a:cubicBezTo>
                  <a:pt x="89" y="146"/>
                  <a:pt x="87" y="147"/>
                  <a:pt x="87" y="148"/>
                </a:cubicBezTo>
                <a:cubicBezTo>
                  <a:pt x="87" y="148"/>
                  <a:pt x="89" y="149"/>
                  <a:pt x="89" y="149"/>
                </a:cubicBezTo>
                <a:cubicBezTo>
                  <a:pt x="91" y="149"/>
                  <a:pt x="91" y="149"/>
                  <a:pt x="91" y="149"/>
                </a:cubicBezTo>
                <a:cubicBezTo>
                  <a:pt x="91" y="149"/>
                  <a:pt x="94" y="150"/>
                  <a:pt x="94" y="150"/>
                </a:cubicBezTo>
                <a:cubicBezTo>
                  <a:pt x="96" y="150"/>
                  <a:pt x="96" y="151"/>
                  <a:pt x="95" y="151"/>
                </a:cubicBezTo>
                <a:cubicBezTo>
                  <a:pt x="91" y="151"/>
                  <a:pt x="92" y="151"/>
                  <a:pt x="92" y="152"/>
                </a:cubicBezTo>
                <a:cubicBezTo>
                  <a:pt x="91" y="152"/>
                  <a:pt x="90" y="152"/>
                  <a:pt x="90" y="152"/>
                </a:cubicBezTo>
                <a:cubicBezTo>
                  <a:pt x="90" y="152"/>
                  <a:pt x="90" y="151"/>
                  <a:pt x="90" y="151"/>
                </a:cubicBezTo>
                <a:cubicBezTo>
                  <a:pt x="90" y="151"/>
                  <a:pt x="90" y="150"/>
                  <a:pt x="90" y="150"/>
                </a:cubicBezTo>
                <a:cubicBezTo>
                  <a:pt x="89" y="150"/>
                  <a:pt x="88" y="152"/>
                  <a:pt x="88" y="152"/>
                </a:cubicBezTo>
                <a:cubicBezTo>
                  <a:pt x="89" y="154"/>
                  <a:pt x="89" y="154"/>
                  <a:pt x="89" y="154"/>
                </a:cubicBezTo>
                <a:cubicBezTo>
                  <a:pt x="89" y="154"/>
                  <a:pt x="87" y="155"/>
                  <a:pt x="87" y="155"/>
                </a:cubicBezTo>
                <a:cubicBezTo>
                  <a:pt x="86" y="155"/>
                  <a:pt x="86" y="157"/>
                  <a:pt x="86" y="157"/>
                </a:cubicBezTo>
                <a:cubicBezTo>
                  <a:pt x="86" y="157"/>
                  <a:pt x="90" y="157"/>
                  <a:pt x="90" y="157"/>
                </a:cubicBezTo>
                <a:cubicBezTo>
                  <a:pt x="95" y="158"/>
                  <a:pt x="95" y="158"/>
                  <a:pt x="95" y="158"/>
                </a:cubicBezTo>
                <a:cubicBezTo>
                  <a:pt x="99" y="157"/>
                  <a:pt x="99" y="157"/>
                  <a:pt x="99" y="157"/>
                </a:cubicBezTo>
                <a:cubicBezTo>
                  <a:pt x="99" y="157"/>
                  <a:pt x="100" y="157"/>
                  <a:pt x="100" y="157"/>
                </a:cubicBezTo>
                <a:cubicBezTo>
                  <a:pt x="102" y="157"/>
                  <a:pt x="105" y="156"/>
                  <a:pt x="106" y="157"/>
                </a:cubicBezTo>
                <a:cubicBezTo>
                  <a:pt x="106" y="157"/>
                  <a:pt x="106" y="159"/>
                  <a:pt x="107" y="158"/>
                </a:cubicBezTo>
                <a:cubicBezTo>
                  <a:pt x="107" y="157"/>
                  <a:pt x="107" y="156"/>
                  <a:pt x="108" y="156"/>
                </a:cubicBezTo>
                <a:cubicBezTo>
                  <a:pt x="109" y="156"/>
                  <a:pt x="109" y="156"/>
                  <a:pt x="110" y="157"/>
                </a:cubicBezTo>
                <a:cubicBezTo>
                  <a:pt x="110" y="157"/>
                  <a:pt x="109" y="158"/>
                  <a:pt x="109" y="159"/>
                </a:cubicBezTo>
                <a:cubicBezTo>
                  <a:pt x="114" y="157"/>
                  <a:pt x="113" y="156"/>
                  <a:pt x="115" y="156"/>
                </a:cubicBezTo>
                <a:cubicBezTo>
                  <a:pt x="116" y="156"/>
                  <a:pt x="117" y="156"/>
                  <a:pt x="119" y="156"/>
                </a:cubicBezTo>
                <a:cubicBezTo>
                  <a:pt x="120" y="155"/>
                  <a:pt x="120" y="155"/>
                  <a:pt x="121" y="154"/>
                </a:cubicBezTo>
                <a:cubicBezTo>
                  <a:pt x="121" y="154"/>
                  <a:pt x="123" y="155"/>
                  <a:pt x="124" y="155"/>
                </a:cubicBezTo>
                <a:cubicBezTo>
                  <a:pt x="125" y="155"/>
                  <a:pt x="128" y="154"/>
                  <a:pt x="129" y="153"/>
                </a:cubicBezTo>
                <a:cubicBezTo>
                  <a:pt x="129" y="154"/>
                  <a:pt x="128" y="154"/>
                  <a:pt x="128" y="155"/>
                </a:cubicBezTo>
                <a:cubicBezTo>
                  <a:pt x="128" y="155"/>
                  <a:pt x="127" y="156"/>
                  <a:pt x="126" y="157"/>
                </a:cubicBezTo>
                <a:cubicBezTo>
                  <a:pt x="126" y="157"/>
                  <a:pt x="122" y="157"/>
                  <a:pt x="122" y="157"/>
                </a:cubicBezTo>
                <a:cubicBezTo>
                  <a:pt x="120" y="157"/>
                  <a:pt x="119" y="156"/>
                  <a:pt x="119" y="159"/>
                </a:cubicBezTo>
                <a:cubicBezTo>
                  <a:pt x="119" y="159"/>
                  <a:pt x="121" y="158"/>
                  <a:pt x="121" y="159"/>
                </a:cubicBezTo>
                <a:cubicBezTo>
                  <a:pt x="122" y="160"/>
                  <a:pt x="119" y="161"/>
                  <a:pt x="118" y="162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4" y="165"/>
                  <a:pt x="112" y="166"/>
                  <a:pt x="112" y="166"/>
                </a:cubicBezTo>
                <a:cubicBezTo>
                  <a:pt x="111" y="166"/>
                  <a:pt x="109" y="167"/>
                  <a:pt x="109" y="167"/>
                </a:cubicBezTo>
                <a:cubicBezTo>
                  <a:pt x="109" y="167"/>
                  <a:pt x="106" y="168"/>
                  <a:pt x="106" y="168"/>
                </a:cubicBezTo>
                <a:cubicBezTo>
                  <a:pt x="105" y="168"/>
                  <a:pt x="103" y="167"/>
                  <a:pt x="103" y="167"/>
                </a:cubicBezTo>
                <a:cubicBezTo>
                  <a:pt x="103" y="167"/>
                  <a:pt x="97" y="168"/>
                  <a:pt x="97" y="168"/>
                </a:cubicBezTo>
                <a:cubicBezTo>
                  <a:pt x="97" y="168"/>
                  <a:pt x="95" y="169"/>
                  <a:pt x="93" y="170"/>
                </a:cubicBezTo>
                <a:cubicBezTo>
                  <a:pt x="92" y="170"/>
                  <a:pt x="91" y="171"/>
                  <a:pt x="91" y="171"/>
                </a:cubicBezTo>
                <a:cubicBezTo>
                  <a:pt x="91" y="172"/>
                  <a:pt x="86" y="172"/>
                  <a:pt x="86" y="171"/>
                </a:cubicBezTo>
                <a:cubicBezTo>
                  <a:pt x="85" y="169"/>
                  <a:pt x="85" y="169"/>
                  <a:pt x="82" y="169"/>
                </a:cubicBezTo>
                <a:cubicBezTo>
                  <a:pt x="82" y="169"/>
                  <a:pt x="80" y="170"/>
                  <a:pt x="80" y="170"/>
                </a:cubicBezTo>
                <a:cubicBezTo>
                  <a:pt x="79" y="172"/>
                  <a:pt x="78" y="171"/>
                  <a:pt x="77" y="171"/>
                </a:cubicBezTo>
                <a:cubicBezTo>
                  <a:pt x="77" y="171"/>
                  <a:pt x="76" y="172"/>
                  <a:pt x="75" y="172"/>
                </a:cubicBezTo>
                <a:cubicBezTo>
                  <a:pt x="75" y="172"/>
                  <a:pt x="73" y="174"/>
                  <a:pt x="72" y="174"/>
                </a:cubicBezTo>
                <a:cubicBezTo>
                  <a:pt x="71" y="174"/>
                  <a:pt x="71" y="175"/>
                  <a:pt x="71" y="175"/>
                </a:cubicBezTo>
                <a:cubicBezTo>
                  <a:pt x="71" y="176"/>
                  <a:pt x="68" y="179"/>
                  <a:pt x="69" y="177"/>
                </a:cubicBezTo>
                <a:cubicBezTo>
                  <a:pt x="66" y="177"/>
                  <a:pt x="66" y="177"/>
                  <a:pt x="66" y="177"/>
                </a:cubicBezTo>
                <a:cubicBezTo>
                  <a:pt x="58" y="180"/>
                  <a:pt x="58" y="180"/>
                  <a:pt x="58" y="180"/>
                </a:cubicBezTo>
                <a:cubicBezTo>
                  <a:pt x="56" y="181"/>
                  <a:pt x="56" y="182"/>
                  <a:pt x="56" y="182"/>
                </a:cubicBezTo>
                <a:cubicBezTo>
                  <a:pt x="56" y="182"/>
                  <a:pt x="54" y="183"/>
                  <a:pt x="53" y="184"/>
                </a:cubicBezTo>
                <a:cubicBezTo>
                  <a:pt x="53" y="184"/>
                  <a:pt x="51" y="184"/>
                  <a:pt x="51" y="184"/>
                </a:cubicBezTo>
                <a:cubicBezTo>
                  <a:pt x="49" y="185"/>
                  <a:pt x="49" y="185"/>
                  <a:pt x="49" y="185"/>
                </a:cubicBezTo>
                <a:cubicBezTo>
                  <a:pt x="47" y="184"/>
                  <a:pt x="48" y="184"/>
                  <a:pt x="46" y="185"/>
                </a:cubicBezTo>
                <a:cubicBezTo>
                  <a:pt x="48" y="187"/>
                  <a:pt x="47" y="186"/>
                  <a:pt x="44" y="190"/>
                </a:cubicBezTo>
                <a:cubicBezTo>
                  <a:pt x="48" y="191"/>
                  <a:pt x="46" y="191"/>
                  <a:pt x="51" y="188"/>
                </a:cubicBezTo>
                <a:cubicBezTo>
                  <a:pt x="50" y="189"/>
                  <a:pt x="48" y="190"/>
                  <a:pt x="48" y="192"/>
                </a:cubicBezTo>
                <a:cubicBezTo>
                  <a:pt x="47" y="193"/>
                  <a:pt x="51" y="194"/>
                  <a:pt x="52" y="194"/>
                </a:cubicBezTo>
                <a:cubicBezTo>
                  <a:pt x="54" y="194"/>
                  <a:pt x="56" y="192"/>
                  <a:pt x="57" y="192"/>
                </a:cubicBezTo>
                <a:cubicBezTo>
                  <a:pt x="56" y="193"/>
                  <a:pt x="56" y="194"/>
                  <a:pt x="55" y="195"/>
                </a:cubicBezTo>
                <a:cubicBezTo>
                  <a:pt x="54" y="196"/>
                  <a:pt x="52" y="196"/>
                  <a:pt x="52" y="195"/>
                </a:cubicBezTo>
                <a:cubicBezTo>
                  <a:pt x="52" y="194"/>
                  <a:pt x="51" y="195"/>
                  <a:pt x="51" y="194"/>
                </a:cubicBezTo>
                <a:cubicBezTo>
                  <a:pt x="50" y="194"/>
                  <a:pt x="49" y="195"/>
                  <a:pt x="48" y="195"/>
                </a:cubicBezTo>
                <a:cubicBezTo>
                  <a:pt x="48" y="195"/>
                  <a:pt x="48" y="195"/>
                  <a:pt x="48" y="194"/>
                </a:cubicBezTo>
                <a:cubicBezTo>
                  <a:pt x="49" y="193"/>
                  <a:pt x="48" y="193"/>
                  <a:pt x="48" y="193"/>
                </a:cubicBezTo>
                <a:cubicBezTo>
                  <a:pt x="44" y="194"/>
                  <a:pt x="44" y="194"/>
                  <a:pt x="44" y="194"/>
                </a:cubicBezTo>
                <a:cubicBezTo>
                  <a:pt x="43" y="195"/>
                  <a:pt x="40" y="196"/>
                  <a:pt x="40" y="198"/>
                </a:cubicBezTo>
                <a:cubicBezTo>
                  <a:pt x="39" y="199"/>
                  <a:pt x="40" y="199"/>
                  <a:pt x="40" y="199"/>
                </a:cubicBezTo>
                <a:cubicBezTo>
                  <a:pt x="41" y="201"/>
                  <a:pt x="41" y="201"/>
                  <a:pt x="41" y="201"/>
                </a:cubicBezTo>
                <a:cubicBezTo>
                  <a:pt x="38" y="204"/>
                  <a:pt x="38" y="203"/>
                  <a:pt x="41" y="204"/>
                </a:cubicBezTo>
                <a:cubicBezTo>
                  <a:pt x="43" y="204"/>
                  <a:pt x="43" y="204"/>
                  <a:pt x="43" y="204"/>
                </a:cubicBezTo>
                <a:cubicBezTo>
                  <a:pt x="43" y="204"/>
                  <a:pt x="47" y="203"/>
                  <a:pt x="48" y="203"/>
                </a:cubicBezTo>
                <a:cubicBezTo>
                  <a:pt x="48" y="203"/>
                  <a:pt x="51" y="202"/>
                  <a:pt x="52" y="202"/>
                </a:cubicBezTo>
                <a:cubicBezTo>
                  <a:pt x="52" y="202"/>
                  <a:pt x="55" y="201"/>
                  <a:pt x="56" y="201"/>
                </a:cubicBezTo>
                <a:cubicBezTo>
                  <a:pt x="56" y="201"/>
                  <a:pt x="58" y="200"/>
                  <a:pt x="58" y="200"/>
                </a:cubicBezTo>
                <a:cubicBezTo>
                  <a:pt x="58" y="200"/>
                  <a:pt x="63" y="196"/>
                  <a:pt x="64" y="196"/>
                </a:cubicBezTo>
                <a:cubicBezTo>
                  <a:pt x="65" y="196"/>
                  <a:pt x="65" y="195"/>
                  <a:pt x="66" y="195"/>
                </a:cubicBezTo>
                <a:cubicBezTo>
                  <a:pt x="65" y="196"/>
                  <a:pt x="58" y="200"/>
                  <a:pt x="57" y="201"/>
                </a:cubicBezTo>
                <a:cubicBezTo>
                  <a:pt x="55" y="203"/>
                  <a:pt x="55" y="203"/>
                  <a:pt x="55" y="203"/>
                </a:cubicBezTo>
                <a:cubicBezTo>
                  <a:pt x="55" y="205"/>
                  <a:pt x="55" y="205"/>
                  <a:pt x="53" y="207"/>
                </a:cubicBezTo>
                <a:cubicBezTo>
                  <a:pt x="52" y="208"/>
                  <a:pt x="52" y="208"/>
                  <a:pt x="51" y="208"/>
                </a:cubicBezTo>
                <a:cubicBezTo>
                  <a:pt x="49" y="209"/>
                  <a:pt x="48" y="210"/>
                  <a:pt x="47" y="211"/>
                </a:cubicBezTo>
                <a:cubicBezTo>
                  <a:pt x="47" y="211"/>
                  <a:pt x="47" y="212"/>
                  <a:pt x="46" y="212"/>
                </a:cubicBezTo>
                <a:cubicBezTo>
                  <a:pt x="45" y="215"/>
                  <a:pt x="46" y="214"/>
                  <a:pt x="43" y="214"/>
                </a:cubicBezTo>
                <a:cubicBezTo>
                  <a:pt x="41" y="214"/>
                  <a:pt x="41" y="215"/>
                  <a:pt x="41" y="215"/>
                </a:cubicBezTo>
                <a:cubicBezTo>
                  <a:pt x="41" y="216"/>
                  <a:pt x="43" y="216"/>
                  <a:pt x="43" y="216"/>
                </a:cubicBezTo>
                <a:cubicBezTo>
                  <a:pt x="44" y="216"/>
                  <a:pt x="46" y="216"/>
                  <a:pt x="46" y="216"/>
                </a:cubicBezTo>
                <a:cubicBezTo>
                  <a:pt x="46" y="216"/>
                  <a:pt x="48" y="214"/>
                  <a:pt x="48" y="214"/>
                </a:cubicBezTo>
                <a:cubicBezTo>
                  <a:pt x="48" y="216"/>
                  <a:pt x="48" y="216"/>
                  <a:pt x="48" y="216"/>
                </a:cubicBezTo>
                <a:cubicBezTo>
                  <a:pt x="50" y="216"/>
                  <a:pt x="51" y="216"/>
                  <a:pt x="52" y="214"/>
                </a:cubicBezTo>
                <a:cubicBezTo>
                  <a:pt x="53" y="213"/>
                  <a:pt x="57" y="212"/>
                  <a:pt x="58" y="212"/>
                </a:cubicBezTo>
                <a:cubicBezTo>
                  <a:pt x="58" y="212"/>
                  <a:pt x="58" y="213"/>
                  <a:pt x="58" y="213"/>
                </a:cubicBezTo>
                <a:cubicBezTo>
                  <a:pt x="58" y="214"/>
                  <a:pt x="60" y="214"/>
                  <a:pt x="60" y="214"/>
                </a:cubicBezTo>
                <a:cubicBezTo>
                  <a:pt x="60" y="214"/>
                  <a:pt x="62" y="214"/>
                  <a:pt x="62" y="214"/>
                </a:cubicBezTo>
                <a:cubicBezTo>
                  <a:pt x="63" y="214"/>
                  <a:pt x="62" y="216"/>
                  <a:pt x="62" y="216"/>
                </a:cubicBezTo>
                <a:cubicBezTo>
                  <a:pt x="62" y="217"/>
                  <a:pt x="62" y="217"/>
                  <a:pt x="62" y="218"/>
                </a:cubicBezTo>
                <a:cubicBezTo>
                  <a:pt x="61" y="218"/>
                  <a:pt x="62" y="218"/>
                  <a:pt x="62" y="219"/>
                </a:cubicBezTo>
                <a:cubicBezTo>
                  <a:pt x="62" y="219"/>
                  <a:pt x="62" y="219"/>
                  <a:pt x="63" y="219"/>
                </a:cubicBezTo>
                <a:cubicBezTo>
                  <a:pt x="64" y="218"/>
                  <a:pt x="67" y="214"/>
                  <a:pt x="68" y="214"/>
                </a:cubicBezTo>
                <a:cubicBezTo>
                  <a:pt x="68" y="214"/>
                  <a:pt x="71" y="214"/>
                  <a:pt x="71" y="214"/>
                </a:cubicBezTo>
                <a:cubicBezTo>
                  <a:pt x="71" y="214"/>
                  <a:pt x="72" y="212"/>
                  <a:pt x="72" y="212"/>
                </a:cubicBezTo>
                <a:cubicBezTo>
                  <a:pt x="74" y="212"/>
                  <a:pt x="74" y="212"/>
                  <a:pt x="74" y="212"/>
                </a:cubicBezTo>
                <a:cubicBezTo>
                  <a:pt x="74" y="213"/>
                  <a:pt x="73" y="212"/>
                  <a:pt x="71" y="214"/>
                </a:cubicBezTo>
                <a:cubicBezTo>
                  <a:pt x="70" y="215"/>
                  <a:pt x="70" y="215"/>
                  <a:pt x="71" y="216"/>
                </a:cubicBezTo>
                <a:cubicBezTo>
                  <a:pt x="77" y="215"/>
                  <a:pt x="77" y="215"/>
                  <a:pt x="77" y="215"/>
                </a:cubicBezTo>
                <a:cubicBezTo>
                  <a:pt x="78" y="215"/>
                  <a:pt x="80" y="215"/>
                  <a:pt x="80" y="215"/>
                </a:cubicBezTo>
                <a:cubicBezTo>
                  <a:pt x="81" y="214"/>
                  <a:pt x="83" y="213"/>
                  <a:pt x="84" y="213"/>
                </a:cubicBezTo>
                <a:cubicBezTo>
                  <a:pt x="85" y="212"/>
                  <a:pt x="88" y="211"/>
                  <a:pt x="88" y="211"/>
                </a:cubicBezTo>
                <a:cubicBezTo>
                  <a:pt x="88" y="212"/>
                  <a:pt x="84" y="213"/>
                  <a:pt x="84" y="213"/>
                </a:cubicBezTo>
                <a:cubicBezTo>
                  <a:pt x="81" y="215"/>
                  <a:pt x="80" y="216"/>
                  <a:pt x="76" y="217"/>
                </a:cubicBezTo>
                <a:cubicBezTo>
                  <a:pt x="75" y="217"/>
                  <a:pt x="75" y="217"/>
                  <a:pt x="74" y="218"/>
                </a:cubicBezTo>
                <a:cubicBezTo>
                  <a:pt x="70" y="220"/>
                  <a:pt x="72" y="220"/>
                  <a:pt x="72" y="221"/>
                </a:cubicBezTo>
                <a:cubicBezTo>
                  <a:pt x="72" y="221"/>
                  <a:pt x="70" y="221"/>
                  <a:pt x="70" y="222"/>
                </a:cubicBezTo>
                <a:cubicBezTo>
                  <a:pt x="69" y="222"/>
                  <a:pt x="68" y="223"/>
                  <a:pt x="67" y="223"/>
                </a:cubicBezTo>
                <a:cubicBezTo>
                  <a:pt x="66" y="223"/>
                  <a:pt x="65" y="226"/>
                  <a:pt x="63" y="226"/>
                </a:cubicBezTo>
                <a:cubicBezTo>
                  <a:pt x="63" y="226"/>
                  <a:pt x="64" y="228"/>
                  <a:pt x="64" y="228"/>
                </a:cubicBezTo>
                <a:cubicBezTo>
                  <a:pt x="64" y="228"/>
                  <a:pt x="60" y="228"/>
                  <a:pt x="59" y="228"/>
                </a:cubicBezTo>
                <a:cubicBezTo>
                  <a:pt x="49" y="232"/>
                  <a:pt x="49" y="232"/>
                  <a:pt x="49" y="232"/>
                </a:cubicBezTo>
                <a:cubicBezTo>
                  <a:pt x="47" y="233"/>
                  <a:pt x="47" y="233"/>
                  <a:pt x="45" y="234"/>
                </a:cubicBezTo>
                <a:cubicBezTo>
                  <a:pt x="43" y="234"/>
                  <a:pt x="43" y="234"/>
                  <a:pt x="43" y="234"/>
                </a:cubicBezTo>
                <a:cubicBezTo>
                  <a:pt x="40" y="236"/>
                  <a:pt x="40" y="236"/>
                  <a:pt x="40" y="236"/>
                </a:cubicBezTo>
                <a:cubicBezTo>
                  <a:pt x="34" y="237"/>
                  <a:pt x="34" y="237"/>
                  <a:pt x="34" y="237"/>
                </a:cubicBezTo>
                <a:cubicBezTo>
                  <a:pt x="28" y="239"/>
                  <a:pt x="30" y="239"/>
                  <a:pt x="28" y="240"/>
                </a:cubicBezTo>
                <a:cubicBezTo>
                  <a:pt x="27" y="241"/>
                  <a:pt x="15" y="243"/>
                  <a:pt x="21" y="244"/>
                </a:cubicBezTo>
                <a:cubicBezTo>
                  <a:pt x="21" y="244"/>
                  <a:pt x="20" y="245"/>
                  <a:pt x="20" y="246"/>
                </a:cubicBezTo>
                <a:cubicBezTo>
                  <a:pt x="20" y="247"/>
                  <a:pt x="24" y="245"/>
                  <a:pt x="25" y="245"/>
                </a:cubicBezTo>
                <a:cubicBezTo>
                  <a:pt x="25" y="245"/>
                  <a:pt x="26" y="245"/>
                  <a:pt x="26" y="245"/>
                </a:cubicBezTo>
                <a:cubicBezTo>
                  <a:pt x="25" y="247"/>
                  <a:pt x="25" y="246"/>
                  <a:pt x="22" y="248"/>
                </a:cubicBezTo>
                <a:cubicBezTo>
                  <a:pt x="26" y="247"/>
                  <a:pt x="24" y="247"/>
                  <a:pt x="27" y="245"/>
                </a:cubicBezTo>
                <a:cubicBezTo>
                  <a:pt x="30" y="244"/>
                  <a:pt x="30" y="244"/>
                  <a:pt x="33" y="244"/>
                </a:cubicBezTo>
                <a:cubicBezTo>
                  <a:pt x="34" y="244"/>
                  <a:pt x="36" y="244"/>
                  <a:pt x="36" y="244"/>
                </a:cubicBezTo>
                <a:cubicBezTo>
                  <a:pt x="36" y="244"/>
                  <a:pt x="37" y="242"/>
                  <a:pt x="38" y="242"/>
                </a:cubicBezTo>
                <a:cubicBezTo>
                  <a:pt x="38" y="241"/>
                  <a:pt x="41" y="241"/>
                  <a:pt x="41" y="241"/>
                </a:cubicBezTo>
                <a:cubicBezTo>
                  <a:pt x="43" y="241"/>
                  <a:pt x="42" y="239"/>
                  <a:pt x="42" y="239"/>
                </a:cubicBezTo>
                <a:cubicBezTo>
                  <a:pt x="44" y="238"/>
                  <a:pt x="44" y="238"/>
                  <a:pt x="44" y="238"/>
                </a:cubicBezTo>
                <a:cubicBezTo>
                  <a:pt x="44" y="238"/>
                  <a:pt x="46" y="238"/>
                  <a:pt x="47" y="238"/>
                </a:cubicBezTo>
                <a:cubicBezTo>
                  <a:pt x="48" y="238"/>
                  <a:pt x="48" y="237"/>
                  <a:pt x="49" y="236"/>
                </a:cubicBezTo>
                <a:cubicBezTo>
                  <a:pt x="50" y="236"/>
                  <a:pt x="50" y="236"/>
                  <a:pt x="50" y="236"/>
                </a:cubicBezTo>
                <a:cubicBezTo>
                  <a:pt x="52" y="237"/>
                  <a:pt x="52" y="237"/>
                  <a:pt x="52" y="237"/>
                </a:cubicBezTo>
                <a:cubicBezTo>
                  <a:pt x="54" y="236"/>
                  <a:pt x="54" y="236"/>
                  <a:pt x="54" y="236"/>
                </a:cubicBezTo>
                <a:cubicBezTo>
                  <a:pt x="55" y="234"/>
                  <a:pt x="55" y="234"/>
                  <a:pt x="55" y="234"/>
                </a:cubicBezTo>
                <a:cubicBezTo>
                  <a:pt x="57" y="235"/>
                  <a:pt x="57" y="235"/>
                  <a:pt x="57" y="235"/>
                </a:cubicBezTo>
                <a:cubicBezTo>
                  <a:pt x="58" y="235"/>
                  <a:pt x="63" y="233"/>
                  <a:pt x="64" y="232"/>
                </a:cubicBezTo>
                <a:cubicBezTo>
                  <a:pt x="67" y="231"/>
                  <a:pt x="67" y="232"/>
                  <a:pt x="69" y="229"/>
                </a:cubicBezTo>
                <a:cubicBezTo>
                  <a:pt x="72" y="229"/>
                  <a:pt x="73" y="230"/>
                  <a:pt x="74" y="227"/>
                </a:cubicBezTo>
                <a:cubicBezTo>
                  <a:pt x="77" y="227"/>
                  <a:pt x="79" y="226"/>
                  <a:pt x="81" y="224"/>
                </a:cubicBezTo>
                <a:cubicBezTo>
                  <a:pt x="81" y="225"/>
                  <a:pt x="82" y="225"/>
                  <a:pt x="82" y="226"/>
                </a:cubicBezTo>
                <a:cubicBezTo>
                  <a:pt x="82" y="226"/>
                  <a:pt x="84" y="225"/>
                  <a:pt x="84" y="224"/>
                </a:cubicBezTo>
                <a:cubicBezTo>
                  <a:pt x="84" y="223"/>
                  <a:pt x="96" y="221"/>
                  <a:pt x="98" y="221"/>
                </a:cubicBezTo>
                <a:cubicBezTo>
                  <a:pt x="98" y="221"/>
                  <a:pt x="102" y="218"/>
                  <a:pt x="103" y="218"/>
                </a:cubicBezTo>
                <a:cubicBezTo>
                  <a:pt x="103" y="217"/>
                  <a:pt x="104" y="216"/>
                  <a:pt x="104" y="216"/>
                </a:cubicBezTo>
                <a:cubicBezTo>
                  <a:pt x="109" y="216"/>
                  <a:pt x="109" y="216"/>
                  <a:pt x="109" y="216"/>
                </a:cubicBezTo>
                <a:cubicBezTo>
                  <a:pt x="110" y="216"/>
                  <a:pt x="112" y="214"/>
                  <a:pt x="112" y="214"/>
                </a:cubicBezTo>
                <a:cubicBezTo>
                  <a:pt x="112" y="211"/>
                  <a:pt x="111" y="212"/>
                  <a:pt x="110" y="212"/>
                </a:cubicBezTo>
                <a:cubicBezTo>
                  <a:pt x="109" y="212"/>
                  <a:pt x="108" y="211"/>
                  <a:pt x="108" y="211"/>
                </a:cubicBezTo>
                <a:cubicBezTo>
                  <a:pt x="111" y="209"/>
                  <a:pt x="111" y="209"/>
                  <a:pt x="111" y="209"/>
                </a:cubicBezTo>
                <a:cubicBezTo>
                  <a:pt x="114" y="208"/>
                  <a:pt x="114" y="208"/>
                  <a:pt x="114" y="208"/>
                </a:cubicBezTo>
                <a:cubicBezTo>
                  <a:pt x="116" y="207"/>
                  <a:pt x="116" y="207"/>
                  <a:pt x="116" y="207"/>
                </a:cubicBezTo>
                <a:cubicBezTo>
                  <a:pt x="116" y="207"/>
                  <a:pt x="118" y="207"/>
                  <a:pt x="118" y="206"/>
                </a:cubicBezTo>
                <a:cubicBezTo>
                  <a:pt x="121" y="205"/>
                  <a:pt x="120" y="206"/>
                  <a:pt x="122" y="206"/>
                </a:cubicBezTo>
                <a:cubicBezTo>
                  <a:pt x="124" y="205"/>
                  <a:pt x="124" y="205"/>
                  <a:pt x="124" y="205"/>
                </a:cubicBezTo>
                <a:cubicBezTo>
                  <a:pt x="125" y="203"/>
                  <a:pt x="125" y="203"/>
                  <a:pt x="125" y="203"/>
                </a:cubicBezTo>
                <a:cubicBezTo>
                  <a:pt x="130" y="202"/>
                  <a:pt x="130" y="202"/>
                  <a:pt x="130" y="202"/>
                </a:cubicBezTo>
                <a:cubicBezTo>
                  <a:pt x="133" y="201"/>
                  <a:pt x="132" y="201"/>
                  <a:pt x="131" y="200"/>
                </a:cubicBezTo>
                <a:cubicBezTo>
                  <a:pt x="137" y="200"/>
                  <a:pt x="142" y="196"/>
                  <a:pt x="142" y="196"/>
                </a:cubicBezTo>
                <a:cubicBezTo>
                  <a:pt x="142" y="196"/>
                  <a:pt x="146" y="195"/>
                  <a:pt x="146" y="195"/>
                </a:cubicBezTo>
                <a:cubicBezTo>
                  <a:pt x="147" y="195"/>
                  <a:pt x="148" y="193"/>
                  <a:pt x="149" y="193"/>
                </a:cubicBezTo>
                <a:cubicBezTo>
                  <a:pt x="149" y="193"/>
                  <a:pt x="151" y="192"/>
                  <a:pt x="151" y="192"/>
                </a:cubicBezTo>
                <a:cubicBezTo>
                  <a:pt x="158" y="191"/>
                  <a:pt x="158" y="191"/>
                  <a:pt x="158" y="191"/>
                </a:cubicBezTo>
                <a:cubicBezTo>
                  <a:pt x="158" y="191"/>
                  <a:pt x="160" y="190"/>
                  <a:pt x="160" y="190"/>
                </a:cubicBezTo>
                <a:cubicBezTo>
                  <a:pt x="160" y="190"/>
                  <a:pt x="163" y="190"/>
                  <a:pt x="163" y="190"/>
                </a:cubicBezTo>
                <a:cubicBezTo>
                  <a:pt x="164" y="189"/>
                  <a:pt x="165" y="189"/>
                  <a:pt x="165" y="189"/>
                </a:cubicBezTo>
                <a:cubicBezTo>
                  <a:pt x="165" y="189"/>
                  <a:pt x="165" y="190"/>
                  <a:pt x="165" y="190"/>
                </a:cubicBezTo>
                <a:cubicBezTo>
                  <a:pt x="166" y="190"/>
                  <a:pt x="171" y="188"/>
                  <a:pt x="171" y="188"/>
                </a:cubicBezTo>
                <a:cubicBezTo>
                  <a:pt x="171" y="188"/>
                  <a:pt x="172" y="188"/>
                  <a:pt x="172" y="188"/>
                </a:cubicBezTo>
                <a:cubicBezTo>
                  <a:pt x="169" y="190"/>
                  <a:pt x="168" y="188"/>
                  <a:pt x="165" y="192"/>
                </a:cubicBezTo>
                <a:cubicBezTo>
                  <a:pt x="166" y="193"/>
                  <a:pt x="166" y="193"/>
                  <a:pt x="166" y="193"/>
                </a:cubicBezTo>
                <a:cubicBezTo>
                  <a:pt x="164" y="193"/>
                  <a:pt x="163" y="193"/>
                  <a:pt x="160" y="192"/>
                </a:cubicBezTo>
                <a:cubicBezTo>
                  <a:pt x="156" y="192"/>
                  <a:pt x="157" y="193"/>
                  <a:pt x="155" y="194"/>
                </a:cubicBezTo>
                <a:cubicBezTo>
                  <a:pt x="155" y="194"/>
                  <a:pt x="151" y="195"/>
                  <a:pt x="150" y="195"/>
                </a:cubicBezTo>
                <a:cubicBezTo>
                  <a:pt x="149" y="195"/>
                  <a:pt x="149" y="196"/>
                  <a:pt x="149" y="196"/>
                </a:cubicBezTo>
                <a:cubicBezTo>
                  <a:pt x="149" y="197"/>
                  <a:pt x="145" y="199"/>
                  <a:pt x="144" y="199"/>
                </a:cubicBezTo>
                <a:cubicBezTo>
                  <a:pt x="141" y="201"/>
                  <a:pt x="141" y="201"/>
                  <a:pt x="141" y="201"/>
                </a:cubicBezTo>
                <a:cubicBezTo>
                  <a:pt x="141" y="201"/>
                  <a:pt x="140" y="202"/>
                  <a:pt x="139" y="202"/>
                </a:cubicBezTo>
                <a:cubicBezTo>
                  <a:pt x="138" y="204"/>
                  <a:pt x="136" y="204"/>
                  <a:pt x="135" y="204"/>
                </a:cubicBezTo>
                <a:cubicBezTo>
                  <a:pt x="134" y="204"/>
                  <a:pt x="133" y="205"/>
                  <a:pt x="133" y="205"/>
                </a:cubicBezTo>
                <a:cubicBezTo>
                  <a:pt x="136" y="206"/>
                  <a:pt x="136" y="206"/>
                  <a:pt x="136" y="206"/>
                </a:cubicBezTo>
                <a:cubicBezTo>
                  <a:pt x="136" y="206"/>
                  <a:pt x="139" y="204"/>
                  <a:pt x="140" y="204"/>
                </a:cubicBezTo>
                <a:cubicBezTo>
                  <a:pt x="141" y="204"/>
                  <a:pt x="141" y="204"/>
                  <a:pt x="141" y="204"/>
                </a:cubicBezTo>
                <a:cubicBezTo>
                  <a:pt x="140" y="205"/>
                  <a:pt x="136" y="207"/>
                  <a:pt x="135" y="208"/>
                </a:cubicBezTo>
                <a:cubicBezTo>
                  <a:pt x="133" y="208"/>
                  <a:pt x="131" y="207"/>
                  <a:pt x="128" y="209"/>
                </a:cubicBezTo>
                <a:cubicBezTo>
                  <a:pt x="126" y="210"/>
                  <a:pt x="129" y="211"/>
                  <a:pt x="129" y="210"/>
                </a:cubicBezTo>
                <a:cubicBezTo>
                  <a:pt x="130" y="210"/>
                  <a:pt x="131" y="211"/>
                  <a:pt x="131" y="211"/>
                </a:cubicBezTo>
                <a:cubicBezTo>
                  <a:pt x="132" y="211"/>
                  <a:pt x="134" y="210"/>
                  <a:pt x="134" y="210"/>
                </a:cubicBezTo>
                <a:cubicBezTo>
                  <a:pt x="134" y="210"/>
                  <a:pt x="135" y="209"/>
                  <a:pt x="135" y="209"/>
                </a:cubicBezTo>
                <a:cubicBezTo>
                  <a:pt x="138" y="209"/>
                  <a:pt x="138" y="209"/>
                  <a:pt x="138" y="209"/>
                </a:cubicBezTo>
                <a:cubicBezTo>
                  <a:pt x="141" y="207"/>
                  <a:pt x="141" y="207"/>
                  <a:pt x="141" y="207"/>
                </a:cubicBezTo>
                <a:cubicBezTo>
                  <a:pt x="143" y="207"/>
                  <a:pt x="143" y="207"/>
                  <a:pt x="143" y="207"/>
                </a:cubicBezTo>
                <a:cubicBezTo>
                  <a:pt x="145" y="206"/>
                  <a:pt x="145" y="206"/>
                  <a:pt x="145" y="206"/>
                </a:cubicBezTo>
                <a:cubicBezTo>
                  <a:pt x="146" y="206"/>
                  <a:pt x="149" y="205"/>
                  <a:pt x="150" y="205"/>
                </a:cubicBezTo>
                <a:cubicBezTo>
                  <a:pt x="150" y="205"/>
                  <a:pt x="151" y="204"/>
                  <a:pt x="153" y="204"/>
                </a:cubicBezTo>
                <a:cubicBezTo>
                  <a:pt x="157" y="203"/>
                  <a:pt x="155" y="204"/>
                  <a:pt x="159" y="202"/>
                </a:cubicBezTo>
                <a:cubicBezTo>
                  <a:pt x="159" y="203"/>
                  <a:pt x="160" y="203"/>
                  <a:pt x="160" y="203"/>
                </a:cubicBezTo>
                <a:cubicBezTo>
                  <a:pt x="160" y="203"/>
                  <a:pt x="162" y="204"/>
                  <a:pt x="163" y="203"/>
                </a:cubicBezTo>
                <a:cubicBezTo>
                  <a:pt x="163" y="203"/>
                  <a:pt x="164" y="202"/>
                  <a:pt x="165" y="202"/>
                </a:cubicBezTo>
                <a:cubicBezTo>
                  <a:pt x="166" y="202"/>
                  <a:pt x="166" y="202"/>
                  <a:pt x="166" y="202"/>
                </a:cubicBezTo>
                <a:cubicBezTo>
                  <a:pt x="166" y="202"/>
                  <a:pt x="168" y="200"/>
                  <a:pt x="169" y="200"/>
                </a:cubicBezTo>
                <a:cubicBezTo>
                  <a:pt x="170" y="199"/>
                  <a:pt x="170" y="200"/>
                  <a:pt x="171" y="199"/>
                </a:cubicBezTo>
                <a:cubicBezTo>
                  <a:pt x="173" y="198"/>
                  <a:pt x="172" y="198"/>
                  <a:pt x="173" y="197"/>
                </a:cubicBezTo>
                <a:cubicBezTo>
                  <a:pt x="173" y="197"/>
                  <a:pt x="172" y="196"/>
                  <a:pt x="172" y="196"/>
                </a:cubicBezTo>
                <a:cubicBezTo>
                  <a:pt x="172" y="196"/>
                  <a:pt x="171" y="195"/>
                  <a:pt x="171" y="195"/>
                </a:cubicBezTo>
                <a:cubicBezTo>
                  <a:pt x="171" y="195"/>
                  <a:pt x="172" y="195"/>
                  <a:pt x="173" y="195"/>
                </a:cubicBezTo>
                <a:cubicBezTo>
                  <a:pt x="175" y="195"/>
                  <a:pt x="176" y="195"/>
                  <a:pt x="176" y="193"/>
                </a:cubicBezTo>
                <a:cubicBezTo>
                  <a:pt x="176" y="192"/>
                  <a:pt x="177" y="192"/>
                  <a:pt x="178" y="192"/>
                </a:cubicBezTo>
                <a:cubicBezTo>
                  <a:pt x="178" y="192"/>
                  <a:pt x="179" y="192"/>
                  <a:pt x="179" y="192"/>
                </a:cubicBezTo>
                <a:cubicBezTo>
                  <a:pt x="181" y="192"/>
                  <a:pt x="182" y="191"/>
                  <a:pt x="183" y="190"/>
                </a:cubicBezTo>
                <a:cubicBezTo>
                  <a:pt x="183" y="190"/>
                  <a:pt x="183" y="191"/>
                  <a:pt x="182" y="191"/>
                </a:cubicBezTo>
                <a:cubicBezTo>
                  <a:pt x="182" y="192"/>
                  <a:pt x="179" y="193"/>
                  <a:pt x="179" y="193"/>
                </a:cubicBezTo>
                <a:cubicBezTo>
                  <a:pt x="179" y="193"/>
                  <a:pt x="179" y="194"/>
                  <a:pt x="179" y="194"/>
                </a:cubicBezTo>
                <a:cubicBezTo>
                  <a:pt x="183" y="192"/>
                  <a:pt x="183" y="192"/>
                  <a:pt x="183" y="192"/>
                </a:cubicBezTo>
                <a:cubicBezTo>
                  <a:pt x="189" y="194"/>
                  <a:pt x="186" y="193"/>
                  <a:pt x="190" y="192"/>
                </a:cubicBezTo>
                <a:cubicBezTo>
                  <a:pt x="191" y="192"/>
                  <a:pt x="190" y="191"/>
                  <a:pt x="192" y="191"/>
                </a:cubicBezTo>
                <a:cubicBezTo>
                  <a:pt x="192" y="191"/>
                  <a:pt x="191" y="192"/>
                  <a:pt x="191" y="192"/>
                </a:cubicBezTo>
                <a:cubicBezTo>
                  <a:pt x="190" y="192"/>
                  <a:pt x="188" y="193"/>
                  <a:pt x="188" y="194"/>
                </a:cubicBezTo>
                <a:cubicBezTo>
                  <a:pt x="188" y="194"/>
                  <a:pt x="191" y="194"/>
                  <a:pt x="191" y="194"/>
                </a:cubicBezTo>
                <a:cubicBezTo>
                  <a:pt x="192" y="196"/>
                  <a:pt x="192" y="196"/>
                  <a:pt x="192" y="196"/>
                </a:cubicBezTo>
                <a:cubicBezTo>
                  <a:pt x="193" y="196"/>
                  <a:pt x="193" y="196"/>
                  <a:pt x="193" y="196"/>
                </a:cubicBezTo>
                <a:cubicBezTo>
                  <a:pt x="191" y="197"/>
                  <a:pt x="191" y="197"/>
                  <a:pt x="191" y="197"/>
                </a:cubicBezTo>
                <a:cubicBezTo>
                  <a:pt x="192" y="199"/>
                  <a:pt x="192" y="199"/>
                  <a:pt x="192" y="199"/>
                </a:cubicBezTo>
                <a:cubicBezTo>
                  <a:pt x="198" y="199"/>
                  <a:pt x="196" y="198"/>
                  <a:pt x="198" y="197"/>
                </a:cubicBezTo>
                <a:cubicBezTo>
                  <a:pt x="200" y="196"/>
                  <a:pt x="200" y="196"/>
                  <a:pt x="200" y="196"/>
                </a:cubicBezTo>
                <a:cubicBezTo>
                  <a:pt x="201" y="196"/>
                  <a:pt x="201" y="196"/>
                  <a:pt x="201" y="196"/>
                </a:cubicBezTo>
                <a:cubicBezTo>
                  <a:pt x="198" y="198"/>
                  <a:pt x="198" y="198"/>
                  <a:pt x="198" y="198"/>
                </a:cubicBezTo>
                <a:cubicBezTo>
                  <a:pt x="198" y="198"/>
                  <a:pt x="197" y="199"/>
                  <a:pt x="196" y="199"/>
                </a:cubicBezTo>
                <a:cubicBezTo>
                  <a:pt x="196" y="199"/>
                  <a:pt x="196" y="200"/>
                  <a:pt x="196" y="200"/>
                </a:cubicBezTo>
                <a:cubicBezTo>
                  <a:pt x="200" y="203"/>
                  <a:pt x="198" y="202"/>
                  <a:pt x="201" y="202"/>
                </a:cubicBezTo>
                <a:cubicBezTo>
                  <a:pt x="201" y="202"/>
                  <a:pt x="206" y="202"/>
                  <a:pt x="207" y="202"/>
                </a:cubicBezTo>
                <a:cubicBezTo>
                  <a:pt x="207" y="202"/>
                  <a:pt x="209" y="201"/>
                  <a:pt x="209" y="201"/>
                </a:cubicBezTo>
                <a:cubicBezTo>
                  <a:pt x="214" y="203"/>
                  <a:pt x="214" y="203"/>
                  <a:pt x="214" y="203"/>
                </a:cubicBezTo>
                <a:cubicBezTo>
                  <a:pt x="218" y="203"/>
                  <a:pt x="218" y="203"/>
                  <a:pt x="218" y="203"/>
                </a:cubicBezTo>
                <a:cubicBezTo>
                  <a:pt x="217" y="204"/>
                  <a:pt x="217" y="204"/>
                  <a:pt x="217" y="204"/>
                </a:cubicBezTo>
                <a:cubicBezTo>
                  <a:pt x="220" y="206"/>
                  <a:pt x="219" y="205"/>
                  <a:pt x="222" y="205"/>
                </a:cubicBezTo>
                <a:cubicBezTo>
                  <a:pt x="222" y="205"/>
                  <a:pt x="226" y="206"/>
                  <a:pt x="226" y="206"/>
                </a:cubicBezTo>
                <a:cubicBezTo>
                  <a:pt x="228" y="205"/>
                  <a:pt x="228" y="205"/>
                  <a:pt x="228" y="205"/>
                </a:cubicBezTo>
                <a:cubicBezTo>
                  <a:pt x="231" y="204"/>
                  <a:pt x="231" y="204"/>
                  <a:pt x="231" y="204"/>
                </a:cubicBezTo>
                <a:cubicBezTo>
                  <a:pt x="234" y="203"/>
                  <a:pt x="231" y="203"/>
                  <a:pt x="236" y="203"/>
                </a:cubicBezTo>
                <a:cubicBezTo>
                  <a:pt x="235" y="204"/>
                  <a:pt x="235" y="204"/>
                  <a:pt x="235" y="204"/>
                </a:cubicBezTo>
                <a:cubicBezTo>
                  <a:pt x="234" y="204"/>
                  <a:pt x="234" y="204"/>
                  <a:pt x="234" y="204"/>
                </a:cubicBezTo>
                <a:cubicBezTo>
                  <a:pt x="233" y="204"/>
                  <a:pt x="233" y="204"/>
                  <a:pt x="233" y="204"/>
                </a:cubicBezTo>
                <a:cubicBezTo>
                  <a:pt x="233" y="204"/>
                  <a:pt x="232" y="206"/>
                  <a:pt x="232" y="206"/>
                </a:cubicBezTo>
                <a:cubicBezTo>
                  <a:pt x="232" y="206"/>
                  <a:pt x="230" y="206"/>
                  <a:pt x="229" y="206"/>
                </a:cubicBezTo>
                <a:cubicBezTo>
                  <a:pt x="229" y="206"/>
                  <a:pt x="227" y="207"/>
                  <a:pt x="227" y="208"/>
                </a:cubicBezTo>
                <a:cubicBezTo>
                  <a:pt x="227" y="208"/>
                  <a:pt x="231" y="211"/>
                  <a:pt x="232" y="212"/>
                </a:cubicBezTo>
                <a:cubicBezTo>
                  <a:pt x="233" y="212"/>
                  <a:pt x="234" y="214"/>
                  <a:pt x="234" y="215"/>
                </a:cubicBezTo>
                <a:cubicBezTo>
                  <a:pt x="234" y="216"/>
                  <a:pt x="234" y="216"/>
                  <a:pt x="234" y="217"/>
                </a:cubicBezTo>
                <a:cubicBezTo>
                  <a:pt x="234" y="218"/>
                  <a:pt x="234" y="217"/>
                  <a:pt x="235" y="218"/>
                </a:cubicBezTo>
                <a:cubicBezTo>
                  <a:pt x="236" y="219"/>
                  <a:pt x="235" y="221"/>
                  <a:pt x="238" y="221"/>
                </a:cubicBezTo>
                <a:cubicBezTo>
                  <a:pt x="239" y="221"/>
                  <a:pt x="242" y="217"/>
                  <a:pt x="242" y="219"/>
                </a:cubicBezTo>
                <a:cubicBezTo>
                  <a:pt x="244" y="219"/>
                  <a:pt x="245" y="219"/>
                  <a:pt x="245" y="216"/>
                </a:cubicBezTo>
                <a:cubicBezTo>
                  <a:pt x="245" y="216"/>
                  <a:pt x="243" y="215"/>
                  <a:pt x="243" y="215"/>
                </a:cubicBezTo>
                <a:cubicBezTo>
                  <a:pt x="243" y="215"/>
                  <a:pt x="242" y="214"/>
                  <a:pt x="242" y="214"/>
                </a:cubicBezTo>
                <a:cubicBezTo>
                  <a:pt x="242" y="214"/>
                  <a:pt x="243" y="213"/>
                  <a:pt x="243" y="213"/>
                </a:cubicBezTo>
                <a:cubicBezTo>
                  <a:pt x="245" y="214"/>
                  <a:pt x="245" y="214"/>
                  <a:pt x="245" y="216"/>
                </a:cubicBezTo>
                <a:cubicBezTo>
                  <a:pt x="247" y="216"/>
                  <a:pt x="247" y="216"/>
                  <a:pt x="247" y="216"/>
                </a:cubicBezTo>
                <a:cubicBezTo>
                  <a:pt x="248" y="214"/>
                  <a:pt x="248" y="214"/>
                  <a:pt x="249" y="214"/>
                </a:cubicBezTo>
                <a:cubicBezTo>
                  <a:pt x="249" y="214"/>
                  <a:pt x="248" y="216"/>
                  <a:pt x="248" y="216"/>
                </a:cubicBezTo>
                <a:cubicBezTo>
                  <a:pt x="246" y="217"/>
                  <a:pt x="246" y="218"/>
                  <a:pt x="245" y="219"/>
                </a:cubicBezTo>
                <a:cubicBezTo>
                  <a:pt x="246" y="219"/>
                  <a:pt x="247" y="219"/>
                  <a:pt x="248" y="220"/>
                </a:cubicBezTo>
                <a:cubicBezTo>
                  <a:pt x="248" y="220"/>
                  <a:pt x="249" y="221"/>
                  <a:pt x="249" y="221"/>
                </a:cubicBezTo>
                <a:cubicBezTo>
                  <a:pt x="252" y="218"/>
                  <a:pt x="252" y="218"/>
                  <a:pt x="252" y="218"/>
                </a:cubicBezTo>
                <a:cubicBezTo>
                  <a:pt x="255" y="214"/>
                  <a:pt x="255" y="214"/>
                  <a:pt x="255" y="214"/>
                </a:cubicBezTo>
                <a:cubicBezTo>
                  <a:pt x="256" y="213"/>
                  <a:pt x="258" y="211"/>
                  <a:pt x="258" y="211"/>
                </a:cubicBezTo>
                <a:cubicBezTo>
                  <a:pt x="258" y="210"/>
                  <a:pt x="258" y="210"/>
                  <a:pt x="259" y="209"/>
                </a:cubicBezTo>
                <a:cubicBezTo>
                  <a:pt x="258" y="211"/>
                  <a:pt x="258" y="212"/>
                  <a:pt x="256" y="214"/>
                </a:cubicBezTo>
                <a:cubicBezTo>
                  <a:pt x="257" y="216"/>
                  <a:pt x="257" y="216"/>
                  <a:pt x="257" y="216"/>
                </a:cubicBezTo>
                <a:cubicBezTo>
                  <a:pt x="256" y="216"/>
                  <a:pt x="254" y="217"/>
                  <a:pt x="254" y="219"/>
                </a:cubicBezTo>
                <a:cubicBezTo>
                  <a:pt x="255" y="222"/>
                  <a:pt x="255" y="220"/>
                  <a:pt x="254" y="223"/>
                </a:cubicBezTo>
                <a:cubicBezTo>
                  <a:pt x="256" y="223"/>
                  <a:pt x="256" y="223"/>
                  <a:pt x="257" y="222"/>
                </a:cubicBezTo>
                <a:cubicBezTo>
                  <a:pt x="258" y="220"/>
                  <a:pt x="257" y="221"/>
                  <a:pt x="259" y="220"/>
                </a:cubicBezTo>
                <a:cubicBezTo>
                  <a:pt x="257" y="222"/>
                  <a:pt x="258" y="221"/>
                  <a:pt x="257" y="222"/>
                </a:cubicBezTo>
                <a:cubicBezTo>
                  <a:pt x="256" y="223"/>
                  <a:pt x="258" y="223"/>
                  <a:pt x="258" y="224"/>
                </a:cubicBezTo>
                <a:cubicBezTo>
                  <a:pt x="258" y="224"/>
                  <a:pt x="257" y="224"/>
                  <a:pt x="257" y="225"/>
                </a:cubicBezTo>
                <a:cubicBezTo>
                  <a:pt x="259" y="227"/>
                  <a:pt x="258" y="227"/>
                  <a:pt x="256" y="227"/>
                </a:cubicBezTo>
                <a:cubicBezTo>
                  <a:pt x="256" y="227"/>
                  <a:pt x="255" y="228"/>
                  <a:pt x="254" y="229"/>
                </a:cubicBezTo>
                <a:cubicBezTo>
                  <a:pt x="254" y="229"/>
                  <a:pt x="255" y="230"/>
                  <a:pt x="255" y="230"/>
                </a:cubicBezTo>
                <a:cubicBezTo>
                  <a:pt x="254" y="230"/>
                  <a:pt x="252" y="231"/>
                  <a:pt x="252" y="231"/>
                </a:cubicBezTo>
                <a:cubicBezTo>
                  <a:pt x="251" y="231"/>
                  <a:pt x="252" y="233"/>
                  <a:pt x="252" y="233"/>
                </a:cubicBezTo>
                <a:cubicBezTo>
                  <a:pt x="254" y="234"/>
                  <a:pt x="254" y="234"/>
                  <a:pt x="254" y="234"/>
                </a:cubicBezTo>
                <a:cubicBezTo>
                  <a:pt x="254" y="235"/>
                  <a:pt x="254" y="235"/>
                  <a:pt x="254" y="237"/>
                </a:cubicBezTo>
                <a:cubicBezTo>
                  <a:pt x="256" y="237"/>
                  <a:pt x="256" y="237"/>
                  <a:pt x="256" y="237"/>
                </a:cubicBezTo>
                <a:cubicBezTo>
                  <a:pt x="256" y="237"/>
                  <a:pt x="255" y="238"/>
                  <a:pt x="255" y="238"/>
                </a:cubicBezTo>
                <a:cubicBezTo>
                  <a:pt x="255" y="241"/>
                  <a:pt x="254" y="239"/>
                  <a:pt x="252" y="241"/>
                </a:cubicBezTo>
                <a:cubicBezTo>
                  <a:pt x="250" y="242"/>
                  <a:pt x="252" y="242"/>
                  <a:pt x="252" y="243"/>
                </a:cubicBezTo>
                <a:cubicBezTo>
                  <a:pt x="254" y="242"/>
                  <a:pt x="254" y="242"/>
                  <a:pt x="254" y="242"/>
                </a:cubicBezTo>
                <a:cubicBezTo>
                  <a:pt x="254" y="243"/>
                  <a:pt x="253" y="243"/>
                  <a:pt x="252" y="244"/>
                </a:cubicBezTo>
                <a:cubicBezTo>
                  <a:pt x="251" y="244"/>
                  <a:pt x="251" y="245"/>
                  <a:pt x="251" y="245"/>
                </a:cubicBezTo>
                <a:cubicBezTo>
                  <a:pt x="251" y="245"/>
                  <a:pt x="248" y="246"/>
                  <a:pt x="248" y="246"/>
                </a:cubicBezTo>
                <a:cubicBezTo>
                  <a:pt x="247" y="246"/>
                  <a:pt x="246" y="248"/>
                  <a:pt x="246" y="248"/>
                </a:cubicBezTo>
                <a:cubicBezTo>
                  <a:pt x="245" y="248"/>
                  <a:pt x="246" y="250"/>
                  <a:pt x="246" y="250"/>
                </a:cubicBezTo>
                <a:cubicBezTo>
                  <a:pt x="248" y="249"/>
                  <a:pt x="250" y="248"/>
                  <a:pt x="252" y="247"/>
                </a:cubicBezTo>
                <a:cubicBezTo>
                  <a:pt x="254" y="246"/>
                  <a:pt x="253" y="245"/>
                  <a:pt x="256" y="245"/>
                </a:cubicBezTo>
                <a:cubicBezTo>
                  <a:pt x="258" y="244"/>
                  <a:pt x="258" y="244"/>
                  <a:pt x="260" y="243"/>
                </a:cubicBezTo>
                <a:cubicBezTo>
                  <a:pt x="260" y="243"/>
                  <a:pt x="260" y="243"/>
                  <a:pt x="260" y="243"/>
                </a:cubicBezTo>
                <a:cubicBezTo>
                  <a:pt x="258" y="244"/>
                  <a:pt x="258" y="244"/>
                  <a:pt x="258" y="244"/>
                </a:cubicBezTo>
                <a:cubicBezTo>
                  <a:pt x="258" y="244"/>
                  <a:pt x="257" y="245"/>
                  <a:pt x="257" y="245"/>
                </a:cubicBezTo>
                <a:cubicBezTo>
                  <a:pt x="257" y="245"/>
                  <a:pt x="254" y="246"/>
                  <a:pt x="254" y="246"/>
                </a:cubicBezTo>
                <a:cubicBezTo>
                  <a:pt x="254" y="246"/>
                  <a:pt x="253" y="248"/>
                  <a:pt x="252" y="248"/>
                </a:cubicBezTo>
                <a:cubicBezTo>
                  <a:pt x="251" y="248"/>
                  <a:pt x="250" y="249"/>
                  <a:pt x="248" y="249"/>
                </a:cubicBezTo>
                <a:cubicBezTo>
                  <a:pt x="247" y="250"/>
                  <a:pt x="248" y="251"/>
                  <a:pt x="248" y="251"/>
                </a:cubicBezTo>
                <a:cubicBezTo>
                  <a:pt x="250" y="252"/>
                  <a:pt x="249" y="252"/>
                  <a:pt x="251" y="249"/>
                </a:cubicBezTo>
                <a:cubicBezTo>
                  <a:pt x="253" y="249"/>
                  <a:pt x="253" y="249"/>
                  <a:pt x="253" y="249"/>
                </a:cubicBezTo>
                <a:cubicBezTo>
                  <a:pt x="253" y="249"/>
                  <a:pt x="252" y="250"/>
                  <a:pt x="252" y="250"/>
                </a:cubicBezTo>
                <a:cubicBezTo>
                  <a:pt x="252" y="252"/>
                  <a:pt x="250" y="251"/>
                  <a:pt x="250" y="253"/>
                </a:cubicBezTo>
                <a:cubicBezTo>
                  <a:pt x="254" y="251"/>
                  <a:pt x="254" y="251"/>
                  <a:pt x="254" y="251"/>
                </a:cubicBezTo>
                <a:cubicBezTo>
                  <a:pt x="254" y="251"/>
                  <a:pt x="253" y="252"/>
                  <a:pt x="252" y="252"/>
                </a:cubicBezTo>
                <a:cubicBezTo>
                  <a:pt x="252" y="252"/>
                  <a:pt x="250" y="253"/>
                  <a:pt x="251" y="253"/>
                </a:cubicBezTo>
                <a:cubicBezTo>
                  <a:pt x="254" y="254"/>
                  <a:pt x="254" y="254"/>
                  <a:pt x="254" y="254"/>
                </a:cubicBezTo>
                <a:cubicBezTo>
                  <a:pt x="252" y="254"/>
                  <a:pt x="252" y="254"/>
                  <a:pt x="252" y="254"/>
                </a:cubicBezTo>
                <a:cubicBezTo>
                  <a:pt x="251" y="254"/>
                  <a:pt x="250" y="255"/>
                  <a:pt x="250" y="255"/>
                </a:cubicBezTo>
                <a:cubicBezTo>
                  <a:pt x="249" y="255"/>
                  <a:pt x="249" y="256"/>
                  <a:pt x="249" y="257"/>
                </a:cubicBezTo>
                <a:cubicBezTo>
                  <a:pt x="251" y="256"/>
                  <a:pt x="251" y="256"/>
                  <a:pt x="251" y="256"/>
                </a:cubicBezTo>
                <a:cubicBezTo>
                  <a:pt x="250" y="257"/>
                  <a:pt x="250" y="257"/>
                  <a:pt x="250" y="257"/>
                </a:cubicBezTo>
                <a:cubicBezTo>
                  <a:pt x="253" y="256"/>
                  <a:pt x="253" y="256"/>
                  <a:pt x="253" y="256"/>
                </a:cubicBezTo>
                <a:cubicBezTo>
                  <a:pt x="254" y="256"/>
                  <a:pt x="256" y="254"/>
                  <a:pt x="257" y="253"/>
                </a:cubicBezTo>
                <a:cubicBezTo>
                  <a:pt x="258" y="254"/>
                  <a:pt x="258" y="254"/>
                  <a:pt x="258" y="254"/>
                </a:cubicBezTo>
                <a:cubicBezTo>
                  <a:pt x="259" y="253"/>
                  <a:pt x="259" y="253"/>
                  <a:pt x="259" y="253"/>
                </a:cubicBezTo>
                <a:cubicBezTo>
                  <a:pt x="255" y="255"/>
                  <a:pt x="255" y="255"/>
                  <a:pt x="255" y="255"/>
                </a:cubicBezTo>
                <a:cubicBezTo>
                  <a:pt x="254" y="256"/>
                  <a:pt x="253" y="258"/>
                  <a:pt x="253" y="259"/>
                </a:cubicBezTo>
                <a:cubicBezTo>
                  <a:pt x="251" y="259"/>
                  <a:pt x="251" y="259"/>
                  <a:pt x="251" y="259"/>
                </a:cubicBezTo>
                <a:cubicBezTo>
                  <a:pt x="249" y="261"/>
                  <a:pt x="249" y="261"/>
                  <a:pt x="249" y="261"/>
                </a:cubicBezTo>
                <a:cubicBezTo>
                  <a:pt x="249" y="262"/>
                  <a:pt x="249" y="262"/>
                  <a:pt x="249" y="262"/>
                </a:cubicBezTo>
                <a:cubicBezTo>
                  <a:pt x="251" y="263"/>
                  <a:pt x="250" y="263"/>
                  <a:pt x="252" y="262"/>
                </a:cubicBezTo>
                <a:cubicBezTo>
                  <a:pt x="253" y="263"/>
                  <a:pt x="254" y="263"/>
                  <a:pt x="255" y="263"/>
                </a:cubicBezTo>
                <a:cubicBezTo>
                  <a:pt x="256" y="263"/>
                  <a:pt x="256" y="263"/>
                  <a:pt x="256" y="263"/>
                </a:cubicBezTo>
                <a:cubicBezTo>
                  <a:pt x="253" y="263"/>
                  <a:pt x="253" y="263"/>
                  <a:pt x="253" y="263"/>
                </a:cubicBezTo>
                <a:cubicBezTo>
                  <a:pt x="252" y="263"/>
                  <a:pt x="253" y="262"/>
                  <a:pt x="251" y="263"/>
                </a:cubicBezTo>
                <a:cubicBezTo>
                  <a:pt x="248" y="264"/>
                  <a:pt x="249" y="265"/>
                  <a:pt x="248" y="266"/>
                </a:cubicBezTo>
                <a:cubicBezTo>
                  <a:pt x="248" y="266"/>
                  <a:pt x="247" y="266"/>
                  <a:pt x="247" y="266"/>
                </a:cubicBezTo>
                <a:cubicBezTo>
                  <a:pt x="247" y="266"/>
                  <a:pt x="246" y="267"/>
                  <a:pt x="246" y="267"/>
                </a:cubicBezTo>
                <a:cubicBezTo>
                  <a:pt x="246" y="269"/>
                  <a:pt x="246" y="268"/>
                  <a:pt x="247" y="271"/>
                </a:cubicBezTo>
                <a:cubicBezTo>
                  <a:pt x="245" y="272"/>
                  <a:pt x="245" y="272"/>
                  <a:pt x="245" y="272"/>
                </a:cubicBezTo>
                <a:cubicBezTo>
                  <a:pt x="246" y="274"/>
                  <a:pt x="246" y="274"/>
                  <a:pt x="246" y="274"/>
                </a:cubicBezTo>
                <a:cubicBezTo>
                  <a:pt x="248" y="272"/>
                  <a:pt x="248" y="272"/>
                  <a:pt x="248" y="272"/>
                </a:cubicBezTo>
                <a:cubicBezTo>
                  <a:pt x="249" y="271"/>
                  <a:pt x="251" y="271"/>
                  <a:pt x="252" y="271"/>
                </a:cubicBezTo>
                <a:cubicBezTo>
                  <a:pt x="253" y="269"/>
                  <a:pt x="253" y="269"/>
                  <a:pt x="253" y="269"/>
                </a:cubicBezTo>
                <a:cubicBezTo>
                  <a:pt x="255" y="268"/>
                  <a:pt x="255" y="268"/>
                  <a:pt x="255" y="268"/>
                </a:cubicBezTo>
                <a:cubicBezTo>
                  <a:pt x="257" y="267"/>
                  <a:pt x="257" y="267"/>
                  <a:pt x="257" y="267"/>
                </a:cubicBezTo>
                <a:cubicBezTo>
                  <a:pt x="258" y="266"/>
                  <a:pt x="258" y="266"/>
                  <a:pt x="258" y="266"/>
                </a:cubicBezTo>
                <a:cubicBezTo>
                  <a:pt x="261" y="265"/>
                  <a:pt x="261" y="265"/>
                  <a:pt x="261" y="265"/>
                </a:cubicBezTo>
                <a:cubicBezTo>
                  <a:pt x="260" y="267"/>
                  <a:pt x="260" y="267"/>
                  <a:pt x="260" y="267"/>
                </a:cubicBezTo>
                <a:cubicBezTo>
                  <a:pt x="257" y="267"/>
                  <a:pt x="258" y="267"/>
                  <a:pt x="256" y="268"/>
                </a:cubicBezTo>
                <a:cubicBezTo>
                  <a:pt x="255" y="269"/>
                  <a:pt x="255" y="268"/>
                  <a:pt x="254" y="270"/>
                </a:cubicBezTo>
                <a:cubicBezTo>
                  <a:pt x="257" y="270"/>
                  <a:pt x="257" y="270"/>
                  <a:pt x="257" y="270"/>
                </a:cubicBezTo>
                <a:cubicBezTo>
                  <a:pt x="258" y="270"/>
                  <a:pt x="259" y="270"/>
                  <a:pt x="260" y="271"/>
                </a:cubicBezTo>
                <a:cubicBezTo>
                  <a:pt x="259" y="272"/>
                  <a:pt x="259" y="272"/>
                  <a:pt x="259" y="272"/>
                </a:cubicBezTo>
                <a:cubicBezTo>
                  <a:pt x="258" y="271"/>
                  <a:pt x="258" y="271"/>
                  <a:pt x="258" y="271"/>
                </a:cubicBezTo>
                <a:cubicBezTo>
                  <a:pt x="256" y="271"/>
                  <a:pt x="256" y="271"/>
                  <a:pt x="256" y="271"/>
                </a:cubicBezTo>
                <a:cubicBezTo>
                  <a:pt x="255" y="271"/>
                  <a:pt x="255" y="271"/>
                  <a:pt x="255" y="271"/>
                </a:cubicBezTo>
                <a:cubicBezTo>
                  <a:pt x="254" y="271"/>
                  <a:pt x="254" y="271"/>
                  <a:pt x="253" y="272"/>
                </a:cubicBezTo>
                <a:cubicBezTo>
                  <a:pt x="251" y="272"/>
                  <a:pt x="251" y="272"/>
                  <a:pt x="250" y="273"/>
                </a:cubicBezTo>
                <a:cubicBezTo>
                  <a:pt x="250" y="275"/>
                  <a:pt x="250" y="275"/>
                  <a:pt x="250" y="275"/>
                </a:cubicBezTo>
                <a:cubicBezTo>
                  <a:pt x="251" y="276"/>
                  <a:pt x="251" y="276"/>
                  <a:pt x="251" y="276"/>
                </a:cubicBezTo>
                <a:cubicBezTo>
                  <a:pt x="251" y="278"/>
                  <a:pt x="251" y="278"/>
                  <a:pt x="251" y="278"/>
                </a:cubicBezTo>
                <a:cubicBezTo>
                  <a:pt x="249" y="280"/>
                  <a:pt x="249" y="280"/>
                  <a:pt x="249" y="280"/>
                </a:cubicBezTo>
                <a:cubicBezTo>
                  <a:pt x="249" y="281"/>
                  <a:pt x="249" y="281"/>
                  <a:pt x="249" y="281"/>
                </a:cubicBezTo>
                <a:cubicBezTo>
                  <a:pt x="251" y="281"/>
                  <a:pt x="251" y="281"/>
                  <a:pt x="251" y="281"/>
                </a:cubicBezTo>
                <a:cubicBezTo>
                  <a:pt x="252" y="281"/>
                  <a:pt x="252" y="281"/>
                  <a:pt x="252" y="281"/>
                </a:cubicBezTo>
                <a:cubicBezTo>
                  <a:pt x="253" y="281"/>
                  <a:pt x="253" y="281"/>
                  <a:pt x="253" y="281"/>
                </a:cubicBezTo>
                <a:cubicBezTo>
                  <a:pt x="252" y="281"/>
                  <a:pt x="252" y="281"/>
                  <a:pt x="252" y="281"/>
                </a:cubicBezTo>
                <a:cubicBezTo>
                  <a:pt x="252" y="282"/>
                  <a:pt x="252" y="282"/>
                  <a:pt x="252" y="282"/>
                </a:cubicBezTo>
                <a:cubicBezTo>
                  <a:pt x="253" y="283"/>
                  <a:pt x="253" y="283"/>
                  <a:pt x="253" y="283"/>
                </a:cubicBezTo>
                <a:cubicBezTo>
                  <a:pt x="255" y="282"/>
                  <a:pt x="255" y="282"/>
                  <a:pt x="255" y="282"/>
                </a:cubicBezTo>
                <a:cubicBezTo>
                  <a:pt x="257" y="282"/>
                  <a:pt x="257" y="282"/>
                  <a:pt x="257" y="282"/>
                </a:cubicBezTo>
                <a:cubicBezTo>
                  <a:pt x="258" y="281"/>
                  <a:pt x="258" y="281"/>
                  <a:pt x="258" y="281"/>
                </a:cubicBezTo>
                <a:cubicBezTo>
                  <a:pt x="259" y="280"/>
                  <a:pt x="260" y="280"/>
                  <a:pt x="261" y="280"/>
                </a:cubicBezTo>
                <a:cubicBezTo>
                  <a:pt x="263" y="279"/>
                  <a:pt x="262" y="278"/>
                  <a:pt x="263" y="276"/>
                </a:cubicBezTo>
                <a:cubicBezTo>
                  <a:pt x="264" y="277"/>
                  <a:pt x="264" y="278"/>
                  <a:pt x="263" y="279"/>
                </a:cubicBezTo>
                <a:cubicBezTo>
                  <a:pt x="262" y="281"/>
                  <a:pt x="261" y="280"/>
                  <a:pt x="260" y="281"/>
                </a:cubicBezTo>
                <a:cubicBezTo>
                  <a:pt x="258" y="282"/>
                  <a:pt x="258" y="282"/>
                  <a:pt x="258" y="282"/>
                </a:cubicBezTo>
                <a:cubicBezTo>
                  <a:pt x="259" y="283"/>
                  <a:pt x="259" y="283"/>
                  <a:pt x="259" y="283"/>
                </a:cubicBezTo>
                <a:cubicBezTo>
                  <a:pt x="260" y="283"/>
                  <a:pt x="261" y="283"/>
                  <a:pt x="262" y="282"/>
                </a:cubicBezTo>
                <a:cubicBezTo>
                  <a:pt x="262" y="282"/>
                  <a:pt x="262" y="282"/>
                  <a:pt x="262" y="282"/>
                </a:cubicBezTo>
                <a:cubicBezTo>
                  <a:pt x="260" y="283"/>
                  <a:pt x="260" y="283"/>
                  <a:pt x="259" y="284"/>
                </a:cubicBezTo>
                <a:cubicBezTo>
                  <a:pt x="259" y="286"/>
                  <a:pt x="259" y="286"/>
                  <a:pt x="259" y="286"/>
                </a:cubicBezTo>
                <a:cubicBezTo>
                  <a:pt x="258" y="286"/>
                  <a:pt x="258" y="286"/>
                  <a:pt x="258" y="286"/>
                </a:cubicBezTo>
                <a:cubicBezTo>
                  <a:pt x="258" y="283"/>
                  <a:pt x="259" y="285"/>
                  <a:pt x="257" y="283"/>
                </a:cubicBezTo>
                <a:cubicBezTo>
                  <a:pt x="257" y="283"/>
                  <a:pt x="254" y="283"/>
                  <a:pt x="254" y="283"/>
                </a:cubicBezTo>
                <a:cubicBezTo>
                  <a:pt x="253" y="285"/>
                  <a:pt x="253" y="285"/>
                  <a:pt x="253" y="285"/>
                </a:cubicBezTo>
                <a:cubicBezTo>
                  <a:pt x="251" y="286"/>
                  <a:pt x="251" y="286"/>
                  <a:pt x="251" y="286"/>
                </a:cubicBezTo>
                <a:cubicBezTo>
                  <a:pt x="249" y="286"/>
                  <a:pt x="249" y="286"/>
                  <a:pt x="249" y="286"/>
                </a:cubicBezTo>
                <a:cubicBezTo>
                  <a:pt x="247" y="290"/>
                  <a:pt x="248" y="287"/>
                  <a:pt x="245" y="291"/>
                </a:cubicBezTo>
                <a:cubicBezTo>
                  <a:pt x="246" y="291"/>
                  <a:pt x="246" y="291"/>
                  <a:pt x="246" y="291"/>
                </a:cubicBezTo>
                <a:cubicBezTo>
                  <a:pt x="249" y="290"/>
                  <a:pt x="249" y="290"/>
                  <a:pt x="249" y="290"/>
                </a:cubicBezTo>
                <a:cubicBezTo>
                  <a:pt x="250" y="289"/>
                  <a:pt x="250" y="289"/>
                  <a:pt x="252" y="289"/>
                </a:cubicBezTo>
                <a:cubicBezTo>
                  <a:pt x="253" y="290"/>
                  <a:pt x="255" y="291"/>
                  <a:pt x="256" y="290"/>
                </a:cubicBezTo>
                <a:cubicBezTo>
                  <a:pt x="257" y="288"/>
                  <a:pt x="257" y="288"/>
                  <a:pt x="257" y="288"/>
                </a:cubicBezTo>
                <a:cubicBezTo>
                  <a:pt x="257" y="289"/>
                  <a:pt x="257" y="289"/>
                  <a:pt x="257" y="289"/>
                </a:cubicBezTo>
                <a:cubicBezTo>
                  <a:pt x="256" y="290"/>
                  <a:pt x="256" y="290"/>
                  <a:pt x="256" y="290"/>
                </a:cubicBezTo>
                <a:cubicBezTo>
                  <a:pt x="255" y="291"/>
                  <a:pt x="255" y="291"/>
                  <a:pt x="255" y="291"/>
                </a:cubicBezTo>
                <a:cubicBezTo>
                  <a:pt x="253" y="291"/>
                  <a:pt x="253" y="291"/>
                  <a:pt x="253" y="291"/>
                </a:cubicBezTo>
                <a:cubicBezTo>
                  <a:pt x="250" y="290"/>
                  <a:pt x="252" y="290"/>
                  <a:pt x="248" y="290"/>
                </a:cubicBezTo>
                <a:cubicBezTo>
                  <a:pt x="247" y="292"/>
                  <a:pt x="247" y="291"/>
                  <a:pt x="245" y="293"/>
                </a:cubicBezTo>
                <a:cubicBezTo>
                  <a:pt x="246" y="294"/>
                  <a:pt x="246" y="294"/>
                  <a:pt x="246" y="294"/>
                </a:cubicBezTo>
                <a:cubicBezTo>
                  <a:pt x="248" y="294"/>
                  <a:pt x="248" y="294"/>
                  <a:pt x="248" y="294"/>
                </a:cubicBezTo>
                <a:cubicBezTo>
                  <a:pt x="249" y="293"/>
                  <a:pt x="249" y="293"/>
                  <a:pt x="250" y="292"/>
                </a:cubicBezTo>
                <a:cubicBezTo>
                  <a:pt x="250" y="293"/>
                  <a:pt x="250" y="293"/>
                  <a:pt x="250" y="293"/>
                </a:cubicBezTo>
                <a:cubicBezTo>
                  <a:pt x="249" y="294"/>
                  <a:pt x="249" y="294"/>
                  <a:pt x="249" y="294"/>
                </a:cubicBezTo>
                <a:cubicBezTo>
                  <a:pt x="248" y="294"/>
                  <a:pt x="244" y="294"/>
                  <a:pt x="244" y="294"/>
                </a:cubicBezTo>
                <a:cubicBezTo>
                  <a:pt x="243" y="295"/>
                  <a:pt x="243" y="295"/>
                  <a:pt x="243" y="295"/>
                </a:cubicBezTo>
                <a:cubicBezTo>
                  <a:pt x="243" y="296"/>
                  <a:pt x="243" y="296"/>
                  <a:pt x="243" y="296"/>
                </a:cubicBezTo>
                <a:cubicBezTo>
                  <a:pt x="244" y="296"/>
                  <a:pt x="244" y="297"/>
                  <a:pt x="245" y="296"/>
                </a:cubicBezTo>
                <a:cubicBezTo>
                  <a:pt x="248" y="296"/>
                  <a:pt x="248" y="296"/>
                  <a:pt x="251" y="295"/>
                </a:cubicBezTo>
                <a:cubicBezTo>
                  <a:pt x="251" y="295"/>
                  <a:pt x="251" y="295"/>
                  <a:pt x="251" y="295"/>
                </a:cubicBezTo>
                <a:cubicBezTo>
                  <a:pt x="247" y="297"/>
                  <a:pt x="248" y="297"/>
                  <a:pt x="244" y="297"/>
                </a:cubicBezTo>
                <a:cubicBezTo>
                  <a:pt x="244" y="298"/>
                  <a:pt x="244" y="298"/>
                  <a:pt x="244" y="298"/>
                </a:cubicBezTo>
                <a:cubicBezTo>
                  <a:pt x="247" y="299"/>
                  <a:pt x="247" y="299"/>
                  <a:pt x="247" y="299"/>
                </a:cubicBezTo>
                <a:cubicBezTo>
                  <a:pt x="248" y="298"/>
                  <a:pt x="248" y="298"/>
                  <a:pt x="248" y="298"/>
                </a:cubicBezTo>
                <a:cubicBezTo>
                  <a:pt x="250" y="298"/>
                  <a:pt x="250" y="298"/>
                  <a:pt x="250" y="298"/>
                </a:cubicBezTo>
                <a:cubicBezTo>
                  <a:pt x="251" y="297"/>
                  <a:pt x="251" y="297"/>
                  <a:pt x="251" y="297"/>
                </a:cubicBezTo>
                <a:cubicBezTo>
                  <a:pt x="252" y="298"/>
                  <a:pt x="253" y="299"/>
                  <a:pt x="253" y="300"/>
                </a:cubicBezTo>
                <a:cubicBezTo>
                  <a:pt x="253" y="301"/>
                  <a:pt x="253" y="301"/>
                  <a:pt x="253" y="301"/>
                </a:cubicBezTo>
                <a:cubicBezTo>
                  <a:pt x="254" y="302"/>
                  <a:pt x="254" y="302"/>
                  <a:pt x="256" y="302"/>
                </a:cubicBezTo>
                <a:cubicBezTo>
                  <a:pt x="256" y="300"/>
                  <a:pt x="258" y="298"/>
                  <a:pt x="259" y="296"/>
                </a:cubicBezTo>
                <a:cubicBezTo>
                  <a:pt x="260" y="297"/>
                  <a:pt x="260" y="297"/>
                  <a:pt x="260" y="297"/>
                </a:cubicBezTo>
                <a:cubicBezTo>
                  <a:pt x="258" y="299"/>
                  <a:pt x="257" y="300"/>
                  <a:pt x="256" y="303"/>
                </a:cubicBezTo>
                <a:cubicBezTo>
                  <a:pt x="257" y="304"/>
                  <a:pt x="257" y="304"/>
                  <a:pt x="258" y="306"/>
                </a:cubicBezTo>
                <a:cubicBezTo>
                  <a:pt x="260" y="305"/>
                  <a:pt x="260" y="305"/>
                  <a:pt x="260" y="305"/>
                </a:cubicBezTo>
                <a:cubicBezTo>
                  <a:pt x="264" y="302"/>
                  <a:pt x="262" y="303"/>
                  <a:pt x="264" y="303"/>
                </a:cubicBezTo>
                <a:cubicBezTo>
                  <a:pt x="266" y="302"/>
                  <a:pt x="266" y="302"/>
                  <a:pt x="266" y="302"/>
                </a:cubicBezTo>
                <a:cubicBezTo>
                  <a:pt x="266" y="303"/>
                  <a:pt x="266" y="303"/>
                  <a:pt x="266" y="303"/>
                </a:cubicBezTo>
                <a:cubicBezTo>
                  <a:pt x="260" y="305"/>
                  <a:pt x="262" y="304"/>
                  <a:pt x="261" y="306"/>
                </a:cubicBezTo>
                <a:cubicBezTo>
                  <a:pt x="259" y="307"/>
                  <a:pt x="259" y="307"/>
                  <a:pt x="259" y="307"/>
                </a:cubicBezTo>
                <a:cubicBezTo>
                  <a:pt x="258" y="309"/>
                  <a:pt x="258" y="309"/>
                  <a:pt x="258" y="309"/>
                </a:cubicBezTo>
                <a:cubicBezTo>
                  <a:pt x="259" y="310"/>
                  <a:pt x="259" y="310"/>
                  <a:pt x="259" y="310"/>
                </a:cubicBezTo>
                <a:cubicBezTo>
                  <a:pt x="263" y="310"/>
                  <a:pt x="261" y="311"/>
                  <a:pt x="263" y="309"/>
                </a:cubicBezTo>
                <a:cubicBezTo>
                  <a:pt x="265" y="308"/>
                  <a:pt x="265" y="307"/>
                  <a:pt x="267" y="307"/>
                </a:cubicBezTo>
                <a:cubicBezTo>
                  <a:pt x="267" y="306"/>
                  <a:pt x="267" y="306"/>
                  <a:pt x="267" y="306"/>
                </a:cubicBezTo>
                <a:cubicBezTo>
                  <a:pt x="267" y="307"/>
                  <a:pt x="267" y="307"/>
                  <a:pt x="267" y="307"/>
                </a:cubicBezTo>
                <a:cubicBezTo>
                  <a:pt x="265" y="308"/>
                  <a:pt x="265" y="308"/>
                  <a:pt x="265" y="308"/>
                </a:cubicBezTo>
                <a:cubicBezTo>
                  <a:pt x="263" y="309"/>
                  <a:pt x="264" y="310"/>
                  <a:pt x="263" y="311"/>
                </a:cubicBezTo>
                <a:cubicBezTo>
                  <a:pt x="262" y="311"/>
                  <a:pt x="262" y="311"/>
                  <a:pt x="262" y="311"/>
                </a:cubicBezTo>
                <a:cubicBezTo>
                  <a:pt x="261" y="313"/>
                  <a:pt x="261" y="313"/>
                  <a:pt x="261" y="313"/>
                </a:cubicBezTo>
                <a:cubicBezTo>
                  <a:pt x="261" y="314"/>
                  <a:pt x="261" y="314"/>
                  <a:pt x="261" y="314"/>
                </a:cubicBezTo>
                <a:cubicBezTo>
                  <a:pt x="263" y="313"/>
                  <a:pt x="263" y="313"/>
                  <a:pt x="263" y="313"/>
                </a:cubicBezTo>
                <a:cubicBezTo>
                  <a:pt x="262" y="314"/>
                  <a:pt x="262" y="314"/>
                  <a:pt x="262" y="314"/>
                </a:cubicBezTo>
                <a:cubicBezTo>
                  <a:pt x="264" y="315"/>
                  <a:pt x="264" y="315"/>
                  <a:pt x="264" y="315"/>
                </a:cubicBezTo>
                <a:cubicBezTo>
                  <a:pt x="265" y="314"/>
                  <a:pt x="265" y="314"/>
                  <a:pt x="265" y="314"/>
                </a:cubicBezTo>
                <a:cubicBezTo>
                  <a:pt x="267" y="313"/>
                  <a:pt x="267" y="313"/>
                  <a:pt x="267" y="313"/>
                </a:cubicBezTo>
                <a:cubicBezTo>
                  <a:pt x="269" y="311"/>
                  <a:pt x="269" y="311"/>
                  <a:pt x="269" y="311"/>
                </a:cubicBezTo>
                <a:cubicBezTo>
                  <a:pt x="269" y="313"/>
                  <a:pt x="269" y="313"/>
                  <a:pt x="269" y="313"/>
                </a:cubicBezTo>
                <a:cubicBezTo>
                  <a:pt x="269" y="313"/>
                  <a:pt x="269" y="315"/>
                  <a:pt x="269" y="315"/>
                </a:cubicBezTo>
                <a:cubicBezTo>
                  <a:pt x="269" y="315"/>
                  <a:pt x="267" y="315"/>
                  <a:pt x="267" y="315"/>
                </a:cubicBezTo>
                <a:cubicBezTo>
                  <a:pt x="265" y="317"/>
                  <a:pt x="265" y="317"/>
                  <a:pt x="265" y="317"/>
                </a:cubicBezTo>
                <a:cubicBezTo>
                  <a:pt x="266" y="317"/>
                  <a:pt x="266" y="318"/>
                  <a:pt x="266" y="319"/>
                </a:cubicBezTo>
                <a:cubicBezTo>
                  <a:pt x="266" y="322"/>
                  <a:pt x="266" y="322"/>
                  <a:pt x="266" y="322"/>
                </a:cubicBezTo>
                <a:cubicBezTo>
                  <a:pt x="266" y="324"/>
                  <a:pt x="266" y="323"/>
                  <a:pt x="265" y="326"/>
                </a:cubicBezTo>
                <a:cubicBezTo>
                  <a:pt x="265" y="328"/>
                  <a:pt x="265" y="328"/>
                  <a:pt x="265" y="328"/>
                </a:cubicBezTo>
                <a:cubicBezTo>
                  <a:pt x="263" y="331"/>
                  <a:pt x="263" y="331"/>
                  <a:pt x="263" y="331"/>
                </a:cubicBezTo>
                <a:cubicBezTo>
                  <a:pt x="261" y="333"/>
                  <a:pt x="261" y="333"/>
                  <a:pt x="261" y="333"/>
                </a:cubicBezTo>
                <a:cubicBezTo>
                  <a:pt x="260" y="334"/>
                  <a:pt x="261" y="335"/>
                  <a:pt x="258" y="337"/>
                </a:cubicBezTo>
                <a:cubicBezTo>
                  <a:pt x="257" y="338"/>
                  <a:pt x="257" y="337"/>
                  <a:pt x="256" y="339"/>
                </a:cubicBezTo>
                <a:cubicBezTo>
                  <a:pt x="254" y="339"/>
                  <a:pt x="253" y="339"/>
                  <a:pt x="251" y="340"/>
                </a:cubicBezTo>
                <a:cubicBezTo>
                  <a:pt x="251" y="339"/>
                  <a:pt x="251" y="339"/>
                  <a:pt x="251" y="339"/>
                </a:cubicBezTo>
                <a:cubicBezTo>
                  <a:pt x="253" y="339"/>
                  <a:pt x="253" y="339"/>
                  <a:pt x="254" y="338"/>
                </a:cubicBezTo>
                <a:cubicBezTo>
                  <a:pt x="256" y="337"/>
                  <a:pt x="255" y="337"/>
                  <a:pt x="257" y="337"/>
                </a:cubicBezTo>
                <a:cubicBezTo>
                  <a:pt x="258" y="334"/>
                  <a:pt x="258" y="334"/>
                  <a:pt x="258" y="334"/>
                </a:cubicBezTo>
                <a:cubicBezTo>
                  <a:pt x="257" y="333"/>
                  <a:pt x="257" y="333"/>
                  <a:pt x="257" y="333"/>
                </a:cubicBezTo>
                <a:cubicBezTo>
                  <a:pt x="259" y="332"/>
                  <a:pt x="259" y="332"/>
                  <a:pt x="259" y="332"/>
                </a:cubicBezTo>
                <a:cubicBezTo>
                  <a:pt x="261" y="330"/>
                  <a:pt x="260" y="330"/>
                  <a:pt x="258" y="327"/>
                </a:cubicBezTo>
                <a:cubicBezTo>
                  <a:pt x="254" y="328"/>
                  <a:pt x="254" y="328"/>
                  <a:pt x="254" y="328"/>
                </a:cubicBezTo>
                <a:cubicBezTo>
                  <a:pt x="250" y="327"/>
                  <a:pt x="250" y="327"/>
                  <a:pt x="250" y="327"/>
                </a:cubicBezTo>
                <a:cubicBezTo>
                  <a:pt x="249" y="326"/>
                  <a:pt x="249" y="326"/>
                  <a:pt x="249" y="326"/>
                </a:cubicBezTo>
                <a:cubicBezTo>
                  <a:pt x="246" y="326"/>
                  <a:pt x="246" y="326"/>
                  <a:pt x="246" y="326"/>
                </a:cubicBezTo>
                <a:cubicBezTo>
                  <a:pt x="244" y="328"/>
                  <a:pt x="244" y="328"/>
                  <a:pt x="244" y="328"/>
                </a:cubicBezTo>
                <a:cubicBezTo>
                  <a:pt x="243" y="331"/>
                  <a:pt x="243" y="331"/>
                  <a:pt x="243" y="331"/>
                </a:cubicBezTo>
                <a:cubicBezTo>
                  <a:pt x="243" y="331"/>
                  <a:pt x="244" y="333"/>
                  <a:pt x="244" y="333"/>
                </a:cubicBezTo>
                <a:cubicBezTo>
                  <a:pt x="244" y="333"/>
                  <a:pt x="243" y="334"/>
                  <a:pt x="243" y="334"/>
                </a:cubicBezTo>
                <a:cubicBezTo>
                  <a:pt x="242" y="337"/>
                  <a:pt x="242" y="337"/>
                  <a:pt x="242" y="337"/>
                </a:cubicBezTo>
                <a:cubicBezTo>
                  <a:pt x="241" y="339"/>
                  <a:pt x="241" y="338"/>
                  <a:pt x="241" y="340"/>
                </a:cubicBezTo>
                <a:cubicBezTo>
                  <a:pt x="242" y="340"/>
                  <a:pt x="242" y="340"/>
                  <a:pt x="243" y="341"/>
                </a:cubicBezTo>
                <a:cubicBezTo>
                  <a:pt x="241" y="341"/>
                  <a:pt x="241" y="341"/>
                  <a:pt x="240" y="342"/>
                </a:cubicBezTo>
                <a:cubicBezTo>
                  <a:pt x="241" y="343"/>
                  <a:pt x="241" y="343"/>
                  <a:pt x="241" y="343"/>
                </a:cubicBezTo>
                <a:cubicBezTo>
                  <a:pt x="241" y="344"/>
                  <a:pt x="241" y="344"/>
                  <a:pt x="241" y="344"/>
                </a:cubicBezTo>
                <a:cubicBezTo>
                  <a:pt x="240" y="344"/>
                  <a:pt x="240" y="344"/>
                  <a:pt x="240" y="344"/>
                </a:cubicBezTo>
                <a:cubicBezTo>
                  <a:pt x="239" y="346"/>
                  <a:pt x="238" y="346"/>
                  <a:pt x="236" y="347"/>
                </a:cubicBezTo>
                <a:cubicBezTo>
                  <a:pt x="236" y="348"/>
                  <a:pt x="236" y="348"/>
                  <a:pt x="236" y="348"/>
                </a:cubicBezTo>
                <a:cubicBezTo>
                  <a:pt x="238" y="348"/>
                  <a:pt x="238" y="348"/>
                  <a:pt x="240" y="348"/>
                </a:cubicBezTo>
                <a:cubicBezTo>
                  <a:pt x="242" y="349"/>
                  <a:pt x="241" y="349"/>
                  <a:pt x="243" y="350"/>
                </a:cubicBezTo>
                <a:cubicBezTo>
                  <a:pt x="243" y="350"/>
                  <a:pt x="243" y="350"/>
                  <a:pt x="243" y="350"/>
                </a:cubicBezTo>
                <a:cubicBezTo>
                  <a:pt x="239" y="349"/>
                  <a:pt x="239" y="349"/>
                  <a:pt x="239" y="349"/>
                </a:cubicBezTo>
                <a:cubicBezTo>
                  <a:pt x="239" y="349"/>
                  <a:pt x="237" y="349"/>
                  <a:pt x="237" y="349"/>
                </a:cubicBezTo>
                <a:cubicBezTo>
                  <a:pt x="235" y="351"/>
                  <a:pt x="235" y="351"/>
                  <a:pt x="235" y="351"/>
                </a:cubicBezTo>
                <a:cubicBezTo>
                  <a:pt x="233" y="355"/>
                  <a:pt x="233" y="355"/>
                  <a:pt x="233" y="355"/>
                </a:cubicBezTo>
                <a:cubicBezTo>
                  <a:pt x="229" y="360"/>
                  <a:pt x="229" y="360"/>
                  <a:pt x="229" y="360"/>
                </a:cubicBezTo>
                <a:cubicBezTo>
                  <a:pt x="227" y="363"/>
                  <a:pt x="225" y="366"/>
                  <a:pt x="222" y="369"/>
                </a:cubicBezTo>
                <a:cubicBezTo>
                  <a:pt x="221" y="371"/>
                  <a:pt x="220" y="373"/>
                  <a:pt x="218" y="375"/>
                </a:cubicBezTo>
                <a:cubicBezTo>
                  <a:pt x="217" y="377"/>
                  <a:pt x="209" y="384"/>
                  <a:pt x="208" y="386"/>
                </a:cubicBezTo>
                <a:cubicBezTo>
                  <a:pt x="208" y="389"/>
                  <a:pt x="208" y="389"/>
                  <a:pt x="208" y="389"/>
                </a:cubicBezTo>
                <a:cubicBezTo>
                  <a:pt x="208" y="389"/>
                  <a:pt x="205" y="391"/>
                  <a:pt x="205" y="391"/>
                </a:cubicBezTo>
                <a:cubicBezTo>
                  <a:pt x="205" y="391"/>
                  <a:pt x="204" y="393"/>
                  <a:pt x="204" y="393"/>
                </a:cubicBezTo>
                <a:cubicBezTo>
                  <a:pt x="205" y="395"/>
                  <a:pt x="205" y="395"/>
                  <a:pt x="205" y="395"/>
                </a:cubicBezTo>
                <a:cubicBezTo>
                  <a:pt x="204" y="398"/>
                  <a:pt x="204" y="398"/>
                  <a:pt x="204" y="398"/>
                </a:cubicBezTo>
                <a:cubicBezTo>
                  <a:pt x="204" y="400"/>
                  <a:pt x="204" y="400"/>
                  <a:pt x="204" y="400"/>
                </a:cubicBezTo>
                <a:cubicBezTo>
                  <a:pt x="200" y="404"/>
                  <a:pt x="200" y="404"/>
                  <a:pt x="200" y="404"/>
                </a:cubicBezTo>
                <a:cubicBezTo>
                  <a:pt x="199" y="407"/>
                  <a:pt x="199" y="407"/>
                  <a:pt x="199" y="407"/>
                </a:cubicBezTo>
                <a:cubicBezTo>
                  <a:pt x="197" y="409"/>
                  <a:pt x="197" y="409"/>
                  <a:pt x="195" y="410"/>
                </a:cubicBezTo>
                <a:cubicBezTo>
                  <a:pt x="194" y="412"/>
                  <a:pt x="194" y="412"/>
                  <a:pt x="193" y="414"/>
                </a:cubicBezTo>
                <a:cubicBezTo>
                  <a:pt x="194" y="415"/>
                  <a:pt x="194" y="415"/>
                  <a:pt x="194" y="415"/>
                </a:cubicBezTo>
                <a:cubicBezTo>
                  <a:pt x="195" y="419"/>
                  <a:pt x="195" y="419"/>
                  <a:pt x="195" y="419"/>
                </a:cubicBezTo>
                <a:cubicBezTo>
                  <a:pt x="195" y="421"/>
                  <a:pt x="194" y="422"/>
                  <a:pt x="193" y="423"/>
                </a:cubicBezTo>
                <a:cubicBezTo>
                  <a:pt x="191" y="426"/>
                  <a:pt x="192" y="426"/>
                  <a:pt x="192" y="427"/>
                </a:cubicBezTo>
                <a:cubicBezTo>
                  <a:pt x="191" y="428"/>
                  <a:pt x="191" y="428"/>
                  <a:pt x="191" y="428"/>
                </a:cubicBezTo>
                <a:cubicBezTo>
                  <a:pt x="191" y="429"/>
                  <a:pt x="191" y="429"/>
                  <a:pt x="192" y="430"/>
                </a:cubicBezTo>
                <a:cubicBezTo>
                  <a:pt x="192" y="432"/>
                  <a:pt x="192" y="432"/>
                  <a:pt x="192" y="432"/>
                </a:cubicBezTo>
                <a:cubicBezTo>
                  <a:pt x="193" y="434"/>
                  <a:pt x="193" y="434"/>
                  <a:pt x="193" y="434"/>
                </a:cubicBezTo>
                <a:cubicBezTo>
                  <a:pt x="193" y="436"/>
                  <a:pt x="193" y="436"/>
                  <a:pt x="193" y="436"/>
                </a:cubicBezTo>
                <a:cubicBezTo>
                  <a:pt x="193" y="438"/>
                  <a:pt x="193" y="438"/>
                  <a:pt x="193" y="438"/>
                </a:cubicBezTo>
                <a:cubicBezTo>
                  <a:pt x="194" y="439"/>
                  <a:pt x="194" y="439"/>
                  <a:pt x="194" y="439"/>
                </a:cubicBezTo>
                <a:cubicBezTo>
                  <a:pt x="194" y="440"/>
                  <a:pt x="194" y="440"/>
                  <a:pt x="195" y="442"/>
                </a:cubicBezTo>
                <a:cubicBezTo>
                  <a:pt x="196" y="442"/>
                  <a:pt x="196" y="442"/>
                  <a:pt x="196" y="442"/>
                </a:cubicBezTo>
                <a:cubicBezTo>
                  <a:pt x="196" y="440"/>
                  <a:pt x="196" y="440"/>
                  <a:pt x="196" y="440"/>
                </a:cubicBezTo>
                <a:cubicBezTo>
                  <a:pt x="197" y="438"/>
                  <a:pt x="197" y="438"/>
                  <a:pt x="197" y="438"/>
                </a:cubicBezTo>
                <a:cubicBezTo>
                  <a:pt x="199" y="437"/>
                  <a:pt x="199" y="437"/>
                  <a:pt x="199" y="437"/>
                </a:cubicBezTo>
                <a:cubicBezTo>
                  <a:pt x="199" y="438"/>
                  <a:pt x="199" y="438"/>
                  <a:pt x="199" y="438"/>
                </a:cubicBezTo>
                <a:cubicBezTo>
                  <a:pt x="201" y="437"/>
                  <a:pt x="201" y="437"/>
                  <a:pt x="201" y="437"/>
                </a:cubicBezTo>
                <a:cubicBezTo>
                  <a:pt x="203" y="438"/>
                  <a:pt x="202" y="438"/>
                  <a:pt x="204" y="438"/>
                </a:cubicBezTo>
                <a:cubicBezTo>
                  <a:pt x="205" y="437"/>
                  <a:pt x="205" y="437"/>
                  <a:pt x="205" y="437"/>
                </a:cubicBezTo>
                <a:cubicBezTo>
                  <a:pt x="207" y="438"/>
                  <a:pt x="207" y="438"/>
                  <a:pt x="207" y="438"/>
                </a:cubicBezTo>
                <a:cubicBezTo>
                  <a:pt x="206" y="439"/>
                  <a:pt x="206" y="439"/>
                  <a:pt x="206" y="439"/>
                </a:cubicBezTo>
                <a:cubicBezTo>
                  <a:pt x="205" y="438"/>
                  <a:pt x="205" y="438"/>
                  <a:pt x="205" y="438"/>
                </a:cubicBezTo>
                <a:cubicBezTo>
                  <a:pt x="205" y="439"/>
                  <a:pt x="205" y="439"/>
                  <a:pt x="205" y="439"/>
                </a:cubicBezTo>
                <a:cubicBezTo>
                  <a:pt x="203" y="439"/>
                  <a:pt x="203" y="439"/>
                  <a:pt x="202" y="439"/>
                </a:cubicBezTo>
                <a:cubicBezTo>
                  <a:pt x="200" y="438"/>
                  <a:pt x="197" y="439"/>
                  <a:pt x="197" y="441"/>
                </a:cubicBezTo>
                <a:cubicBezTo>
                  <a:pt x="198" y="442"/>
                  <a:pt x="198" y="442"/>
                  <a:pt x="198" y="442"/>
                </a:cubicBezTo>
                <a:cubicBezTo>
                  <a:pt x="198" y="444"/>
                  <a:pt x="198" y="444"/>
                  <a:pt x="198" y="444"/>
                </a:cubicBezTo>
                <a:cubicBezTo>
                  <a:pt x="196" y="443"/>
                  <a:pt x="196" y="443"/>
                  <a:pt x="196" y="443"/>
                </a:cubicBezTo>
                <a:cubicBezTo>
                  <a:pt x="195" y="443"/>
                  <a:pt x="195" y="443"/>
                  <a:pt x="193" y="444"/>
                </a:cubicBezTo>
                <a:cubicBezTo>
                  <a:pt x="194" y="447"/>
                  <a:pt x="193" y="446"/>
                  <a:pt x="193" y="449"/>
                </a:cubicBezTo>
                <a:cubicBezTo>
                  <a:pt x="195" y="450"/>
                  <a:pt x="195" y="450"/>
                  <a:pt x="195" y="450"/>
                </a:cubicBezTo>
                <a:cubicBezTo>
                  <a:pt x="196" y="450"/>
                  <a:pt x="195" y="449"/>
                  <a:pt x="197" y="451"/>
                </a:cubicBezTo>
                <a:cubicBezTo>
                  <a:pt x="195" y="454"/>
                  <a:pt x="197" y="452"/>
                  <a:pt x="194" y="454"/>
                </a:cubicBezTo>
                <a:cubicBezTo>
                  <a:pt x="193" y="455"/>
                  <a:pt x="193" y="456"/>
                  <a:pt x="193" y="457"/>
                </a:cubicBezTo>
                <a:cubicBezTo>
                  <a:pt x="193" y="458"/>
                  <a:pt x="195" y="460"/>
                  <a:pt x="195" y="461"/>
                </a:cubicBezTo>
                <a:cubicBezTo>
                  <a:pt x="196" y="462"/>
                  <a:pt x="195" y="464"/>
                  <a:pt x="197" y="466"/>
                </a:cubicBezTo>
                <a:cubicBezTo>
                  <a:pt x="198" y="467"/>
                  <a:pt x="198" y="467"/>
                  <a:pt x="198" y="467"/>
                </a:cubicBezTo>
                <a:cubicBezTo>
                  <a:pt x="198" y="468"/>
                  <a:pt x="197" y="469"/>
                  <a:pt x="197" y="469"/>
                </a:cubicBezTo>
                <a:cubicBezTo>
                  <a:pt x="197" y="470"/>
                  <a:pt x="198" y="470"/>
                  <a:pt x="199" y="470"/>
                </a:cubicBezTo>
                <a:cubicBezTo>
                  <a:pt x="199" y="471"/>
                  <a:pt x="199" y="471"/>
                  <a:pt x="199" y="471"/>
                </a:cubicBezTo>
                <a:cubicBezTo>
                  <a:pt x="197" y="473"/>
                  <a:pt x="198" y="474"/>
                  <a:pt x="197" y="475"/>
                </a:cubicBezTo>
                <a:cubicBezTo>
                  <a:pt x="196" y="476"/>
                  <a:pt x="196" y="476"/>
                  <a:pt x="196" y="476"/>
                </a:cubicBezTo>
                <a:cubicBezTo>
                  <a:pt x="197" y="478"/>
                  <a:pt x="197" y="478"/>
                  <a:pt x="197" y="478"/>
                </a:cubicBezTo>
                <a:cubicBezTo>
                  <a:pt x="199" y="477"/>
                  <a:pt x="199" y="477"/>
                  <a:pt x="199" y="477"/>
                </a:cubicBezTo>
                <a:cubicBezTo>
                  <a:pt x="199" y="477"/>
                  <a:pt x="202" y="478"/>
                  <a:pt x="202" y="478"/>
                </a:cubicBezTo>
                <a:cubicBezTo>
                  <a:pt x="203" y="478"/>
                  <a:pt x="203" y="479"/>
                  <a:pt x="203" y="479"/>
                </a:cubicBezTo>
                <a:cubicBezTo>
                  <a:pt x="205" y="478"/>
                  <a:pt x="205" y="478"/>
                  <a:pt x="205" y="478"/>
                </a:cubicBezTo>
                <a:cubicBezTo>
                  <a:pt x="206" y="479"/>
                  <a:pt x="206" y="479"/>
                  <a:pt x="206" y="479"/>
                </a:cubicBezTo>
                <a:cubicBezTo>
                  <a:pt x="208" y="482"/>
                  <a:pt x="208" y="482"/>
                  <a:pt x="208" y="482"/>
                </a:cubicBezTo>
                <a:cubicBezTo>
                  <a:pt x="213" y="482"/>
                  <a:pt x="213" y="482"/>
                  <a:pt x="213" y="482"/>
                </a:cubicBezTo>
                <a:cubicBezTo>
                  <a:pt x="213" y="484"/>
                  <a:pt x="213" y="484"/>
                  <a:pt x="213" y="484"/>
                </a:cubicBezTo>
                <a:cubicBezTo>
                  <a:pt x="213" y="485"/>
                  <a:pt x="213" y="485"/>
                  <a:pt x="213" y="485"/>
                </a:cubicBezTo>
                <a:cubicBezTo>
                  <a:pt x="213" y="486"/>
                  <a:pt x="213" y="486"/>
                  <a:pt x="213" y="486"/>
                </a:cubicBezTo>
                <a:cubicBezTo>
                  <a:pt x="214" y="486"/>
                  <a:pt x="214" y="486"/>
                  <a:pt x="215" y="486"/>
                </a:cubicBezTo>
                <a:cubicBezTo>
                  <a:pt x="216" y="487"/>
                  <a:pt x="220" y="491"/>
                  <a:pt x="220" y="492"/>
                </a:cubicBezTo>
                <a:cubicBezTo>
                  <a:pt x="220" y="495"/>
                  <a:pt x="220" y="495"/>
                  <a:pt x="220" y="495"/>
                </a:cubicBezTo>
                <a:cubicBezTo>
                  <a:pt x="219" y="497"/>
                  <a:pt x="219" y="497"/>
                  <a:pt x="219" y="497"/>
                </a:cubicBezTo>
                <a:cubicBezTo>
                  <a:pt x="220" y="497"/>
                  <a:pt x="220" y="497"/>
                  <a:pt x="220" y="497"/>
                </a:cubicBezTo>
                <a:cubicBezTo>
                  <a:pt x="242" y="497"/>
                  <a:pt x="242" y="497"/>
                  <a:pt x="242" y="497"/>
                </a:cubicBezTo>
                <a:cubicBezTo>
                  <a:pt x="220" y="497"/>
                  <a:pt x="220" y="497"/>
                  <a:pt x="220" y="497"/>
                </a:cubicBezTo>
                <a:cubicBezTo>
                  <a:pt x="220" y="502"/>
                  <a:pt x="220" y="502"/>
                  <a:pt x="220" y="502"/>
                </a:cubicBezTo>
                <a:cubicBezTo>
                  <a:pt x="221" y="504"/>
                  <a:pt x="221" y="504"/>
                  <a:pt x="221" y="504"/>
                </a:cubicBezTo>
                <a:cubicBezTo>
                  <a:pt x="220" y="504"/>
                  <a:pt x="220" y="504"/>
                  <a:pt x="220" y="504"/>
                </a:cubicBezTo>
                <a:cubicBezTo>
                  <a:pt x="221" y="507"/>
                  <a:pt x="221" y="507"/>
                  <a:pt x="221" y="507"/>
                </a:cubicBezTo>
                <a:cubicBezTo>
                  <a:pt x="220" y="509"/>
                  <a:pt x="220" y="509"/>
                  <a:pt x="220" y="509"/>
                </a:cubicBezTo>
                <a:cubicBezTo>
                  <a:pt x="221" y="512"/>
                  <a:pt x="221" y="512"/>
                  <a:pt x="221" y="512"/>
                </a:cubicBezTo>
                <a:cubicBezTo>
                  <a:pt x="220" y="515"/>
                  <a:pt x="220" y="515"/>
                  <a:pt x="220" y="515"/>
                </a:cubicBezTo>
                <a:cubicBezTo>
                  <a:pt x="221" y="517"/>
                  <a:pt x="221" y="517"/>
                  <a:pt x="221" y="517"/>
                </a:cubicBezTo>
                <a:cubicBezTo>
                  <a:pt x="221" y="519"/>
                  <a:pt x="221" y="522"/>
                  <a:pt x="222" y="524"/>
                </a:cubicBezTo>
                <a:cubicBezTo>
                  <a:pt x="222" y="525"/>
                  <a:pt x="222" y="525"/>
                  <a:pt x="222" y="525"/>
                </a:cubicBezTo>
                <a:cubicBezTo>
                  <a:pt x="221" y="527"/>
                  <a:pt x="221" y="527"/>
                  <a:pt x="221" y="527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4" y="531"/>
                  <a:pt x="224" y="531"/>
                  <a:pt x="224" y="531"/>
                </a:cubicBezTo>
                <a:cubicBezTo>
                  <a:pt x="226" y="533"/>
                  <a:pt x="225" y="533"/>
                  <a:pt x="228" y="534"/>
                </a:cubicBezTo>
                <a:cubicBezTo>
                  <a:pt x="228" y="535"/>
                  <a:pt x="228" y="535"/>
                  <a:pt x="228" y="535"/>
                </a:cubicBezTo>
                <a:cubicBezTo>
                  <a:pt x="231" y="542"/>
                  <a:pt x="231" y="542"/>
                  <a:pt x="231" y="542"/>
                </a:cubicBezTo>
                <a:cubicBezTo>
                  <a:pt x="232" y="544"/>
                  <a:pt x="232" y="544"/>
                  <a:pt x="232" y="544"/>
                </a:cubicBezTo>
                <a:cubicBezTo>
                  <a:pt x="231" y="547"/>
                  <a:pt x="232" y="545"/>
                  <a:pt x="231" y="547"/>
                </a:cubicBezTo>
                <a:cubicBezTo>
                  <a:pt x="229" y="550"/>
                  <a:pt x="229" y="550"/>
                  <a:pt x="229" y="550"/>
                </a:cubicBezTo>
                <a:cubicBezTo>
                  <a:pt x="233" y="552"/>
                  <a:pt x="230" y="553"/>
                  <a:pt x="230" y="553"/>
                </a:cubicBezTo>
                <a:cubicBezTo>
                  <a:pt x="228" y="553"/>
                  <a:pt x="229" y="552"/>
                  <a:pt x="224" y="552"/>
                </a:cubicBezTo>
                <a:cubicBezTo>
                  <a:pt x="222" y="552"/>
                  <a:pt x="222" y="552"/>
                  <a:pt x="222" y="552"/>
                </a:cubicBezTo>
                <a:cubicBezTo>
                  <a:pt x="222" y="553"/>
                  <a:pt x="222" y="553"/>
                  <a:pt x="222" y="553"/>
                </a:cubicBezTo>
                <a:cubicBezTo>
                  <a:pt x="222" y="555"/>
                  <a:pt x="222" y="555"/>
                  <a:pt x="222" y="555"/>
                </a:cubicBezTo>
                <a:cubicBezTo>
                  <a:pt x="224" y="556"/>
                  <a:pt x="224" y="556"/>
                  <a:pt x="224" y="556"/>
                </a:cubicBezTo>
                <a:cubicBezTo>
                  <a:pt x="224" y="557"/>
                  <a:pt x="224" y="557"/>
                  <a:pt x="224" y="557"/>
                </a:cubicBezTo>
                <a:cubicBezTo>
                  <a:pt x="226" y="559"/>
                  <a:pt x="226" y="559"/>
                  <a:pt x="226" y="559"/>
                </a:cubicBezTo>
                <a:cubicBezTo>
                  <a:pt x="228" y="559"/>
                  <a:pt x="228" y="559"/>
                  <a:pt x="228" y="559"/>
                </a:cubicBezTo>
                <a:cubicBezTo>
                  <a:pt x="228" y="561"/>
                  <a:pt x="228" y="561"/>
                  <a:pt x="228" y="561"/>
                </a:cubicBezTo>
                <a:cubicBezTo>
                  <a:pt x="231" y="562"/>
                  <a:pt x="231" y="562"/>
                  <a:pt x="231" y="562"/>
                </a:cubicBezTo>
                <a:cubicBezTo>
                  <a:pt x="231" y="563"/>
                  <a:pt x="231" y="563"/>
                  <a:pt x="231" y="563"/>
                </a:cubicBezTo>
                <a:cubicBezTo>
                  <a:pt x="233" y="563"/>
                  <a:pt x="232" y="563"/>
                  <a:pt x="235" y="562"/>
                </a:cubicBezTo>
                <a:cubicBezTo>
                  <a:pt x="235" y="562"/>
                  <a:pt x="236" y="561"/>
                  <a:pt x="236" y="561"/>
                </a:cubicBezTo>
                <a:cubicBezTo>
                  <a:pt x="235" y="564"/>
                  <a:pt x="235" y="564"/>
                  <a:pt x="235" y="564"/>
                </a:cubicBezTo>
                <a:cubicBezTo>
                  <a:pt x="239" y="566"/>
                  <a:pt x="239" y="566"/>
                  <a:pt x="239" y="566"/>
                </a:cubicBezTo>
                <a:cubicBezTo>
                  <a:pt x="239" y="566"/>
                  <a:pt x="238" y="568"/>
                  <a:pt x="239" y="568"/>
                </a:cubicBezTo>
                <a:cubicBezTo>
                  <a:pt x="240" y="568"/>
                  <a:pt x="241" y="570"/>
                  <a:pt x="242" y="570"/>
                </a:cubicBezTo>
                <a:cubicBezTo>
                  <a:pt x="242" y="574"/>
                  <a:pt x="242" y="574"/>
                  <a:pt x="242" y="574"/>
                </a:cubicBezTo>
                <a:cubicBezTo>
                  <a:pt x="242" y="579"/>
                  <a:pt x="242" y="579"/>
                  <a:pt x="242" y="579"/>
                </a:cubicBezTo>
                <a:cubicBezTo>
                  <a:pt x="242" y="579"/>
                  <a:pt x="241" y="581"/>
                  <a:pt x="240" y="582"/>
                </a:cubicBezTo>
                <a:cubicBezTo>
                  <a:pt x="239" y="582"/>
                  <a:pt x="236" y="585"/>
                  <a:pt x="236" y="585"/>
                </a:cubicBezTo>
                <a:cubicBezTo>
                  <a:pt x="239" y="585"/>
                  <a:pt x="239" y="585"/>
                  <a:pt x="239" y="585"/>
                </a:cubicBezTo>
                <a:cubicBezTo>
                  <a:pt x="239" y="585"/>
                  <a:pt x="240" y="585"/>
                  <a:pt x="240" y="585"/>
                </a:cubicBezTo>
                <a:cubicBezTo>
                  <a:pt x="240" y="586"/>
                  <a:pt x="244" y="587"/>
                  <a:pt x="244" y="587"/>
                </a:cubicBezTo>
                <a:cubicBezTo>
                  <a:pt x="244" y="588"/>
                  <a:pt x="246" y="592"/>
                  <a:pt x="247" y="592"/>
                </a:cubicBezTo>
                <a:cubicBezTo>
                  <a:pt x="247" y="592"/>
                  <a:pt x="249" y="593"/>
                  <a:pt x="249" y="593"/>
                </a:cubicBezTo>
                <a:cubicBezTo>
                  <a:pt x="252" y="596"/>
                  <a:pt x="252" y="596"/>
                  <a:pt x="252" y="596"/>
                </a:cubicBezTo>
                <a:cubicBezTo>
                  <a:pt x="252" y="596"/>
                  <a:pt x="255" y="598"/>
                  <a:pt x="255" y="598"/>
                </a:cubicBezTo>
                <a:cubicBezTo>
                  <a:pt x="255" y="599"/>
                  <a:pt x="256" y="601"/>
                  <a:pt x="256" y="601"/>
                </a:cubicBezTo>
                <a:cubicBezTo>
                  <a:pt x="256" y="605"/>
                  <a:pt x="256" y="605"/>
                  <a:pt x="256" y="605"/>
                </a:cubicBezTo>
                <a:cubicBezTo>
                  <a:pt x="257" y="606"/>
                  <a:pt x="257" y="606"/>
                  <a:pt x="257" y="606"/>
                </a:cubicBezTo>
                <a:cubicBezTo>
                  <a:pt x="260" y="604"/>
                  <a:pt x="259" y="605"/>
                  <a:pt x="262" y="603"/>
                </a:cubicBezTo>
                <a:cubicBezTo>
                  <a:pt x="263" y="602"/>
                  <a:pt x="263" y="603"/>
                  <a:pt x="263" y="600"/>
                </a:cubicBezTo>
                <a:cubicBezTo>
                  <a:pt x="263" y="599"/>
                  <a:pt x="264" y="600"/>
                  <a:pt x="262" y="599"/>
                </a:cubicBezTo>
                <a:cubicBezTo>
                  <a:pt x="260" y="595"/>
                  <a:pt x="260" y="596"/>
                  <a:pt x="260" y="593"/>
                </a:cubicBezTo>
                <a:cubicBezTo>
                  <a:pt x="259" y="593"/>
                  <a:pt x="258" y="590"/>
                  <a:pt x="258" y="590"/>
                </a:cubicBezTo>
                <a:cubicBezTo>
                  <a:pt x="257" y="590"/>
                  <a:pt x="256" y="591"/>
                  <a:pt x="255" y="592"/>
                </a:cubicBezTo>
                <a:cubicBezTo>
                  <a:pt x="253" y="590"/>
                  <a:pt x="253" y="590"/>
                  <a:pt x="253" y="590"/>
                </a:cubicBezTo>
                <a:cubicBezTo>
                  <a:pt x="253" y="587"/>
                  <a:pt x="253" y="587"/>
                  <a:pt x="253" y="587"/>
                </a:cubicBezTo>
                <a:cubicBezTo>
                  <a:pt x="254" y="585"/>
                  <a:pt x="254" y="585"/>
                  <a:pt x="254" y="585"/>
                </a:cubicBezTo>
                <a:cubicBezTo>
                  <a:pt x="254" y="584"/>
                  <a:pt x="254" y="584"/>
                  <a:pt x="254" y="584"/>
                </a:cubicBezTo>
                <a:cubicBezTo>
                  <a:pt x="256" y="584"/>
                  <a:pt x="256" y="584"/>
                  <a:pt x="256" y="584"/>
                </a:cubicBezTo>
                <a:cubicBezTo>
                  <a:pt x="255" y="581"/>
                  <a:pt x="255" y="581"/>
                  <a:pt x="255" y="581"/>
                </a:cubicBezTo>
                <a:cubicBezTo>
                  <a:pt x="253" y="582"/>
                  <a:pt x="253" y="582"/>
                  <a:pt x="253" y="582"/>
                </a:cubicBezTo>
                <a:cubicBezTo>
                  <a:pt x="253" y="580"/>
                  <a:pt x="252" y="576"/>
                  <a:pt x="251" y="575"/>
                </a:cubicBezTo>
                <a:cubicBezTo>
                  <a:pt x="254" y="574"/>
                  <a:pt x="254" y="574"/>
                  <a:pt x="254" y="574"/>
                </a:cubicBezTo>
                <a:cubicBezTo>
                  <a:pt x="255" y="574"/>
                  <a:pt x="254" y="571"/>
                  <a:pt x="254" y="571"/>
                </a:cubicBezTo>
                <a:cubicBezTo>
                  <a:pt x="252" y="572"/>
                  <a:pt x="252" y="572"/>
                  <a:pt x="251" y="573"/>
                </a:cubicBezTo>
                <a:cubicBezTo>
                  <a:pt x="251" y="572"/>
                  <a:pt x="251" y="569"/>
                  <a:pt x="251" y="569"/>
                </a:cubicBezTo>
                <a:cubicBezTo>
                  <a:pt x="251" y="569"/>
                  <a:pt x="252" y="568"/>
                  <a:pt x="251" y="566"/>
                </a:cubicBezTo>
                <a:cubicBezTo>
                  <a:pt x="250" y="565"/>
                  <a:pt x="250" y="562"/>
                  <a:pt x="250" y="562"/>
                </a:cubicBezTo>
                <a:cubicBezTo>
                  <a:pt x="248" y="564"/>
                  <a:pt x="248" y="564"/>
                  <a:pt x="248" y="564"/>
                </a:cubicBezTo>
                <a:cubicBezTo>
                  <a:pt x="248" y="564"/>
                  <a:pt x="248" y="560"/>
                  <a:pt x="248" y="560"/>
                </a:cubicBezTo>
                <a:cubicBezTo>
                  <a:pt x="247" y="558"/>
                  <a:pt x="247" y="558"/>
                  <a:pt x="247" y="558"/>
                </a:cubicBezTo>
                <a:cubicBezTo>
                  <a:pt x="246" y="556"/>
                  <a:pt x="246" y="555"/>
                  <a:pt x="246" y="555"/>
                </a:cubicBezTo>
                <a:cubicBezTo>
                  <a:pt x="246" y="555"/>
                  <a:pt x="243" y="552"/>
                  <a:pt x="243" y="551"/>
                </a:cubicBezTo>
                <a:cubicBezTo>
                  <a:pt x="243" y="550"/>
                  <a:pt x="243" y="544"/>
                  <a:pt x="243" y="544"/>
                </a:cubicBezTo>
                <a:cubicBezTo>
                  <a:pt x="241" y="542"/>
                  <a:pt x="241" y="542"/>
                  <a:pt x="241" y="542"/>
                </a:cubicBezTo>
                <a:cubicBezTo>
                  <a:pt x="241" y="541"/>
                  <a:pt x="239" y="537"/>
                  <a:pt x="239" y="535"/>
                </a:cubicBezTo>
                <a:cubicBezTo>
                  <a:pt x="239" y="535"/>
                  <a:pt x="239" y="533"/>
                  <a:pt x="239" y="533"/>
                </a:cubicBezTo>
                <a:cubicBezTo>
                  <a:pt x="234" y="527"/>
                  <a:pt x="234" y="527"/>
                  <a:pt x="234" y="527"/>
                </a:cubicBezTo>
                <a:cubicBezTo>
                  <a:pt x="233" y="524"/>
                  <a:pt x="233" y="524"/>
                  <a:pt x="233" y="524"/>
                </a:cubicBezTo>
                <a:cubicBezTo>
                  <a:pt x="235" y="520"/>
                  <a:pt x="235" y="520"/>
                  <a:pt x="235" y="520"/>
                </a:cubicBezTo>
                <a:cubicBezTo>
                  <a:pt x="235" y="519"/>
                  <a:pt x="235" y="514"/>
                  <a:pt x="235" y="514"/>
                </a:cubicBezTo>
                <a:cubicBezTo>
                  <a:pt x="239" y="509"/>
                  <a:pt x="239" y="509"/>
                  <a:pt x="239" y="509"/>
                </a:cubicBezTo>
                <a:cubicBezTo>
                  <a:pt x="241" y="509"/>
                  <a:pt x="241" y="509"/>
                  <a:pt x="241" y="509"/>
                </a:cubicBezTo>
                <a:cubicBezTo>
                  <a:pt x="242" y="511"/>
                  <a:pt x="242" y="511"/>
                  <a:pt x="242" y="511"/>
                </a:cubicBezTo>
                <a:cubicBezTo>
                  <a:pt x="245" y="511"/>
                  <a:pt x="245" y="511"/>
                  <a:pt x="245" y="511"/>
                </a:cubicBezTo>
                <a:cubicBezTo>
                  <a:pt x="246" y="510"/>
                  <a:pt x="246" y="510"/>
                  <a:pt x="246" y="510"/>
                </a:cubicBezTo>
                <a:cubicBezTo>
                  <a:pt x="248" y="512"/>
                  <a:pt x="247" y="511"/>
                  <a:pt x="248" y="513"/>
                </a:cubicBezTo>
                <a:cubicBezTo>
                  <a:pt x="250" y="513"/>
                  <a:pt x="250" y="513"/>
                  <a:pt x="251" y="515"/>
                </a:cubicBezTo>
                <a:cubicBezTo>
                  <a:pt x="250" y="516"/>
                  <a:pt x="250" y="516"/>
                  <a:pt x="250" y="516"/>
                </a:cubicBezTo>
                <a:cubicBezTo>
                  <a:pt x="250" y="519"/>
                  <a:pt x="250" y="519"/>
                  <a:pt x="250" y="519"/>
                </a:cubicBezTo>
                <a:cubicBezTo>
                  <a:pt x="250" y="520"/>
                  <a:pt x="251" y="525"/>
                  <a:pt x="250" y="526"/>
                </a:cubicBezTo>
                <a:cubicBezTo>
                  <a:pt x="250" y="527"/>
                  <a:pt x="250" y="527"/>
                  <a:pt x="250" y="527"/>
                </a:cubicBezTo>
                <a:cubicBezTo>
                  <a:pt x="251" y="532"/>
                  <a:pt x="251" y="532"/>
                  <a:pt x="251" y="532"/>
                </a:cubicBezTo>
                <a:cubicBezTo>
                  <a:pt x="251" y="535"/>
                  <a:pt x="251" y="535"/>
                  <a:pt x="251" y="535"/>
                </a:cubicBezTo>
                <a:cubicBezTo>
                  <a:pt x="252" y="536"/>
                  <a:pt x="252" y="536"/>
                  <a:pt x="252" y="536"/>
                </a:cubicBezTo>
                <a:cubicBezTo>
                  <a:pt x="251" y="536"/>
                  <a:pt x="250" y="536"/>
                  <a:pt x="249" y="537"/>
                </a:cubicBezTo>
                <a:cubicBezTo>
                  <a:pt x="248" y="540"/>
                  <a:pt x="248" y="540"/>
                  <a:pt x="248" y="540"/>
                </a:cubicBezTo>
                <a:cubicBezTo>
                  <a:pt x="251" y="542"/>
                  <a:pt x="251" y="542"/>
                  <a:pt x="251" y="542"/>
                </a:cubicBezTo>
                <a:cubicBezTo>
                  <a:pt x="251" y="540"/>
                  <a:pt x="251" y="540"/>
                  <a:pt x="251" y="540"/>
                </a:cubicBezTo>
                <a:cubicBezTo>
                  <a:pt x="251" y="538"/>
                  <a:pt x="251" y="538"/>
                  <a:pt x="251" y="538"/>
                </a:cubicBezTo>
                <a:cubicBezTo>
                  <a:pt x="252" y="537"/>
                  <a:pt x="252" y="537"/>
                  <a:pt x="252" y="537"/>
                </a:cubicBezTo>
                <a:cubicBezTo>
                  <a:pt x="252" y="539"/>
                  <a:pt x="252" y="539"/>
                  <a:pt x="252" y="539"/>
                </a:cubicBezTo>
                <a:cubicBezTo>
                  <a:pt x="254" y="540"/>
                  <a:pt x="254" y="540"/>
                  <a:pt x="254" y="540"/>
                </a:cubicBezTo>
                <a:cubicBezTo>
                  <a:pt x="256" y="542"/>
                  <a:pt x="256" y="542"/>
                  <a:pt x="256" y="542"/>
                </a:cubicBezTo>
                <a:cubicBezTo>
                  <a:pt x="256" y="543"/>
                  <a:pt x="256" y="543"/>
                  <a:pt x="256" y="543"/>
                </a:cubicBezTo>
                <a:cubicBezTo>
                  <a:pt x="258" y="545"/>
                  <a:pt x="258" y="545"/>
                  <a:pt x="258" y="545"/>
                </a:cubicBezTo>
                <a:cubicBezTo>
                  <a:pt x="258" y="548"/>
                  <a:pt x="258" y="548"/>
                  <a:pt x="258" y="548"/>
                </a:cubicBezTo>
                <a:cubicBezTo>
                  <a:pt x="258" y="548"/>
                  <a:pt x="259" y="550"/>
                  <a:pt x="260" y="550"/>
                </a:cubicBezTo>
                <a:cubicBezTo>
                  <a:pt x="260" y="550"/>
                  <a:pt x="262" y="550"/>
                  <a:pt x="262" y="550"/>
                </a:cubicBezTo>
                <a:cubicBezTo>
                  <a:pt x="265" y="550"/>
                  <a:pt x="262" y="552"/>
                  <a:pt x="262" y="554"/>
                </a:cubicBezTo>
                <a:cubicBezTo>
                  <a:pt x="262" y="555"/>
                  <a:pt x="262" y="557"/>
                  <a:pt x="262" y="557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67" y="560"/>
                  <a:pt x="267" y="560"/>
                  <a:pt x="267" y="560"/>
                </a:cubicBezTo>
                <a:cubicBezTo>
                  <a:pt x="267" y="563"/>
                  <a:pt x="267" y="563"/>
                  <a:pt x="267" y="563"/>
                </a:cubicBezTo>
                <a:cubicBezTo>
                  <a:pt x="268" y="564"/>
                  <a:pt x="270" y="563"/>
                  <a:pt x="271" y="565"/>
                </a:cubicBezTo>
                <a:cubicBezTo>
                  <a:pt x="272" y="567"/>
                  <a:pt x="272" y="567"/>
                  <a:pt x="272" y="567"/>
                </a:cubicBezTo>
                <a:cubicBezTo>
                  <a:pt x="271" y="570"/>
                  <a:pt x="271" y="570"/>
                  <a:pt x="271" y="570"/>
                </a:cubicBezTo>
                <a:cubicBezTo>
                  <a:pt x="270" y="572"/>
                  <a:pt x="270" y="572"/>
                  <a:pt x="270" y="572"/>
                </a:cubicBezTo>
                <a:cubicBezTo>
                  <a:pt x="270" y="572"/>
                  <a:pt x="269" y="573"/>
                  <a:pt x="269" y="574"/>
                </a:cubicBezTo>
                <a:cubicBezTo>
                  <a:pt x="269" y="574"/>
                  <a:pt x="270" y="576"/>
                  <a:pt x="270" y="576"/>
                </a:cubicBezTo>
                <a:cubicBezTo>
                  <a:pt x="273" y="577"/>
                  <a:pt x="273" y="577"/>
                  <a:pt x="273" y="577"/>
                </a:cubicBezTo>
                <a:cubicBezTo>
                  <a:pt x="273" y="577"/>
                  <a:pt x="273" y="577"/>
                  <a:pt x="273" y="577"/>
                </a:cubicBezTo>
                <a:cubicBezTo>
                  <a:pt x="276" y="579"/>
                  <a:pt x="276" y="579"/>
                  <a:pt x="276" y="579"/>
                </a:cubicBezTo>
                <a:cubicBezTo>
                  <a:pt x="279" y="581"/>
                  <a:pt x="279" y="581"/>
                  <a:pt x="279" y="581"/>
                </a:cubicBezTo>
                <a:cubicBezTo>
                  <a:pt x="279" y="581"/>
                  <a:pt x="280" y="582"/>
                  <a:pt x="280" y="583"/>
                </a:cubicBezTo>
                <a:cubicBezTo>
                  <a:pt x="280" y="583"/>
                  <a:pt x="279" y="586"/>
                  <a:pt x="279" y="586"/>
                </a:cubicBezTo>
                <a:cubicBezTo>
                  <a:pt x="281" y="589"/>
                  <a:pt x="281" y="589"/>
                  <a:pt x="281" y="589"/>
                </a:cubicBezTo>
                <a:cubicBezTo>
                  <a:pt x="282" y="590"/>
                  <a:pt x="288" y="594"/>
                  <a:pt x="288" y="596"/>
                </a:cubicBezTo>
                <a:cubicBezTo>
                  <a:pt x="288" y="596"/>
                  <a:pt x="289" y="599"/>
                  <a:pt x="289" y="599"/>
                </a:cubicBezTo>
                <a:cubicBezTo>
                  <a:pt x="293" y="603"/>
                  <a:pt x="293" y="603"/>
                  <a:pt x="293" y="603"/>
                </a:cubicBezTo>
                <a:cubicBezTo>
                  <a:pt x="293" y="606"/>
                  <a:pt x="293" y="606"/>
                  <a:pt x="293" y="606"/>
                </a:cubicBezTo>
                <a:cubicBezTo>
                  <a:pt x="296" y="610"/>
                  <a:pt x="296" y="610"/>
                  <a:pt x="296" y="610"/>
                </a:cubicBezTo>
                <a:cubicBezTo>
                  <a:pt x="296" y="613"/>
                  <a:pt x="296" y="613"/>
                  <a:pt x="296" y="613"/>
                </a:cubicBezTo>
                <a:cubicBezTo>
                  <a:pt x="296" y="615"/>
                  <a:pt x="297" y="618"/>
                  <a:pt x="297" y="620"/>
                </a:cubicBezTo>
                <a:cubicBezTo>
                  <a:pt x="297" y="620"/>
                  <a:pt x="299" y="621"/>
                  <a:pt x="299" y="621"/>
                </a:cubicBezTo>
                <a:cubicBezTo>
                  <a:pt x="299" y="622"/>
                  <a:pt x="298" y="625"/>
                  <a:pt x="298" y="625"/>
                </a:cubicBezTo>
                <a:cubicBezTo>
                  <a:pt x="298" y="626"/>
                  <a:pt x="298" y="628"/>
                  <a:pt x="297" y="628"/>
                </a:cubicBezTo>
                <a:cubicBezTo>
                  <a:pt x="296" y="628"/>
                  <a:pt x="294" y="629"/>
                  <a:pt x="295" y="629"/>
                </a:cubicBezTo>
                <a:cubicBezTo>
                  <a:pt x="296" y="629"/>
                  <a:pt x="297" y="630"/>
                  <a:pt x="297" y="630"/>
                </a:cubicBezTo>
                <a:cubicBezTo>
                  <a:pt x="297" y="631"/>
                  <a:pt x="295" y="632"/>
                  <a:pt x="294" y="632"/>
                </a:cubicBezTo>
                <a:cubicBezTo>
                  <a:pt x="293" y="632"/>
                  <a:pt x="291" y="632"/>
                  <a:pt x="291" y="632"/>
                </a:cubicBezTo>
                <a:cubicBezTo>
                  <a:pt x="292" y="633"/>
                  <a:pt x="292" y="633"/>
                  <a:pt x="292" y="633"/>
                </a:cubicBezTo>
                <a:cubicBezTo>
                  <a:pt x="292" y="635"/>
                  <a:pt x="292" y="635"/>
                  <a:pt x="292" y="635"/>
                </a:cubicBezTo>
                <a:cubicBezTo>
                  <a:pt x="294" y="635"/>
                  <a:pt x="294" y="635"/>
                  <a:pt x="294" y="635"/>
                </a:cubicBezTo>
                <a:cubicBezTo>
                  <a:pt x="294" y="640"/>
                  <a:pt x="294" y="640"/>
                  <a:pt x="294" y="640"/>
                </a:cubicBezTo>
                <a:cubicBezTo>
                  <a:pt x="298" y="642"/>
                  <a:pt x="297" y="642"/>
                  <a:pt x="298" y="646"/>
                </a:cubicBezTo>
                <a:cubicBezTo>
                  <a:pt x="301" y="647"/>
                  <a:pt x="302" y="648"/>
                  <a:pt x="304" y="650"/>
                </a:cubicBezTo>
                <a:cubicBezTo>
                  <a:pt x="306" y="652"/>
                  <a:pt x="306" y="652"/>
                  <a:pt x="306" y="652"/>
                </a:cubicBezTo>
                <a:cubicBezTo>
                  <a:pt x="309" y="656"/>
                  <a:pt x="309" y="656"/>
                  <a:pt x="309" y="656"/>
                </a:cubicBezTo>
                <a:cubicBezTo>
                  <a:pt x="318" y="660"/>
                  <a:pt x="318" y="660"/>
                  <a:pt x="318" y="660"/>
                </a:cubicBezTo>
                <a:cubicBezTo>
                  <a:pt x="319" y="661"/>
                  <a:pt x="324" y="660"/>
                  <a:pt x="325" y="661"/>
                </a:cubicBezTo>
                <a:cubicBezTo>
                  <a:pt x="327" y="664"/>
                  <a:pt x="327" y="664"/>
                  <a:pt x="327" y="664"/>
                </a:cubicBezTo>
                <a:cubicBezTo>
                  <a:pt x="333" y="669"/>
                  <a:pt x="333" y="669"/>
                  <a:pt x="333" y="669"/>
                </a:cubicBezTo>
                <a:cubicBezTo>
                  <a:pt x="341" y="672"/>
                  <a:pt x="341" y="672"/>
                  <a:pt x="341" y="672"/>
                </a:cubicBezTo>
                <a:cubicBezTo>
                  <a:pt x="343" y="674"/>
                  <a:pt x="343" y="674"/>
                  <a:pt x="343" y="674"/>
                </a:cubicBezTo>
                <a:cubicBezTo>
                  <a:pt x="348" y="676"/>
                  <a:pt x="348" y="676"/>
                  <a:pt x="348" y="676"/>
                </a:cubicBezTo>
                <a:cubicBezTo>
                  <a:pt x="353" y="677"/>
                  <a:pt x="353" y="677"/>
                  <a:pt x="353" y="677"/>
                </a:cubicBezTo>
                <a:cubicBezTo>
                  <a:pt x="356" y="680"/>
                  <a:pt x="356" y="680"/>
                  <a:pt x="356" y="680"/>
                </a:cubicBezTo>
                <a:cubicBezTo>
                  <a:pt x="358" y="681"/>
                  <a:pt x="358" y="681"/>
                  <a:pt x="358" y="681"/>
                </a:cubicBezTo>
                <a:cubicBezTo>
                  <a:pt x="362" y="684"/>
                  <a:pt x="362" y="684"/>
                  <a:pt x="362" y="684"/>
                </a:cubicBezTo>
                <a:cubicBezTo>
                  <a:pt x="365" y="684"/>
                  <a:pt x="365" y="684"/>
                  <a:pt x="365" y="684"/>
                </a:cubicBezTo>
                <a:cubicBezTo>
                  <a:pt x="370" y="686"/>
                  <a:pt x="370" y="686"/>
                  <a:pt x="370" y="686"/>
                </a:cubicBezTo>
                <a:cubicBezTo>
                  <a:pt x="375" y="685"/>
                  <a:pt x="375" y="685"/>
                  <a:pt x="375" y="685"/>
                </a:cubicBezTo>
                <a:cubicBezTo>
                  <a:pt x="383" y="683"/>
                  <a:pt x="383" y="683"/>
                  <a:pt x="383" y="683"/>
                </a:cubicBezTo>
                <a:cubicBezTo>
                  <a:pt x="390" y="680"/>
                  <a:pt x="390" y="680"/>
                  <a:pt x="390" y="680"/>
                </a:cubicBezTo>
                <a:cubicBezTo>
                  <a:pt x="395" y="680"/>
                  <a:pt x="395" y="680"/>
                  <a:pt x="395" y="680"/>
                </a:cubicBezTo>
                <a:cubicBezTo>
                  <a:pt x="395" y="680"/>
                  <a:pt x="396" y="682"/>
                  <a:pt x="397" y="682"/>
                </a:cubicBezTo>
                <a:cubicBezTo>
                  <a:pt x="399" y="683"/>
                  <a:pt x="404" y="687"/>
                  <a:pt x="405" y="689"/>
                </a:cubicBezTo>
                <a:cubicBezTo>
                  <a:pt x="409" y="694"/>
                  <a:pt x="409" y="694"/>
                  <a:pt x="409" y="694"/>
                </a:cubicBezTo>
                <a:cubicBezTo>
                  <a:pt x="411" y="698"/>
                  <a:pt x="411" y="698"/>
                  <a:pt x="411" y="698"/>
                </a:cubicBezTo>
                <a:cubicBezTo>
                  <a:pt x="413" y="699"/>
                  <a:pt x="413" y="699"/>
                  <a:pt x="413" y="699"/>
                </a:cubicBezTo>
                <a:cubicBezTo>
                  <a:pt x="414" y="697"/>
                  <a:pt x="414" y="696"/>
                  <a:pt x="414" y="696"/>
                </a:cubicBezTo>
                <a:cubicBezTo>
                  <a:pt x="414" y="696"/>
                  <a:pt x="414" y="696"/>
                  <a:pt x="414" y="696"/>
                </a:cubicBezTo>
                <a:cubicBezTo>
                  <a:pt x="413" y="700"/>
                  <a:pt x="413" y="700"/>
                  <a:pt x="413" y="700"/>
                </a:cubicBezTo>
                <a:cubicBezTo>
                  <a:pt x="415" y="703"/>
                  <a:pt x="415" y="703"/>
                  <a:pt x="415" y="703"/>
                </a:cubicBezTo>
                <a:cubicBezTo>
                  <a:pt x="419" y="706"/>
                  <a:pt x="419" y="706"/>
                  <a:pt x="419" y="706"/>
                </a:cubicBezTo>
                <a:cubicBezTo>
                  <a:pt x="423" y="707"/>
                  <a:pt x="423" y="707"/>
                  <a:pt x="423" y="707"/>
                </a:cubicBezTo>
                <a:cubicBezTo>
                  <a:pt x="428" y="706"/>
                  <a:pt x="428" y="706"/>
                  <a:pt x="428" y="706"/>
                </a:cubicBezTo>
                <a:cubicBezTo>
                  <a:pt x="431" y="708"/>
                  <a:pt x="429" y="707"/>
                  <a:pt x="433" y="708"/>
                </a:cubicBezTo>
                <a:cubicBezTo>
                  <a:pt x="434" y="709"/>
                  <a:pt x="436" y="710"/>
                  <a:pt x="437" y="711"/>
                </a:cubicBezTo>
                <a:cubicBezTo>
                  <a:pt x="437" y="711"/>
                  <a:pt x="441" y="711"/>
                  <a:pt x="441" y="711"/>
                </a:cubicBezTo>
                <a:cubicBezTo>
                  <a:pt x="442" y="712"/>
                  <a:pt x="442" y="712"/>
                  <a:pt x="442" y="712"/>
                </a:cubicBezTo>
                <a:cubicBezTo>
                  <a:pt x="446" y="713"/>
                  <a:pt x="446" y="713"/>
                  <a:pt x="446" y="713"/>
                </a:cubicBezTo>
                <a:cubicBezTo>
                  <a:pt x="449" y="713"/>
                  <a:pt x="449" y="713"/>
                  <a:pt x="449" y="713"/>
                </a:cubicBezTo>
                <a:cubicBezTo>
                  <a:pt x="449" y="713"/>
                  <a:pt x="450" y="714"/>
                  <a:pt x="451" y="714"/>
                </a:cubicBezTo>
                <a:cubicBezTo>
                  <a:pt x="451" y="714"/>
                  <a:pt x="454" y="714"/>
                  <a:pt x="454" y="714"/>
                </a:cubicBezTo>
                <a:cubicBezTo>
                  <a:pt x="455" y="712"/>
                  <a:pt x="455" y="712"/>
                  <a:pt x="455" y="712"/>
                </a:cubicBezTo>
                <a:cubicBezTo>
                  <a:pt x="455" y="712"/>
                  <a:pt x="455" y="712"/>
                  <a:pt x="456" y="712"/>
                </a:cubicBezTo>
                <a:cubicBezTo>
                  <a:pt x="456" y="712"/>
                  <a:pt x="456" y="712"/>
                  <a:pt x="456" y="712"/>
                </a:cubicBezTo>
                <a:cubicBezTo>
                  <a:pt x="456" y="712"/>
                  <a:pt x="456" y="712"/>
                  <a:pt x="456" y="712"/>
                </a:cubicBezTo>
                <a:cubicBezTo>
                  <a:pt x="459" y="713"/>
                  <a:pt x="458" y="713"/>
                  <a:pt x="460" y="716"/>
                </a:cubicBezTo>
                <a:cubicBezTo>
                  <a:pt x="460" y="716"/>
                  <a:pt x="460" y="716"/>
                  <a:pt x="460" y="716"/>
                </a:cubicBezTo>
                <a:cubicBezTo>
                  <a:pt x="459" y="717"/>
                  <a:pt x="459" y="717"/>
                  <a:pt x="459" y="717"/>
                </a:cubicBezTo>
                <a:cubicBezTo>
                  <a:pt x="458" y="717"/>
                  <a:pt x="458" y="715"/>
                  <a:pt x="457" y="715"/>
                </a:cubicBezTo>
                <a:cubicBezTo>
                  <a:pt x="456" y="715"/>
                  <a:pt x="454" y="716"/>
                  <a:pt x="455" y="717"/>
                </a:cubicBezTo>
                <a:cubicBezTo>
                  <a:pt x="455" y="719"/>
                  <a:pt x="457" y="719"/>
                  <a:pt x="459" y="721"/>
                </a:cubicBezTo>
                <a:cubicBezTo>
                  <a:pt x="460" y="722"/>
                  <a:pt x="462" y="723"/>
                  <a:pt x="463" y="724"/>
                </a:cubicBezTo>
                <a:cubicBezTo>
                  <a:pt x="464" y="725"/>
                  <a:pt x="466" y="731"/>
                  <a:pt x="467" y="732"/>
                </a:cubicBezTo>
                <a:cubicBezTo>
                  <a:pt x="468" y="734"/>
                  <a:pt x="470" y="735"/>
                  <a:pt x="470" y="735"/>
                </a:cubicBezTo>
                <a:cubicBezTo>
                  <a:pt x="472" y="737"/>
                  <a:pt x="472" y="737"/>
                  <a:pt x="472" y="737"/>
                </a:cubicBezTo>
                <a:cubicBezTo>
                  <a:pt x="472" y="738"/>
                  <a:pt x="472" y="738"/>
                  <a:pt x="472" y="738"/>
                </a:cubicBezTo>
                <a:cubicBezTo>
                  <a:pt x="473" y="738"/>
                  <a:pt x="473" y="738"/>
                  <a:pt x="473" y="738"/>
                </a:cubicBezTo>
                <a:cubicBezTo>
                  <a:pt x="472" y="739"/>
                  <a:pt x="472" y="739"/>
                  <a:pt x="471" y="740"/>
                </a:cubicBezTo>
                <a:cubicBezTo>
                  <a:pt x="473" y="741"/>
                  <a:pt x="473" y="741"/>
                  <a:pt x="473" y="741"/>
                </a:cubicBezTo>
                <a:cubicBezTo>
                  <a:pt x="473" y="743"/>
                  <a:pt x="473" y="743"/>
                  <a:pt x="473" y="743"/>
                </a:cubicBezTo>
                <a:cubicBezTo>
                  <a:pt x="472" y="744"/>
                  <a:pt x="472" y="744"/>
                  <a:pt x="472" y="744"/>
                </a:cubicBezTo>
                <a:cubicBezTo>
                  <a:pt x="471" y="747"/>
                  <a:pt x="471" y="747"/>
                  <a:pt x="471" y="747"/>
                </a:cubicBezTo>
                <a:cubicBezTo>
                  <a:pt x="471" y="747"/>
                  <a:pt x="472" y="750"/>
                  <a:pt x="472" y="750"/>
                </a:cubicBezTo>
                <a:cubicBezTo>
                  <a:pt x="472" y="751"/>
                  <a:pt x="474" y="751"/>
                  <a:pt x="474" y="751"/>
                </a:cubicBezTo>
                <a:cubicBezTo>
                  <a:pt x="474" y="751"/>
                  <a:pt x="478" y="754"/>
                  <a:pt x="478" y="754"/>
                </a:cubicBezTo>
                <a:cubicBezTo>
                  <a:pt x="479" y="752"/>
                  <a:pt x="480" y="752"/>
                  <a:pt x="480" y="751"/>
                </a:cubicBezTo>
                <a:cubicBezTo>
                  <a:pt x="478" y="750"/>
                  <a:pt x="478" y="750"/>
                  <a:pt x="477" y="749"/>
                </a:cubicBezTo>
                <a:cubicBezTo>
                  <a:pt x="477" y="747"/>
                  <a:pt x="477" y="747"/>
                  <a:pt x="477" y="747"/>
                </a:cubicBezTo>
                <a:cubicBezTo>
                  <a:pt x="479" y="748"/>
                  <a:pt x="480" y="749"/>
                  <a:pt x="481" y="750"/>
                </a:cubicBezTo>
                <a:cubicBezTo>
                  <a:pt x="482" y="752"/>
                  <a:pt x="482" y="751"/>
                  <a:pt x="482" y="754"/>
                </a:cubicBezTo>
                <a:cubicBezTo>
                  <a:pt x="484" y="754"/>
                  <a:pt x="484" y="754"/>
                  <a:pt x="484" y="754"/>
                </a:cubicBezTo>
                <a:cubicBezTo>
                  <a:pt x="487" y="756"/>
                  <a:pt x="487" y="756"/>
                  <a:pt x="487" y="756"/>
                </a:cubicBezTo>
                <a:cubicBezTo>
                  <a:pt x="490" y="758"/>
                  <a:pt x="490" y="758"/>
                  <a:pt x="490" y="758"/>
                </a:cubicBezTo>
                <a:cubicBezTo>
                  <a:pt x="491" y="761"/>
                  <a:pt x="491" y="761"/>
                  <a:pt x="491" y="761"/>
                </a:cubicBezTo>
                <a:cubicBezTo>
                  <a:pt x="491" y="763"/>
                  <a:pt x="491" y="763"/>
                  <a:pt x="491" y="763"/>
                </a:cubicBezTo>
                <a:cubicBezTo>
                  <a:pt x="491" y="764"/>
                  <a:pt x="491" y="764"/>
                  <a:pt x="491" y="764"/>
                </a:cubicBezTo>
                <a:cubicBezTo>
                  <a:pt x="491" y="766"/>
                  <a:pt x="491" y="766"/>
                  <a:pt x="491" y="766"/>
                </a:cubicBezTo>
                <a:cubicBezTo>
                  <a:pt x="493" y="767"/>
                  <a:pt x="492" y="767"/>
                  <a:pt x="495" y="767"/>
                </a:cubicBezTo>
                <a:cubicBezTo>
                  <a:pt x="494" y="765"/>
                  <a:pt x="494" y="766"/>
                  <a:pt x="493" y="765"/>
                </a:cubicBezTo>
                <a:cubicBezTo>
                  <a:pt x="493" y="764"/>
                  <a:pt x="493" y="764"/>
                  <a:pt x="493" y="764"/>
                </a:cubicBezTo>
                <a:cubicBezTo>
                  <a:pt x="495" y="765"/>
                  <a:pt x="495" y="765"/>
                  <a:pt x="495" y="765"/>
                </a:cubicBezTo>
                <a:cubicBezTo>
                  <a:pt x="496" y="766"/>
                  <a:pt x="496" y="766"/>
                  <a:pt x="496" y="766"/>
                </a:cubicBezTo>
                <a:cubicBezTo>
                  <a:pt x="497" y="768"/>
                  <a:pt x="497" y="768"/>
                  <a:pt x="497" y="768"/>
                </a:cubicBezTo>
                <a:cubicBezTo>
                  <a:pt x="498" y="768"/>
                  <a:pt x="498" y="768"/>
                  <a:pt x="498" y="768"/>
                </a:cubicBezTo>
                <a:cubicBezTo>
                  <a:pt x="498" y="768"/>
                  <a:pt x="498" y="768"/>
                  <a:pt x="498" y="768"/>
                </a:cubicBezTo>
                <a:cubicBezTo>
                  <a:pt x="498" y="769"/>
                  <a:pt x="498" y="769"/>
                  <a:pt x="498" y="769"/>
                </a:cubicBezTo>
                <a:cubicBezTo>
                  <a:pt x="500" y="769"/>
                  <a:pt x="500" y="769"/>
                  <a:pt x="500" y="769"/>
                </a:cubicBezTo>
                <a:cubicBezTo>
                  <a:pt x="500" y="769"/>
                  <a:pt x="504" y="769"/>
                  <a:pt x="504" y="769"/>
                </a:cubicBezTo>
                <a:cubicBezTo>
                  <a:pt x="504" y="771"/>
                  <a:pt x="504" y="771"/>
                  <a:pt x="504" y="771"/>
                </a:cubicBezTo>
                <a:cubicBezTo>
                  <a:pt x="505" y="770"/>
                  <a:pt x="505" y="770"/>
                  <a:pt x="505" y="770"/>
                </a:cubicBezTo>
                <a:cubicBezTo>
                  <a:pt x="508" y="770"/>
                  <a:pt x="505" y="769"/>
                  <a:pt x="510" y="771"/>
                </a:cubicBezTo>
                <a:cubicBezTo>
                  <a:pt x="510" y="773"/>
                  <a:pt x="510" y="773"/>
                  <a:pt x="510" y="773"/>
                </a:cubicBezTo>
                <a:cubicBezTo>
                  <a:pt x="511" y="775"/>
                  <a:pt x="514" y="779"/>
                  <a:pt x="514" y="775"/>
                </a:cubicBezTo>
                <a:cubicBezTo>
                  <a:pt x="515" y="774"/>
                  <a:pt x="515" y="774"/>
                  <a:pt x="515" y="774"/>
                </a:cubicBezTo>
                <a:cubicBezTo>
                  <a:pt x="516" y="778"/>
                  <a:pt x="516" y="776"/>
                  <a:pt x="518" y="780"/>
                </a:cubicBezTo>
                <a:cubicBezTo>
                  <a:pt x="522" y="780"/>
                  <a:pt x="522" y="780"/>
                  <a:pt x="522" y="780"/>
                </a:cubicBezTo>
                <a:cubicBezTo>
                  <a:pt x="522" y="778"/>
                  <a:pt x="522" y="778"/>
                  <a:pt x="522" y="778"/>
                </a:cubicBezTo>
                <a:cubicBezTo>
                  <a:pt x="525" y="778"/>
                  <a:pt x="525" y="779"/>
                  <a:pt x="526" y="777"/>
                </a:cubicBezTo>
                <a:cubicBezTo>
                  <a:pt x="523" y="773"/>
                  <a:pt x="522" y="774"/>
                  <a:pt x="523" y="769"/>
                </a:cubicBezTo>
                <a:cubicBezTo>
                  <a:pt x="525" y="768"/>
                  <a:pt x="525" y="768"/>
                  <a:pt x="527" y="767"/>
                </a:cubicBezTo>
                <a:cubicBezTo>
                  <a:pt x="529" y="765"/>
                  <a:pt x="529" y="765"/>
                  <a:pt x="530" y="763"/>
                </a:cubicBezTo>
                <a:cubicBezTo>
                  <a:pt x="531" y="761"/>
                  <a:pt x="531" y="761"/>
                  <a:pt x="531" y="761"/>
                </a:cubicBezTo>
                <a:cubicBezTo>
                  <a:pt x="538" y="761"/>
                  <a:pt x="536" y="760"/>
                  <a:pt x="539" y="763"/>
                </a:cubicBezTo>
                <a:cubicBezTo>
                  <a:pt x="541" y="764"/>
                  <a:pt x="541" y="763"/>
                  <a:pt x="543" y="767"/>
                </a:cubicBezTo>
                <a:cubicBezTo>
                  <a:pt x="543" y="767"/>
                  <a:pt x="543" y="767"/>
                  <a:pt x="545" y="766"/>
                </a:cubicBezTo>
                <a:cubicBezTo>
                  <a:pt x="547" y="770"/>
                  <a:pt x="547" y="770"/>
                  <a:pt x="547" y="770"/>
                </a:cubicBezTo>
                <a:cubicBezTo>
                  <a:pt x="545" y="768"/>
                  <a:pt x="545" y="768"/>
                  <a:pt x="545" y="768"/>
                </a:cubicBezTo>
                <a:cubicBezTo>
                  <a:pt x="544" y="769"/>
                  <a:pt x="544" y="769"/>
                  <a:pt x="544" y="769"/>
                </a:cubicBezTo>
                <a:cubicBezTo>
                  <a:pt x="544" y="771"/>
                  <a:pt x="544" y="771"/>
                  <a:pt x="544" y="771"/>
                </a:cubicBezTo>
                <a:cubicBezTo>
                  <a:pt x="544" y="771"/>
                  <a:pt x="543" y="771"/>
                  <a:pt x="543" y="771"/>
                </a:cubicBezTo>
                <a:cubicBezTo>
                  <a:pt x="541" y="771"/>
                  <a:pt x="543" y="775"/>
                  <a:pt x="544" y="775"/>
                </a:cubicBezTo>
                <a:cubicBezTo>
                  <a:pt x="546" y="779"/>
                  <a:pt x="544" y="778"/>
                  <a:pt x="547" y="780"/>
                </a:cubicBezTo>
                <a:cubicBezTo>
                  <a:pt x="547" y="780"/>
                  <a:pt x="547" y="780"/>
                  <a:pt x="547" y="780"/>
                </a:cubicBezTo>
                <a:cubicBezTo>
                  <a:pt x="547" y="780"/>
                  <a:pt x="547" y="780"/>
                  <a:pt x="547" y="780"/>
                </a:cubicBezTo>
                <a:cubicBezTo>
                  <a:pt x="546" y="781"/>
                  <a:pt x="549" y="782"/>
                  <a:pt x="549" y="783"/>
                </a:cubicBezTo>
                <a:cubicBezTo>
                  <a:pt x="549" y="784"/>
                  <a:pt x="549" y="784"/>
                  <a:pt x="549" y="784"/>
                </a:cubicBezTo>
                <a:cubicBezTo>
                  <a:pt x="550" y="785"/>
                  <a:pt x="550" y="785"/>
                  <a:pt x="550" y="785"/>
                </a:cubicBezTo>
                <a:cubicBezTo>
                  <a:pt x="550" y="786"/>
                  <a:pt x="550" y="786"/>
                  <a:pt x="550" y="786"/>
                </a:cubicBezTo>
                <a:cubicBezTo>
                  <a:pt x="552" y="787"/>
                  <a:pt x="551" y="787"/>
                  <a:pt x="551" y="789"/>
                </a:cubicBezTo>
                <a:cubicBezTo>
                  <a:pt x="551" y="790"/>
                  <a:pt x="550" y="791"/>
                  <a:pt x="550" y="791"/>
                </a:cubicBezTo>
                <a:cubicBezTo>
                  <a:pt x="552" y="793"/>
                  <a:pt x="551" y="793"/>
                  <a:pt x="552" y="796"/>
                </a:cubicBezTo>
                <a:cubicBezTo>
                  <a:pt x="550" y="797"/>
                  <a:pt x="550" y="797"/>
                  <a:pt x="550" y="797"/>
                </a:cubicBezTo>
                <a:cubicBezTo>
                  <a:pt x="549" y="800"/>
                  <a:pt x="549" y="800"/>
                  <a:pt x="549" y="800"/>
                </a:cubicBezTo>
                <a:cubicBezTo>
                  <a:pt x="552" y="802"/>
                  <a:pt x="551" y="802"/>
                  <a:pt x="551" y="804"/>
                </a:cubicBezTo>
                <a:cubicBezTo>
                  <a:pt x="551" y="804"/>
                  <a:pt x="551" y="805"/>
                  <a:pt x="551" y="806"/>
                </a:cubicBezTo>
                <a:cubicBezTo>
                  <a:pt x="551" y="809"/>
                  <a:pt x="551" y="810"/>
                  <a:pt x="551" y="813"/>
                </a:cubicBezTo>
                <a:cubicBezTo>
                  <a:pt x="549" y="817"/>
                  <a:pt x="551" y="816"/>
                  <a:pt x="551" y="817"/>
                </a:cubicBezTo>
                <a:cubicBezTo>
                  <a:pt x="551" y="817"/>
                  <a:pt x="551" y="817"/>
                  <a:pt x="551" y="818"/>
                </a:cubicBezTo>
                <a:cubicBezTo>
                  <a:pt x="552" y="819"/>
                  <a:pt x="552" y="819"/>
                  <a:pt x="552" y="819"/>
                </a:cubicBezTo>
                <a:cubicBezTo>
                  <a:pt x="552" y="819"/>
                  <a:pt x="551" y="822"/>
                  <a:pt x="551" y="823"/>
                </a:cubicBezTo>
                <a:cubicBezTo>
                  <a:pt x="550" y="825"/>
                  <a:pt x="550" y="825"/>
                  <a:pt x="549" y="826"/>
                </a:cubicBezTo>
                <a:cubicBezTo>
                  <a:pt x="548" y="827"/>
                  <a:pt x="548" y="828"/>
                  <a:pt x="547" y="829"/>
                </a:cubicBezTo>
                <a:cubicBezTo>
                  <a:pt x="546" y="831"/>
                  <a:pt x="547" y="832"/>
                  <a:pt x="547" y="832"/>
                </a:cubicBezTo>
                <a:cubicBezTo>
                  <a:pt x="546" y="832"/>
                  <a:pt x="543" y="833"/>
                  <a:pt x="542" y="833"/>
                </a:cubicBezTo>
                <a:cubicBezTo>
                  <a:pt x="540" y="833"/>
                  <a:pt x="541" y="833"/>
                  <a:pt x="540" y="833"/>
                </a:cubicBezTo>
                <a:cubicBezTo>
                  <a:pt x="539" y="834"/>
                  <a:pt x="538" y="835"/>
                  <a:pt x="538" y="835"/>
                </a:cubicBezTo>
                <a:cubicBezTo>
                  <a:pt x="537" y="836"/>
                  <a:pt x="537" y="836"/>
                  <a:pt x="537" y="837"/>
                </a:cubicBezTo>
                <a:cubicBezTo>
                  <a:pt x="537" y="838"/>
                  <a:pt x="538" y="840"/>
                  <a:pt x="538" y="840"/>
                </a:cubicBezTo>
                <a:cubicBezTo>
                  <a:pt x="534" y="840"/>
                  <a:pt x="536" y="840"/>
                  <a:pt x="535" y="841"/>
                </a:cubicBezTo>
                <a:cubicBezTo>
                  <a:pt x="534" y="841"/>
                  <a:pt x="533" y="842"/>
                  <a:pt x="533" y="842"/>
                </a:cubicBezTo>
                <a:cubicBezTo>
                  <a:pt x="536" y="845"/>
                  <a:pt x="536" y="845"/>
                  <a:pt x="536" y="845"/>
                </a:cubicBezTo>
                <a:cubicBezTo>
                  <a:pt x="536" y="846"/>
                  <a:pt x="536" y="846"/>
                  <a:pt x="536" y="846"/>
                </a:cubicBezTo>
                <a:cubicBezTo>
                  <a:pt x="537" y="846"/>
                  <a:pt x="541" y="847"/>
                  <a:pt x="541" y="847"/>
                </a:cubicBezTo>
                <a:cubicBezTo>
                  <a:pt x="541" y="847"/>
                  <a:pt x="536" y="846"/>
                  <a:pt x="536" y="846"/>
                </a:cubicBezTo>
                <a:cubicBezTo>
                  <a:pt x="528" y="850"/>
                  <a:pt x="528" y="850"/>
                  <a:pt x="528" y="850"/>
                </a:cubicBezTo>
                <a:cubicBezTo>
                  <a:pt x="528" y="851"/>
                  <a:pt x="525" y="852"/>
                  <a:pt x="525" y="852"/>
                </a:cubicBezTo>
                <a:cubicBezTo>
                  <a:pt x="525" y="852"/>
                  <a:pt x="524" y="854"/>
                  <a:pt x="524" y="854"/>
                </a:cubicBezTo>
                <a:cubicBezTo>
                  <a:pt x="524" y="855"/>
                  <a:pt x="524" y="856"/>
                  <a:pt x="524" y="857"/>
                </a:cubicBezTo>
                <a:cubicBezTo>
                  <a:pt x="524" y="862"/>
                  <a:pt x="524" y="860"/>
                  <a:pt x="522" y="862"/>
                </a:cubicBezTo>
                <a:cubicBezTo>
                  <a:pt x="521" y="862"/>
                  <a:pt x="519" y="864"/>
                  <a:pt x="519" y="864"/>
                </a:cubicBezTo>
                <a:cubicBezTo>
                  <a:pt x="518" y="864"/>
                  <a:pt x="519" y="867"/>
                  <a:pt x="519" y="867"/>
                </a:cubicBezTo>
                <a:cubicBezTo>
                  <a:pt x="520" y="868"/>
                  <a:pt x="520" y="868"/>
                  <a:pt x="520" y="868"/>
                </a:cubicBezTo>
                <a:cubicBezTo>
                  <a:pt x="519" y="869"/>
                  <a:pt x="519" y="870"/>
                  <a:pt x="518" y="870"/>
                </a:cubicBezTo>
                <a:cubicBezTo>
                  <a:pt x="516" y="871"/>
                  <a:pt x="516" y="871"/>
                  <a:pt x="516" y="871"/>
                </a:cubicBezTo>
                <a:cubicBezTo>
                  <a:pt x="516" y="871"/>
                  <a:pt x="515" y="874"/>
                  <a:pt x="515" y="874"/>
                </a:cubicBezTo>
                <a:cubicBezTo>
                  <a:pt x="515" y="875"/>
                  <a:pt x="517" y="876"/>
                  <a:pt x="517" y="876"/>
                </a:cubicBezTo>
                <a:cubicBezTo>
                  <a:pt x="516" y="879"/>
                  <a:pt x="516" y="879"/>
                  <a:pt x="516" y="879"/>
                </a:cubicBezTo>
                <a:cubicBezTo>
                  <a:pt x="516" y="879"/>
                  <a:pt x="517" y="881"/>
                  <a:pt x="517" y="882"/>
                </a:cubicBezTo>
                <a:cubicBezTo>
                  <a:pt x="518" y="884"/>
                  <a:pt x="517" y="884"/>
                  <a:pt x="514" y="885"/>
                </a:cubicBezTo>
                <a:cubicBezTo>
                  <a:pt x="516" y="888"/>
                  <a:pt x="515" y="886"/>
                  <a:pt x="517" y="887"/>
                </a:cubicBezTo>
                <a:cubicBezTo>
                  <a:pt x="518" y="887"/>
                  <a:pt x="520" y="890"/>
                  <a:pt x="521" y="889"/>
                </a:cubicBezTo>
                <a:cubicBezTo>
                  <a:pt x="522" y="891"/>
                  <a:pt x="522" y="890"/>
                  <a:pt x="522" y="893"/>
                </a:cubicBezTo>
                <a:cubicBezTo>
                  <a:pt x="523" y="892"/>
                  <a:pt x="526" y="891"/>
                  <a:pt x="525" y="890"/>
                </a:cubicBezTo>
                <a:cubicBezTo>
                  <a:pt x="524" y="890"/>
                  <a:pt x="524" y="890"/>
                  <a:pt x="524" y="890"/>
                </a:cubicBezTo>
                <a:cubicBezTo>
                  <a:pt x="524" y="886"/>
                  <a:pt x="523" y="887"/>
                  <a:pt x="526" y="885"/>
                </a:cubicBezTo>
                <a:cubicBezTo>
                  <a:pt x="526" y="886"/>
                  <a:pt x="527" y="888"/>
                  <a:pt x="527" y="890"/>
                </a:cubicBezTo>
                <a:cubicBezTo>
                  <a:pt x="526" y="892"/>
                  <a:pt x="526" y="895"/>
                  <a:pt x="525" y="896"/>
                </a:cubicBezTo>
                <a:cubicBezTo>
                  <a:pt x="523" y="898"/>
                  <a:pt x="523" y="896"/>
                  <a:pt x="522" y="898"/>
                </a:cubicBezTo>
                <a:cubicBezTo>
                  <a:pt x="522" y="898"/>
                  <a:pt x="522" y="898"/>
                  <a:pt x="522" y="898"/>
                </a:cubicBezTo>
                <a:cubicBezTo>
                  <a:pt x="522" y="898"/>
                  <a:pt x="522" y="898"/>
                  <a:pt x="522" y="898"/>
                </a:cubicBezTo>
                <a:cubicBezTo>
                  <a:pt x="522" y="898"/>
                  <a:pt x="520" y="899"/>
                  <a:pt x="520" y="899"/>
                </a:cubicBezTo>
                <a:cubicBezTo>
                  <a:pt x="519" y="900"/>
                  <a:pt x="518" y="902"/>
                  <a:pt x="518" y="902"/>
                </a:cubicBezTo>
                <a:cubicBezTo>
                  <a:pt x="516" y="905"/>
                  <a:pt x="513" y="904"/>
                  <a:pt x="512" y="912"/>
                </a:cubicBezTo>
                <a:cubicBezTo>
                  <a:pt x="514" y="914"/>
                  <a:pt x="514" y="914"/>
                  <a:pt x="515" y="916"/>
                </a:cubicBezTo>
                <a:cubicBezTo>
                  <a:pt x="514" y="918"/>
                  <a:pt x="514" y="918"/>
                  <a:pt x="514" y="918"/>
                </a:cubicBezTo>
                <a:cubicBezTo>
                  <a:pt x="515" y="919"/>
                  <a:pt x="518" y="922"/>
                  <a:pt x="518" y="924"/>
                </a:cubicBezTo>
                <a:cubicBezTo>
                  <a:pt x="518" y="924"/>
                  <a:pt x="514" y="924"/>
                  <a:pt x="514" y="925"/>
                </a:cubicBezTo>
                <a:cubicBezTo>
                  <a:pt x="514" y="929"/>
                  <a:pt x="514" y="928"/>
                  <a:pt x="518" y="929"/>
                </a:cubicBezTo>
                <a:cubicBezTo>
                  <a:pt x="524" y="933"/>
                  <a:pt x="524" y="933"/>
                  <a:pt x="524" y="933"/>
                </a:cubicBezTo>
                <a:cubicBezTo>
                  <a:pt x="530" y="940"/>
                  <a:pt x="530" y="940"/>
                  <a:pt x="530" y="940"/>
                </a:cubicBezTo>
                <a:cubicBezTo>
                  <a:pt x="533" y="948"/>
                  <a:pt x="533" y="948"/>
                  <a:pt x="533" y="948"/>
                </a:cubicBezTo>
                <a:cubicBezTo>
                  <a:pt x="536" y="949"/>
                  <a:pt x="536" y="949"/>
                  <a:pt x="536" y="949"/>
                </a:cubicBezTo>
                <a:cubicBezTo>
                  <a:pt x="541" y="959"/>
                  <a:pt x="541" y="959"/>
                  <a:pt x="541" y="959"/>
                </a:cubicBezTo>
                <a:cubicBezTo>
                  <a:pt x="541" y="964"/>
                  <a:pt x="541" y="964"/>
                  <a:pt x="541" y="964"/>
                </a:cubicBezTo>
                <a:cubicBezTo>
                  <a:pt x="552" y="981"/>
                  <a:pt x="552" y="981"/>
                  <a:pt x="552" y="981"/>
                </a:cubicBezTo>
                <a:cubicBezTo>
                  <a:pt x="553" y="986"/>
                  <a:pt x="553" y="986"/>
                  <a:pt x="553" y="986"/>
                </a:cubicBezTo>
                <a:cubicBezTo>
                  <a:pt x="553" y="986"/>
                  <a:pt x="560" y="991"/>
                  <a:pt x="560" y="992"/>
                </a:cubicBezTo>
                <a:cubicBezTo>
                  <a:pt x="563" y="1000"/>
                  <a:pt x="563" y="1000"/>
                  <a:pt x="563" y="1000"/>
                </a:cubicBezTo>
                <a:cubicBezTo>
                  <a:pt x="566" y="1004"/>
                  <a:pt x="566" y="1004"/>
                  <a:pt x="566" y="1004"/>
                </a:cubicBezTo>
                <a:cubicBezTo>
                  <a:pt x="566" y="1006"/>
                  <a:pt x="566" y="1006"/>
                  <a:pt x="566" y="1006"/>
                </a:cubicBezTo>
                <a:cubicBezTo>
                  <a:pt x="569" y="1011"/>
                  <a:pt x="569" y="1011"/>
                  <a:pt x="569" y="1011"/>
                </a:cubicBezTo>
                <a:cubicBezTo>
                  <a:pt x="569" y="1014"/>
                  <a:pt x="569" y="1014"/>
                  <a:pt x="569" y="1014"/>
                </a:cubicBezTo>
                <a:cubicBezTo>
                  <a:pt x="569" y="1014"/>
                  <a:pt x="569" y="1016"/>
                  <a:pt x="569" y="1017"/>
                </a:cubicBezTo>
                <a:cubicBezTo>
                  <a:pt x="569" y="1017"/>
                  <a:pt x="570" y="1018"/>
                  <a:pt x="570" y="1018"/>
                </a:cubicBezTo>
                <a:cubicBezTo>
                  <a:pt x="571" y="1023"/>
                  <a:pt x="570" y="1020"/>
                  <a:pt x="576" y="1025"/>
                </a:cubicBezTo>
                <a:cubicBezTo>
                  <a:pt x="576" y="1025"/>
                  <a:pt x="579" y="1028"/>
                  <a:pt x="579" y="1028"/>
                </a:cubicBezTo>
                <a:cubicBezTo>
                  <a:pt x="580" y="1029"/>
                  <a:pt x="582" y="1031"/>
                  <a:pt x="582" y="1031"/>
                </a:cubicBezTo>
                <a:cubicBezTo>
                  <a:pt x="582" y="1031"/>
                  <a:pt x="586" y="1034"/>
                  <a:pt x="586" y="1034"/>
                </a:cubicBezTo>
                <a:cubicBezTo>
                  <a:pt x="587" y="1034"/>
                  <a:pt x="586" y="1036"/>
                  <a:pt x="591" y="1038"/>
                </a:cubicBezTo>
                <a:cubicBezTo>
                  <a:pt x="592" y="1038"/>
                  <a:pt x="599" y="1041"/>
                  <a:pt x="599" y="1041"/>
                </a:cubicBezTo>
                <a:cubicBezTo>
                  <a:pt x="603" y="1045"/>
                  <a:pt x="603" y="1045"/>
                  <a:pt x="603" y="1045"/>
                </a:cubicBezTo>
                <a:cubicBezTo>
                  <a:pt x="609" y="1046"/>
                  <a:pt x="609" y="1046"/>
                  <a:pt x="609" y="1046"/>
                </a:cubicBezTo>
                <a:cubicBezTo>
                  <a:pt x="611" y="1049"/>
                  <a:pt x="611" y="1049"/>
                  <a:pt x="611" y="1049"/>
                </a:cubicBezTo>
                <a:cubicBezTo>
                  <a:pt x="616" y="1051"/>
                  <a:pt x="616" y="1051"/>
                  <a:pt x="616" y="1051"/>
                </a:cubicBezTo>
                <a:cubicBezTo>
                  <a:pt x="619" y="1052"/>
                  <a:pt x="619" y="1052"/>
                  <a:pt x="619" y="1052"/>
                </a:cubicBezTo>
                <a:cubicBezTo>
                  <a:pt x="621" y="1057"/>
                  <a:pt x="621" y="1057"/>
                  <a:pt x="621" y="1057"/>
                </a:cubicBezTo>
                <a:cubicBezTo>
                  <a:pt x="622" y="1058"/>
                  <a:pt x="629" y="1063"/>
                  <a:pt x="631" y="1064"/>
                </a:cubicBezTo>
                <a:cubicBezTo>
                  <a:pt x="631" y="1064"/>
                  <a:pt x="631" y="1064"/>
                  <a:pt x="631" y="1064"/>
                </a:cubicBezTo>
                <a:cubicBezTo>
                  <a:pt x="631" y="1064"/>
                  <a:pt x="631" y="1065"/>
                  <a:pt x="632" y="1065"/>
                </a:cubicBezTo>
                <a:cubicBezTo>
                  <a:pt x="632" y="1065"/>
                  <a:pt x="632" y="1068"/>
                  <a:pt x="632" y="1068"/>
                </a:cubicBezTo>
                <a:cubicBezTo>
                  <a:pt x="632" y="1070"/>
                  <a:pt x="634" y="1074"/>
                  <a:pt x="634" y="1076"/>
                </a:cubicBezTo>
                <a:cubicBezTo>
                  <a:pt x="635" y="1080"/>
                  <a:pt x="635" y="1080"/>
                  <a:pt x="635" y="1080"/>
                </a:cubicBezTo>
                <a:cubicBezTo>
                  <a:pt x="635" y="1080"/>
                  <a:pt x="636" y="1086"/>
                  <a:pt x="636" y="1087"/>
                </a:cubicBezTo>
                <a:cubicBezTo>
                  <a:pt x="636" y="1092"/>
                  <a:pt x="636" y="1089"/>
                  <a:pt x="637" y="1093"/>
                </a:cubicBezTo>
                <a:cubicBezTo>
                  <a:pt x="637" y="1094"/>
                  <a:pt x="639" y="1098"/>
                  <a:pt x="638" y="1099"/>
                </a:cubicBezTo>
                <a:cubicBezTo>
                  <a:pt x="638" y="1100"/>
                  <a:pt x="638" y="1100"/>
                  <a:pt x="638" y="1100"/>
                </a:cubicBezTo>
                <a:cubicBezTo>
                  <a:pt x="638" y="1112"/>
                  <a:pt x="638" y="1112"/>
                  <a:pt x="638" y="1112"/>
                </a:cubicBezTo>
                <a:cubicBezTo>
                  <a:pt x="637" y="1116"/>
                  <a:pt x="637" y="1116"/>
                  <a:pt x="637" y="1116"/>
                </a:cubicBezTo>
                <a:cubicBezTo>
                  <a:pt x="636" y="1116"/>
                  <a:pt x="636" y="1116"/>
                  <a:pt x="636" y="1116"/>
                </a:cubicBezTo>
                <a:cubicBezTo>
                  <a:pt x="636" y="1116"/>
                  <a:pt x="636" y="1119"/>
                  <a:pt x="636" y="1119"/>
                </a:cubicBezTo>
                <a:cubicBezTo>
                  <a:pt x="636" y="1120"/>
                  <a:pt x="637" y="1121"/>
                  <a:pt x="638" y="1122"/>
                </a:cubicBezTo>
                <a:cubicBezTo>
                  <a:pt x="638" y="1122"/>
                  <a:pt x="638" y="1131"/>
                  <a:pt x="638" y="1132"/>
                </a:cubicBezTo>
                <a:cubicBezTo>
                  <a:pt x="638" y="1136"/>
                  <a:pt x="638" y="1136"/>
                  <a:pt x="638" y="1136"/>
                </a:cubicBezTo>
                <a:cubicBezTo>
                  <a:pt x="638" y="1136"/>
                  <a:pt x="640" y="1137"/>
                  <a:pt x="640" y="1137"/>
                </a:cubicBezTo>
                <a:cubicBezTo>
                  <a:pt x="640" y="1138"/>
                  <a:pt x="641" y="1141"/>
                  <a:pt x="641" y="1141"/>
                </a:cubicBezTo>
                <a:cubicBezTo>
                  <a:pt x="640" y="1143"/>
                  <a:pt x="640" y="1143"/>
                  <a:pt x="640" y="1143"/>
                </a:cubicBezTo>
                <a:cubicBezTo>
                  <a:pt x="640" y="1143"/>
                  <a:pt x="639" y="1147"/>
                  <a:pt x="639" y="1147"/>
                </a:cubicBezTo>
                <a:cubicBezTo>
                  <a:pt x="639" y="1148"/>
                  <a:pt x="639" y="1149"/>
                  <a:pt x="639" y="1149"/>
                </a:cubicBezTo>
                <a:cubicBezTo>
                  <a:pt x="641" y="1152"/>
                  <a:pt x="640" y="1152"/>
                  <a:pt x="640" y="1155"/>
                </a:cubicBezTo>
                <a:cubicBezTo>
                  <a:pt x="640" y="1155"/>
                  <a:pt x="640" y="1158"/>
                  <a:pt x="640" y="1158"/>
                </a:cubicBezTo>
                <a:cubicBezTo>
                  <a:pt x="640" y="1160"/>
                  <a:pt x="640" y="1159"/>
                  <a:pt x="640" y="1161"/>
                </a:cubicBezTo>
                <a:cubicBezTo>
                  <a:pt x="640" y="1163"/>
                  <a:pt x="640" y="1163"/>
                  <a:pt x="640" y="1165"/>
                </a:cubicBezTo>
                <a:cubicBezTo>
                  <a:pt x="640" y="1166"/>
                  <a:pt x="641" y="1166"/>
                  <a:pt x="640" y="1167"/>
                </a:cubicBezTo>
                <a:cubicBezTo>
                  <a:pt x="639" y="1172"/>
                  <a:pt x="639" y="1171"/>
                  <a:pt x="639" y="1176"/>
                </a:cubicBezTo>
                <a:cubicBezTo>
                  <a:pt x="639" y="1179"/>
                  <a:pt x="638" y="1181"/>
                  <a:pt x="638" y="1182"/>
                </a:cubicBezTo>
                <a:cubicBezTo>
                  <a:pt x="641" y="1189"/>
                  <a:pt x="641" y="1189"/>
                  <a:pt x="641" y="1189"/>
                </a:cubicBezTo>
                <a:cubicBezTo>
                  <a:pt x="642" y="1193"/>
                  <a:pt x="642" y="1193"/>
                  <a:pt x="642" y="1193"/>
                </a:cubicBezTo>
                <a:cubicBezTo>
                  <a:pt x="642" y="1193"/>
                  <a:pt x="641" y="1196"/>
                  <a:pt x="641" y="1197"/>
                </a:cubicBezTo>
                <a:cubicBezTo>
                  <a:pt x="641" y="1197"/>
                  <a:pt x="640" y="1198"/>
                  <a:pt x="640" y="1198"/>
                </a:cubicBezTo>
                <a:cubicBezTo>
                  <a:pt x="640" y="1198"/>
                  <a:pt x="640" y="1200"/>
                  <a:pt x="640" y="1201"/>
                </a:cubicBezTo>
                <a:cubicBezTo>
                  <a:pt x="640" y="1202"/>
                  <a:pt x="643" y="1208"/>
                  <a:pt x="644" y="1209"/>
                </a:cubicBezTo>
                <a:cubicBezTo>
                  <a:pt x="645" y="1214"/>
                  <a:pt x="645" y="1211"/>
                  <a:pt x="646" y="1216"/>
                </a:cubicBezTo>
                <a:cubicBezTo>
                  <a:pt x="646" y="1217"/>
                  <a:pt x="646" y="1218"/>
                  <a:pt x="646" y="1218"/>
                </a:cubicBezTo>
                <a:cubicBezTo>
                  <a:pt x="646" y="1219"/>
                  <a:pt x="647" y="1217"/>
                  <a:pt x="648" y="1222"/>
                </a:cubicBezTo>
                <a:cubicBezTo>
                  <a:pt x="648" y="1226"/>
                  <a:pt x="647" y="1225"/>
                  <a:pt x="647" y="1228"/>
                </a:cubicBezTo>
                <a:cubicBezTo>
                  <a:pt x="647" y="1228"/>
                  <a:pt x="647" y="1230"/>
                  <a:pt x="648" y="1230"/>
                </a:cubicBezTo>
                <a:cubicBezTo>
                  <a:pt x="648" y="1231"/>
                  <a:pt x="649" y="1232"/>
                  <a:pt x="649" y="1233"/>
                </a:cubicBezTo>
                <a:cubicBezTo>
                  <a:pt x="650" y="1235"/>
                  <a:pt x="650" y="1235"/>
                  <a:pt x="649" y="1237"/>
                </a:cubicBezTo>
                <a:cubicBezTo>
                  <a:pt x="647" y="1239"/>
                  <a:pt x="649" y="1242"/>
                  <a:pt x="649" y="1244"/>
                </a:cubicBezTo>
                <a:cubicBezTo>
                  <a:pt x="648" y="1250"/>
                  <a:pt x="648" y="1250"/>
                  <a:pt x="648" y="1250"/>
                </a:cubicBezTo>
                <a:cubicBezTo>
                  <a:pt x="647" y="1252"/>
                  <a:pt x="647" y="1252"/>
                  <a:pt x="647" y="1252"/>
                </a:cubicBezTo>
                <a:cubicBezTo>
                  <a:pt x="647" y="1253"/>
                  <a:pt x="647" y="1253"/>
                  <a:pt x="647" y="1253"/>
                </a:cubicBezTo>
                <a:cubicBezTo>
                  <a:pt x="647" y="1253"/>
                  <a:pt x="646" y="1255"/>
                  <a:pt x="646" y="1255"/>
                </a:cubicBezTo>
                <a:cubicBezTo>
                  <a:pt x="646" y="1255"/>
                  <a:pt x="647" y="1256"/>
                  <a:pt x="647" y="1256"/>
                </a:cubicBezTo>
                <a:cubicBezTo>
                  <a:pt x="647" y="1256"/>
                  <a:pt x="647" y="1258"/>
                  <a:pt x="647" y="1258"/>
                </a:cubicBezTo>
                <a:cubicBezTo>
                  <a:pt x="647" y="1259"/>
                  <a:pt x="646" y="1260"/>
                  <a:pt x="646" y="1260"/>
                </a:cubicBezTo>
                <a:cubicBezTo>
                  <a:pt x="646" y="1260"/>
                  <a:pt x="646" y="1262"/>
                  <a:pt x="646" y="1263"/>
                </a:cubicBezTo>
                <a:cubicBezTo>
                  <a:pt x="647" y="1265"/>
                  <a:pt x="646" y="1271"/>
                  <a:pt x="646" y="1274"/>
                </a:cubicBezTo>
                <a:cubicBezTo>
                  <a:pt x="643" y="1273"/>
                  <a:pt x="643" y="1273"/>
                  <a:pt x="643" y="1273"/>
                </a:cubicBezTo>
                <a:cubicBezTo>
                  <a:pt x="643" y="1276"/>
                  <a:pt x="643" y="1278"/>
                  <a:pt x="643" y="1279"/>
                </a:cubicBezTo>
                <a:cubicBezTo>
                  <a:pt x="644" y="1280"/>
                  <a:pt x="646" y="1282"/>
                  <a:pt x="647" y="1283"/>
                </a:cubicBezTo>
                <a:cubicBezTo>
                  <a:pt x="648" y="1290"/>
                  <a:pt x="648" y="1290"/>
                  <a:pt x="648" y="1290"/>
                </a:cubicBezTo>
                <a:cubicBezTo>
                  <a:pt x="648" y="1290"/>
                  <a:pt x="651" y="1293"/>
                  <a:pt x="651" y="1293"/>
                </a:cubicBezTo>
                <a:cubicBezTo>
                  <a:pt x="653" y="1296"/>
                  <a:pt x="653" y="1296"/>
                  <a:pt x="653" y="1296"/>
                </a:cubicBezTo>
                <a:cubicBezTo>
                  <a:pt x="655" y="1299"/>
                  <a:pt x="654" y="1299"/>
                  <a:pt x="654" y="1300"/>
                </a:cubicBezTo>
                <a:cubicBezTo>
                  <a:pt x="654" y="1301"/>
                  <a:pt x="654" y="1302"/>
                  <a:pt x="654" y="1303"/>
                </a:cubicBezTo>
                <a:cubicBezTo>
                  <a:pt x="652" y="1303"/>
                  <a:pt x="652" y="1303"/>
                  <a:pt x="652" y="1303"/>
                </a:cubicBezTo>
                <a:cubicBezTo>
                  <a:pt x="652" y="1303"/>
                  <a:pt x="652" y="1305"/>
                  <a:pt x="652" y="1305"/>
                </a:cubicBezTo>
                <a:cubicBezTo>
                  <a:pt x="652" y="1307"/>
                  <a:pt x="652" y="1307"/>
                  <a:pt x="653" y="1309"/>
                </a:cubicBezTo>
                <a:cubicBezTo>
                  <a:pt x="653" y="1311"/>
                  <a:pt x="652" y="1313"/>
                  <a:pt x="652" y="1315"/>
                </a:cubicBezTo>
                <a:cubicBezTo>
                  <a:pt x="653" y="1316"/>
                  <a:pt x="654" y="1316"/>
                  <a:pt x="656" y="1318"/>
                </a:cubicBezTo>
                <a:cubicBezTo>
                  <a:pt x="657" y="1321"/>
                  <a:pt x="656" y="1321"/>
                  <a:pt x="659" y="1322"/>
                </a:cubicBezTo>
                <a:cubicBezTo>
                  <a:pt x="658" y="1323"/>
                  <a:pt x="658" y="1323"/>
                  <a:pt x="660" y="1324"/>
                </a:cubicBezTo>
                <a:cubicBezTo>
                  <a:pt x="658" y="1326"/>
                  <a:pt x="659" y="1325"/>
                  <a:pt x="658" y="1324"/>
                </a:cubicBezTo>
                <a:cubicBezTo>
                  <a:pt x="658" y="1324"/>
                  <a:pt x="657" y="1323"/>
                  <a:pt x="657" y="1323"/>
                </a:cubicBezTo>
                <a:cubicBezTo>
                  <a:pt x="656" y="1323"/>
                  <a:pt x="656" y="1323"/>
                  <a:pt x="656" y="1324"/>
                </a:cubicBezTo>
                <a:cubicBezTo>
                  <a:pt x="656" y="1324"/>
                  <a:pt x="657" y="1324"/>
                  <a:pt x="657" y="1325"/>
                </a:cubicBezTo>
                <a:cubicBezTo>
                  <a:pt x="657" y="1325"/>
                  <a:pt x="657" y="1326"/>
                  <a:pt x="657" y="1326"/>
                </a:cubicBezTo>
                <a:cubicBezTo>
                  <a:pt x="657" y="1326"/>
                  <a:pt x="657" y="1327"/>
                  <a:pt x="657" y="1328"/>
                </a:cubicBezTo>
                <a:cubicBezTo>
                  <a:pt x="657" y="1328"/>
                  <a:pt x="657" y="1330"/>
                  <a:pt x="657" y="1331"/>
                </a:cubicBezTo>
                <a:cubicBezTo>
                  <a:pt x="657" y="1332"/>
                  <a:pt x="658" y="1332"/>
                  <a:pt x="659" y="1333"/>
                </a:cubicBezTo>
                <a:cubicBezTo>
                  <a:pt x="660" y="1334"/>
                  <a:pt x="659" y="1334"/>
                  <a:pt x="659" y="1334"/>
                </a:cubicBezTo>
                <a:cubicBezTo>
                  <a:pt x="660" y="1337"/>
                  <a:pt x="660" y="1337"/>
                  <a:pt x="660" y="1337"/>
                </a:cubicBezTo>
                <a:cubicBezTo>
                  <a:pt x="660" y="1338"/>
                  <a:pt x="660" y="1339"/>
                  <a:pt x="660" y="1340"/>
                </a:cubicBezTo>
                <a:cubicBezTo>
                  <a:pt x="660" y="1341"/>
                  <a:pt x="665" y="1342"/>
                  <a:pt x="665" y="1340"/>
                </a:cubicBezTo>
                <a:cubicBezTo>
                  <a:pt x="665" y="1340"/>
                  <a:pt x="664" y="1339"/>
                  <a:pt x="664" y="1339"/>
                </a:cubicBezTo>
                <a:cubicBezTo>
                  <a:pt x="664" y="1338"/>
                  <a:pt x="664" y="1338"/>
                  <a:pt x="664" y="1338"/>
                </a:cubicBezTo>
                <a:cubicBezTo>
                  <a:pt x="665" y="1339"/>
                  <a:pt x="665" y="1339"/>
                  <a:pt x="665" y="1339"/>
                </a:cubicBezTo>
                <a:cubicBezTo>
                  <a:pt x="666" y="1338"/>
                  <a:pt x="666" y="1338"/>
                  <a:pt x="665" y="1337"/>
                </a:cubicBezTo>
                <a:cubicBezTo>
                  <a:pt x="664" y="1336"/>
                  <a:pt x="664" y="1335"/>
                  <a:pt x="664" y="1335"/>
                </a:cubicBezTo>
                <a:cubicBezTo>
                  <a:pt x="662" y="1333"/>
                  <a:pt x="662" y="1333"/>
                  <a:pt x="662" y="1333"/>
                </a:cubicBezTo>
                <a:cubicBezTo>
                  <a:pt x="662" y="1332"/>
                  <a:pt x="662" y="1332"/>
                  <a:pt x="662" y="1332"/>
                </a:cubicBezTo>
                <a:cubicBezTo>
                  <a:pt x="661" y="1331"/>
                  <a:pt x="661" y="1331"/>
                  <a:pt x="661" y="1331"/>
                </a:cubicBezTo>
                <a:cubicBezTo>
                  <a:pt x="663" y="1329"/>
                  <a:pt x="664" y="1329"/>
                  <a:pt x="662" y="1327"/>
                </a:cubicBezTo>
                <a:cubicBezTo>
                  <a:pt x="661" y="1326"/>
                  <a:pt x="661" y="1326"/>
                  <a:pt x="660" y="1325"/>
                </a:cubicBezTo>
                <a:cubicBezTo>
                  <a:pt x="661" y="1323"/>
                  <a:pt x="661" y="1323"/>
                  <a:pt x="661" y="1323"/>
                </a:cubicBezTo>
                <a:cubicBezTo>
                  <a:pt x="664" y="1323"/>
                  <a:pt x="663" y="1323"/>
                  <a:pt x="665" y="1320"/>
                </a:cubicBezTo>
                <a:cubicBezTo>
                  <a:pt x="668" y="1322"/>
                  <a:pt x="666" y="1321"/>
                  <a:pt x="668" y="1322"/>
                </a:cubicBezTo>
                <a:cubicBezTo>
                  <a:pt x="668" y="1323"/>
                  <a:pt x="670" y="1323"/>
                  <a:pt x="670" y="1322"/>
                </a:cubicBezTo>
                <a:cubicBezTo>
                  <a:pt x="670" y="1321"/>
                  <a:pt x="669" y="1321"/>
                  <a:pt x="670" y="1320"/>
                </a:cubicBezTo>
                <a:cubicBezTo>
                  <a:pt x="671" y="1322"/>
                  <a:pt x="671" y="1322"/>
                  <a:pt x="671" y="1322"/>
                </a:cubicBezTo>
                <a:cubicBezTo>
                  <a:pt x="671" y="1322"/>
                  <a:pt x="670" y="1323"/>
                  <a:pt x="669" y="1324"/>
                </a:cubicBezTo>
                <a:cubicBezTo>
                  <a:pt x="669" y="1324"/>
                  <a:pt x="667" y="1324"/>
                  <a:pt x="667" y="1325"/>
                </a:cubicBezTo>
                <a:cubicBezTo>
                  <a:pt x="668" y="1326"/>
                  <a:pt x="668" y="1326"/>
                  <a:pt x="668" y="1326"/>
                </a:cubicBezTo>
                <a:cubicBezTo>
                  <a:pt x="669" y="1327"/>
                  <a:pt x="670" y="1326"/>
                  <a:pt x="671" y="1326"/>
                </a:cubicBezTo>
                <a:cubicBezTo>
                  <a:pt x="672" y="1327"/>
                  <a:pt x="672" y="1328"/>
                  <a:pt x="673" y="1330"/>
                </a:cubicBezTo>
                <a:cubicBezTo>
                  <a:pt x="673" y="1330"/>
                  <a:pt x="673" y="1332"/>
                  <a:pt x="672" y="1331"/>
                </a:cubicBezTo>
                <a:cubicBezTo>
                  <a:pt x="672" y="1330"/>
                  <a:pt x="672" y="1329"/>
                  <a:pt x="670" y="1328"/>
                </a:cubicBezTo>
                <a:cubicBezTo>
                  <a:pt x="670" y="1328"/>
                  <a:pt x="669" y="1329"/>
                  <a:pt x="669" y="1329"/>
                </a:cubicBezTo>
                <a:cubicBezTo>
                  <a:pt x="669" y="1329"/>
                  <a:pt x="672" y="1331"/>
                  <a:pt x="672" y="1331"/>
                </a:cubicBezTo>
                <a:cubicBezTo>
                  <a:pt x="673" y="1332"/>
                  <a:pt x="672" y="1333"/>
                  <a:pt x="672" y="1332"/>
                </a:cubicBezTo>
                <a:cubicBezTo>
                  <a:pt x="671" y="1332"/>
                  <a:pt x="670" y="1331"/>
                  <a:pt x="670" y="1331"/>
                </a:cubicBezTo>
                <a:cubicBezTo>
                  <a:pt x="670" y="1331"/>
                  <a:pt x="670" y="1332"/>
                  <a:pt x="670" y="1333"/>
                </a:cubicBezTo>
                <a:cubicBezTo>
                  <a:pt x="670" y="1334"/>
                  <a:pt x="673" y="1336"/>
                  <a:pt x="673" y="1338"/>
                </a:cubicBezTo>
                <a:cubicBezTo>
                  <a:pt x="673" y="1338"/>
                  <a:pt x="671" y="1340"/>
                  <a:pt x="671" y="1341"/>
                </a:cubicBezTo>
                <a:cubicBezTo>
                  <a:pt x="672" y="1343"/>
                  <a:pt x="672" y="1344"/>
                  <a:pt x="674" y="1346"/>
                </a:cubicBezTo>
                <a:cubicBezTo>
                  <a:pt x="672" y="1348"/>
                  <a:pt x="672" y="1348"/>
                  <a:pt x="672" y="1348"/>
                </a:cubicBezTo>
                <a:cubicBezTo>
                  <a:pt x="672" y="1348"/>
                  <a:pt x="674" y="1350"/>
                  <a:pt x="674" y="1350"/>
                </a:cubicBezTo>
                <a:cubicBezTo>
                  <a:pt x="674" y="1350"/>
                  <a:pt x="676" y="1352"/>
                  <a:pt x="676" y="1352"/>
                </a:cubicBezTo>
                <a:cubicBezTo>
                  <a:pt x="678" y="1352"/>
                  <a:pt x="678" y="1352"/>
                  <a:pt x="679" y="1353"/>
                </a:cubicBezTo>
                <a:cubicBezTo>
                  <a:pt x="681" y="1356"/>
                  <a:pt x="680" y="1355"/>
                  <a:pt x="679" y="1356"/>
                </a:cubicBezTo>
                <a:cubicBezTo>
                  <a:pt x="679" y="1357"/>
                  <a:pt x="679" y="1357"/>
                  <a:pt x="679" y="1357"/>
                </a:cubicBezTo>
                <a:cubicBezTo>
                  <a:pt x="679" y="1359"/>
                  <a:pt x="679" y="1358"/>
                  <a:pt x="676" y="1359"/>
                </a:cubicBezTo>
                <a:cubicBezTo>
                  <a:pt x="675" y="1360"/>
                  <a:pt x="677" y="1360"/>
                  <a:pt x="678" y="1360"/>
                </a:cubicBezTo>
                <a:cubicBezTo>
                  <a:pt x="679" y="1362"/>
                  <a:pt x="679" y="1362"/>
                  <a:pt x="679" y="1362"/>
                </a:cubicBezTo>
                <a:cubicBezTo>
                  <a:pt x="680" y="1362"/>
                  <a:pt x="681" y="1362"/>
                  <a:pt x="681" y="1363"/>
                </a:cubicBezTo>
                <a:cubicBezTo>
                  <a:pt x="681" y="1365"/>
                  <a:pt x="680" y="1363"/>
                  <a:pt x="678" y="1363"/>
                </a:cubicBezTo>
                <a:cubicBezTo>
                  <a:pt x="678" y="1363"/>
                  <a:pt x="677" y="1364"/>
                  <a:pt x="677" y="1364"/>
                </a:cubicBezTo>
                <a:cubicBezTo>
                  <a:pt x="676" y="1364"/>
                  <a:pt x="677" y="1366"/>
                  <a:pt x="677" y="1366"/>
                </a:cubicBezTo>
                <a:cubicBezTo>
                  <a:pt x="679" y="1364"/>
                  <a:pt x="678" y="1364"/>
                  <a:pt x="679" y="1366"/>
                </a:cubicBezTo>
                <a:cubicBezTo>
                  <a:pt x="680" y="1366"/>
                  <a:pt x="680" y="1366"/>
                  <a:pt x="680" y="1367"/>
                </a:cubicBezTo>
                <a:cubicBezTo>
                  <a:pt x="681" y="1367"/>
                  <a:pt x="679" y="1367"/>
                  <a:pt x="679" y="1367"/>
                </a:cubicBezTo>
                <a:cubicBezTo>
                  <a:pt x="677" y="1368"/>
                  <a:pt x="677" y="1369"/>
                  <a:pt x="678" y="1370"/>
                </a:cubicBezTo>
                <a:cubicBezTo>
                  <a:pt x="678" y="1371"/>
                  <a:pt x="679" y="1371"/>
                  <a:pt x="679" y="1371"/>
                </a:cubicBezTo>
                <a:cubicBezTo>
                  <a:pt x="679" y="1371"/>
                  <a:pt x="680" y="1370"/>
                  <a:pt x="680" y="1370"/>
                </a:cubicBezTo>
                <a:cubicBezTo>
                  <a:pt x="679" y="1372"/>
                  <a:pt x="679" y="1372"/>
                  <a:pt x="679" y="1372"/>
                </a:cubicBezTo>
                <a:cubicBezTo>
                  <a:pt x="679" y="1372"/>
                  <a:pt x="680" y="1374"/>
                  <a:pt x="679" y="1374"/>
                </a:cubicBezTo>
                <a:cubicBezTo>
                  <a:pt x="679" y="1374"/>
                  <a:pt x="680" y="1376"/>
                  <a:pt x="678" y="1376"/>
                </a:cubicBezTo>
                <a:cubicBezTo>
                  <a:pt x="678" y="1376"/>
                  <a:pt x="677" y="1376"/>
                  <a:pt x="677" y="1376"/>
                </a:cubicBezTo>
                <a:cubicBezTo>
                  <a:pt x="676" y="1375"/>
                  <a:pt x="676" y="1375"/>
                  <a:pt x="676" y="1373"/>
                </a:cubicBezTo>
                <a:cubicBezTo>
                  <a:pt x="675" y="1373"/>
                  <a:pt x="675" y="1373"/>
                  <a:pt x="675" y="1373"/>
                </a:cubicBezTo>
                <a:cubicBezTo>
                  <a:pt x="674" y="1372"/>
                  <a:pt x="672" y="1373"/>
                  <a:pt x="672" y="1372"/>
                </a:cubicBezTo>
                <a:cubicBezTo>
                  <a:pt x="672" y="1371"/>
                  <a:pt x="673" y="1371"/>
                  <a:pt x="674" y="1371"/>
                </a:cubicBezTo>
                <a:cubicBezTo>
                  <a:pt x="675" y="1370"/>
                  <a:pt x="675" y="1370"/>
                  <a:pt x="675" y="1370"/>
                </a:cubicBezTo>
                <a:cubicBezTo>
                  <a:pt x="673" y="1369"/>
                  <a:pt x="673" y="1368"/>
                  <a:pt x="671" y="1368"/>
                </a:cubicBezTo>
                <a:cubicBezTo>
                  <a:pt x="671" y="1369"/>
                  <a:pt x="671" y="1369"/>
                  <a:pt x="671" y="1369"/>
                </a:cubicBezTo>
                <a:cubicBezTo>
                  <a:pt x="671" y="1369"/>
                  <a:pt x="670" y="1369"/>
                  <a:pt x="670" y="1368"/>
                </a:cubicBezTo>
                <a:cubicBezTo>
                  <a:pt x="669" y="1368"/>
                  <a:pt x="667" y="1368"/>
                  <a:pt x="667" y="1369"/>
                </a:cubicBezTo>
                <a:cubicBezTo>
                  <a:pt x="668" y="1370"/>
                  <a:pt x="669" y="1370"/>
                  <a:pt x="669" y="1371"/>
                </a:cubicBezTo>
                <a:cubicBezTo>
                  <a:pt x="669" y="1372"/>
                  <a:pt x="666" y="1373"/>
                  <a:pt x="666" y="1373"/>
                </a:cubicBezTo>
                <a:cubicBezTo>
                  <a:pt x="666" y="1373"/>
                  <a:pt x="664" y="1375"/>
                  <a:pt x="664" y="1375"/>
                </a:cubicBezTo>
                <a:cubicBezTo>
                  <a:pt x="664" y="1375"/>
                  <a:pt x="663" y="1376"/>
                  <a:pt x="662" y="1376"/>
                </a:cubicBezTo>
                <a:cubicBezTo>
                  <a:pt x="662" y="1376"/>
                  <a:pt x="663" y="1377"/>
                  <a:pt x="663" y="1378"/>
                </a:cubicBezTo>
                <a:cubicBezTo>
                  <a:pt x="664" y="1379"/>
                  <a:pt x="665" y="1379"/>
                  <a:pt x="666" y="1379"/>
                </a:cubicBezTo>
                <a:cubicBezTo>
                  <a:pt x="667" y="1379"/>
                  <a:pt x="666" y="1378"/>
                  <a:pt x="666" y="1378"/>
                </a:cubicBezTo>
                <a:cubicBezTo>
                  <a:pt x="666" y="1377"/>
                  <a:pt x="666" y="1376"/>
                  <a:pt x="667" y="1376"/>
                </a:cubicBezTo>
                <a:cubicBezTo>
                  <a:pt x="668" y="1375"/>
                  <a:pt x="668" y="1375"/>
                  <a:pt x="668" y="1375"/>
                </a:cubicBezTo>
                <a:cubicBezTo>
                  <a:pt x="669" y="1376"/>
                  <a:pt x="669" y="1376"/>
                  <a:pt x="669" y="1376"/>
                </a:cubicBezTo>
                <a:cubicBezTo>
                  <a:pt x="670" y="1377"/>
                  <a:pt x="673" y="1380"/>
                  <a:pt x="672" y="1379"/>
                </a:cubicBezTo>
                <a:cubicBezTo>
                  <a:pt x="674" y="1378"/>
                  <a:pt x="674" y="1378"/>
                  <a:pt x="674" y="1378"/>
                </a:cubicBezTo>
                <a:cubicBezTo>
                  <a:pt x="676" y="1380"/>
                  <a:pt x="675" y="1379"/>
                  <a:pt x="679" y="1381"/>
                </a:cubicBezTo>
                <a:cubicBezTo>
                  <a:pt x="681" y="1381"/>
                  <a:pt x="681" y="1382"/>
                  <a:pt x="680" y="1384"/>
                </a:cubicBezTo>
                <a:cubicBezTo>
                  <a:pt x="680" y="1384"/>
                  <a:pt x="680" y="1384"/>
                  <a:pt x="679" y="1383"/>
                </a:cubicBezTo>
                <a:cubicBezTo>
                  <a:pt x="678" y="1383"/>
                  <a:pt x="678" y="1383"/>
                  <a:pt x="678" y="1384"/>
                </a:cubicBezTo>
                <a:cubicBezTo>
                  <a:pt x="677" y="1384"/>
                  <a:pt x="678" y="1384"/>
                  <a:pt x="678" y="1385"/>
                </a:cubicBezTo>
                <a:cubicBezTo>
                  <a:pt x="678" y="1385"/>
                  <a:pt x="679" y="1386"/>
                  <a:pt x="679" y="1386"/>
                </a:cubicBezTo>
                <a:cubicBezTo>
                  <a:pt x="681" y="1386"/>
                  <a:pt x="681" y="1386"/>
                  <a:pt x="681" y="1386"/>
                </a:cubicBezTo>
                <a:cubicBezTo>
                  <a:pt x="682" y="1386"/>
                  <a:pt x="682" y="1387"/>
                  <a:pt x="682" y="1388"/>
                </a:cubicBezTo>
                <a:cubicBezTo>
                  <a:pt x="682" y="1389"/>
                  <a:pt x="684" y="1389"/>
                  <a:pt x="684" y="1388"/>
                </a:cubicBezTo>
                <a:cubicBezTo>
                  <a:pt x="684" y="1383"/>
                  <a:pt x="686" y="1390"/>
                  <a:pt x="687" y="1390"/>
                </a:cubicBezTo>
                <a:cubicBezTo>
                  <a:pt x="688" y="1391"/>
                  <a:pt x="690" y="1390"/>
                  <a:pt x="691" y="1393"/>
                </a:cubicBezTo>
                <a:cubicBezTo>
                  <a:pt x="691" y="1393"/>
                  <a:pt x="690" y="1393"/>
                  <a:pt x="690" y="1394"/>
                </a:cubicBezTo>
                <a:cubicBezTo>
                  <a:pt x="689" y="1394"/>
                  <a:pt x="688" y="1393"/>
                  <a:pt x="687" y="1392"/>
                </a:cubicBezTo>
                <a:cubicBezTo>
                  <a:pt x="687" y="1392"/>
                  <a:pt x="687" y="1392"/>
                  <a:pt x="687" y="1392"/>
                </a:cubicBezTo>
                <a:cubicBezTo>
                  <a:pt x="686" y="1392"/>
                  <a:pt x="684" y="1391"/>
                  <a:pt x="683" y="1391"/>
                </a:cubicBezTo>
                <a:cubicBezTo>
                  <a:pt x="683" y="1391"/>
                  <a:pt x="682" y="1392"/>
                  <a:pt x="682" y="1392"/>
                </a:cubicBezTo>
                <a:cubicBezTo>
                  <a:pt x="682" y="1393"/>
                  <a:pt x="684" y="1394"/>
                  <a:pt x="684" y="1394"/>
                </a:cubicBezTo>
                <a:cubicBezTo>
                  <a:pt x="686" y="1395"/>
                  <a:pt x="686" y="1395"/>
                  <a:pt x="686" y="1395"/>
                </a:cubicBezTo>
                <a:cubicBezTo>
                  <a:pt x="686" y="1395"/>
                  <a:pt x="687" y="1396"/>
                  <a:pt x="687" y="1396"/>
                </a:cubicBezTo>
                <a:cubicBezTo>
                  <a:pt x="687" y="1396"/>
                  <a:pt x="687" y="1397"/>
                  <a:pt x="687" y="1397"/>
                </a:cubicBezTo>
                <a:cubicBezTo>
                  <a:pt x="686" y="1398"/>
                  <a:pt x="686" y="1397"/>
                  <a:pt x="686" y="1397"/>
                </a:cubicBezTo>
                <a:cubicBezTo>
                  <a:pt x="685" y="1396"/>
                  <a:pt x="684" y="1396"/>
                  <a:pt x="684" y="1397"/>
                </a:cubicBezTo>
                <a:cubicBezTo>
                  <a:pt x="684" y="1398"/>
                  <a:pt x="686" y="1398"/>
                  <a:pt x="687" y="1399"/>
                </a:cubicBezTo>
                <a:cubicBezTo>
                  <a:pt x="687" y="1399"/>
                  <a:pt x="687" y="1399"/>
                  <a:pt x="687" y="1399"/>
                </a:cubicBezTo>
                <a:cubicBezTo>
                  <a:pt x="686" y="1400"/>
                  <a:pt x="685" y="1399"/>
                  <a:pt x="685" y="1400"/>
                </a:cubicBezTo>
                <a:cubicBezTo>
                  <a:pt x="686" y="1402"/>
                  <a:pt x="686" y="1402"/>
                  <a:pt x="686" y="1402"/>
                </a:cubicBezTo>
                <a:cubicBezTo>
                  <a:pt x="686" y="1403"/>
                  <a:pt x="687" y="1404"/>
                  <a:pt x="687" y="1405"/>
                </a:cubicBezTo>
                <a:cubicBezTo>
                  <a:pt x="691" y="1407"/>
                  <a:pt x="688" y="1405"/>
                  <a:pt x="688" y="1404"/>
                </a:cubicBezTo>
                <a:cubicBezTo>
                  <a:pt x="688" y="1403"/>
                  <a:pt x="688" y="1402"/>
                  <a:pt x="689" y="1401"/>
                </a:cubicBezTo>
                <a:cubicBezTo>
                  <a:pt x="690" y="1402"/>
                  <a:pt x="690" y="1402"/>
                  <a:pt x="690" y="1402"/>
                </a:cubicBezTo>
                <a:cubicBezTo>
                  <a:pt x="691" y="1402"/>
                  <a:pt x="691" y="1402"/>
                  <a:pt x="691" y="1402"/>
                </a:cubicBezTo>
                <a:cubicBezTo>
                  <a:pt x="690" y="1403"/>
                  <a:pt x="690" y="1404"/>
                  <a:pt x="691" y="1405"/>
                </a:cubicBezTo>
                <a:cubicBezTo>
                  <a:pt x="690" y="1408"/>
                  <a:pt x="691" y="1406"/>
                  <a:pt x="693" y="1408"/>
                </a:cubicBezTo>
                <a:cubicBezTo>
                  <a:pt x="694" y="1408"/>
                  <a:pt x="695" y="1409"/>
                  <a:pt x="695" y="1409"/>
                </a:cubicBezTo>
                <a:cubicBezTo>
                  <a:pt x="696" y="1410"/>
                  <a:pt x="695" y="1410"/>
                  <a:pt x="695" y="1410"/>
                </a:cubicBezTo>
                <a:cubicBezTo>
                  <a:pt x="695" y="1410"/>
                  <a:pt x="694" y="1409"/>
                  <a:pt x="694" y="1409"/>
                </a:cubicBezTo>
                <a:cubicBezTo>
                  <a:pt x="693" y="1409"/>
                  <a:pt x="692" y="1408"/>
                  <a:pt x="690" y="1408"/>
                </a:cubicBezTo>
                <a:cubicBezTo>
                  <a:pt x="691" y="1409"/>
                  <a:pt x="691" y="1409"/>
                  <a:pt x="691" y="1410"/>
                </a:cubicBezTo>
                <a:cubicBezTo>
                  <a:pt x="691" y="1410"/>
                  <a:pt x="691" y="1410"/>
                  <a:pt x="691" y="1410"/>
                </a:cubicBezTo>
                <a:cubicBezTo>
                  <a:pt x="691" y="1411"/>
                  <a:pt x="692" y="1412"/>
                  <a:pt x="693" y="1412"/>
                </a:cubicBezTo>
                <a:cubicBezTo>
                  <a:pt x="694" y="1412"/>
                  <a:pt x="693" y="1411"/>
                  <a:pt x="694" y="1411"/>
                </a:cubicBezTo>
                <a:cubicBezTo>
                  <a:pt x="695" y="1412"/>
                  <a:pt x="695" y="1412"/>
                  <a:pt x="695" y="1412"/>
                </a:cubicBezTo>
                <a:cubicBezTo>
                  <a:pt x="695" y="1412"/>
                  <a:pt x="695" y="1413"/>
                  <a:pt x="694" y="1413"/>
                </a:cubicBezTo>
                <a:cubicBezTo>
                  <a:pt x="694" y="1413"/>
                  <a:pt x="694" y="1413"/>
                  <a:pt x="694" y="1413"/>
                </a:cubicBezTo>
                <a:cubicBezTo>
                  <a:pt x="694" y="1414"/>
                  <a:pt x="694" y="1414"/>
                  <a:pt x="694" y="1414"/>
                </a:cubicBezTo>
                <a:cubicBezTo>
                  <a:pt x="694" y="1414"/>
                  <a:pt x="696" y="1415"/>
                  <a:pt x="697" y="1416"/>
                </a:cubicBezTo>
                <a:cubicBezTo>
                  <a:pt x="697" y="1416"/>
                  <a:pt x="695" y="1418"/>
                  <a:pt x="696" y="1417"/>
                </a:cubicBezTo>
                <a:cubicBezTo>
                  <a:pt x="696" y="1418"/>
                  <a:pt x="697" y="1418"/>
                  <a:pt x="697" y="1418"/>
                </a:cubicBezTo>
                <a:cubicBezTo>
                  <a:pt x="697" y="1419"/>
                  <a:pt x="697" y="1419"/>
                  <a:pt x="696" y="1419"/>
                </a:cubicBezTo>
                <a:cubicBezTo>
                  <a:pt x="695" y="1419"/>
                  <a:pt x="696" y="1419"/>
                  <a:pt x="696" y="1420"/>
                </a:cubicBezTo>
                <a:cubicBezTo>
                  <a:pt x="696" y="1420"/>
                  <a:pt x="698" y="1421"/>
                  <a:pt x="697" y="1421"/>
                </a:cubicBezTo>
                <a:cubicBezTo>
                  <a:pt x="697" y="1421"/>
                  <a:pt x="698" y="1420"/>
                  <a:pt x="698" y="1420"/>
                </a:cubicBezTo>
                <a:cubicBezTo>
                  <a:pt x="699" y="1419"/>
                  <a:pt x="698" y="1418"/>
                  <a:pt x="699" y="1418"/>
                </a:cubicBezTo>
                <a:cubicBezTo>
                  <a:pt x="699" y="1418"/>
                  <a:pt x="700" y="1420"/>
                  <a:pt x="700" y="1420"/>
                </a:cubicBezTo>
                <a:cubicBezTo>
                  <a:pt x="700" y="1420"/>
                  <a:pt x="698" y="1421"/>
                  <a:pt x="698" y="1421"/>
                </a:cubicBezTo>
                <a:cubicBezTo>
                  <a:pt x="699" y="1422"/>
                  <a:pt x="699" y="1421"/>
                  <a:pt x="697" y="1422"/>
                </a:cubicBezTo>
                <a:cubicBezTo>
                  <a:pt x="698" y="1423"/>
                  <a:pt x="698" y="1425"/>
                  <a:pt x="700" y="1425"/>
                </a:cubicBezTo>
                <a:cubicBezTo>
                  <a:pt x="701" y="1425"/>
                  <a:pt x="701" y="1425"/>
                  <a:pt x="702" y="1425"/>
                </a:cubicBezTo>
                <a:cubicBezTo>
                  <a:pt x="702" y="1425"/>
                  <a:pt x="703" y="1427"/>
                  <a:pt x="703" y="1427"/>
                </a:cubicBezTo>
                <a:cubicBezTo>
                  <a:pt x="702" y="1428"/>
                  <a:pt x="702" y="1428"/>
                  <a:pt x="702" y="1428"/>
                </a:cubicBezTo>
                <a:cubicBezTo>
                  <a:pt x="702" y="1428"/>
                  <a:pt x="702" y="1428"/>
                  <a:pt x="702" y="1428"/>
                </a:cubicBezTo>
                <a:cubicBezTo>
                  <a:pt x="703" y="1429"/>
                  <a:pt x="703" y="1430"/>
                  <a:pt x="703" y="1430"/>
                </a:cubicBezTo>
                <a:cubicBezTo>
                  <a:pt x="702" y="1430"/>
                  <a:pt x="702" y="1429"/>
                  <a:pt x="701" y="1429"/>
                </a:cubicBezTo>
                <a:cubicBezTo>
                  <a:pt x="700" y="1429"/>
                  <a:pt x="703" y="1432"/>
                  <a:pt x="703" y="1432"/>
                </a:cubicBezTo>
                <a:cubicBezTo>
                  <a:pt x="703" y="1432"/>
                  <a:pt x="704" y="1432"/>
                  <a:pt x="704" y="1432"/>
                </a:cubicBezTo>
                <a:cubicBezTo>
                  <a:pt x="704" y="1431"/>
                  <a:pt x="703" y="1432"/>
                  <a:pt x="704" y="1430"/>
                </a:cubicBezTo>
                <a:cubicBezTo>
                  <a:pt x="705" y="1431"/>
                  <a:pt x="705" y="1431"/>
                  <a:pt x="705" y="1431"/>
                </a:cubicBezTo>
                <a:cubicBezTo>
                  <a:pt x="707" y="1432"/>
                  <a:pt x="707" y="1434"/>
                  <a:pt x="708" y="1435"/>
                </a:cubicBezTo>
                <a:cubicBezTo>
                  <a:pt x="710" y="1434"/>
                  <a:pt x="709" y="1434"/>
                  <a:pt x="708" y="1431"/>
                </a:cubicBezTo>
                <a:cubicBezTo>
                  <a:pt x="708" y="1432"/>
                  <a:pt x="709" y="1432"/>
                  <a:pt x="709" y="1433"/>
                </a:cubicBezTo>
                <a:cubicBezTo>
                  <a:pt x="709" y="1433"/>
                  <a:pt x="709" y="1434"/>
                  <a:pt x="709" y="1434"/>
                </a:cubicBezTo>
                <a:cubicBezTo>
                  <a:pt x="709" y="1435"/>
                  <a:pt x="711" y="1435"/>
                  <a:pt x="711" y="1434"/>
                </a:cubicBezTo>
                <a:cubicBezTo>
                  <a:pt x="711" y="1434"/>
                  <a:pt x="711" y="1434"/>
                  <a:pt x="711" y="1433"/>
                </a:cubicBezTo>
                <a:cubicBezTo>
                  <a:pt x="711" y="1432"/>
                  <a:pt x="709" y="1430"/>
                  <a:pt x="709" y="1430"/>
                </a:cubicBezTo>
                <a:cubicBezTo>
                  <a:pt x="709" y="1429"/>
                  <a:pt x="711" y="1431"/>
                  <a:pt x="712" y="1432"/>
                </a:cubicBezTo>
                <a:cubicBezTo>
                  <a:pt x="712" y="1432"/>
                  <a:pt x="713" y="1431"/>
                  <a:pt x="713" y="1431"/>
                </a:cubicBezTo>
                <a:cubicBezTo>
                  <a:pt x="713" y="1431"/>
                  <a:pt x="712" y="1430"/>
                  <a:pt x="712" y="1430"/>
                </a:cubicBezTo>
                <a:cubicBezTo>
                  <a:pt x="712" y="1430"/>
                  <a:pt x="712" y="1431"/>
                  <a:pt x="708" y="1428"/>
                </a:cubicBezTo>
                <a:cubicBezTo>
                  <a:pt x="711" y="1428"/>
                  <a:pt x="712" y="1430"/>
                  <a:pt x="715" y="1431"/>
                </a:cubicBezTo>
                <a:cubicBezTo>
                  <a:pt x="716" y="1432"/>
                  <a:pt x="716" y="1433"/>
                  <a:pt x="716" y="1433"/>
                </a:cubicBezTo>
                <a:cubicBezTo>
                  <a:pt x="716" y="1433"/>
                  <a:pt x="717" y="1434"/>
                  <a:pt x="717" y="1435"/>
                </a:cubicBezTo>
                <a:cubicBezTo>
                  <a:pt x="717" y="1435"/>
                  <a:pt x="717" y="1435"/>
                  <a:pt x="717" y="1435"/>
                </a:cubicBezTo>
                <a:cubicBezTo>
                  <a:pt x="719" y="1437"/>
                  <a:pt x="718" y="1436"/>
                  <a:pt x="718" y="1437"/>
                </a:cubicBezTo>
                <a:cubicBezTo>
                  <a:pt x="718" y="1438"/>
                  <a:pt x="718" y="1437"/>
                  <a:pt x="719" y="1440"/>
                </a:cubicBezTo>
                <a:cubicBezTo>
                  <a:pt x="719" y="1441"/>
                  <a:pt x="720" y="1440"/>
                  <a:pt x="721" y="1440"/>
                </a:cubicBezTo>
                <a:cubicBezTo>
                  <a:pt x="723" y="1440"/>
                  <a:pt x="728" y="1439"/>
                  <a:pt x="728" y="1441"/>
                </a:cubicBezTo>
                <a:cubicBezTo>
                  <a:pt x="726" y="1442"/>
                  <a:pt x="723" y="1440"/>
                  <a:pt x="722" y="1441"/>
                </a:cubicBezTo>
                <a:cubicBezTo>
                  <a:pt x="722" y="1443"/>
                  <a:pt x="722" y="1443"/>
                  <a:pt x="722" y="1443"/>
                </a:cubicBezTo>
                <a:cubicBezTo>
                  <a:pt x="721" y="1444"/>
                  <a:pt x="721" y="1444"/>
                  <a:pt x="721" y="1444"/>
                </a:cubicBezTo>
                <a:cubicBezTo>
                  <a:pt x="721" y="1444"/>
                  <a:pt x="721" y="1442"/>
                  <a:pt x="721" y="1442"/>
                </a:cubicBezTo>
                <a:cubicBezTo>
                  <a:pt x="719" y="1442"/>
                  <a:pt x="718" y="1442"/>
                  <a:pt x="718" y="1440"/>
                </a:cubicBezTo>
                <a:cubicBezTo>
                  <a:pt x="718" y="1440"/>
                  <a:pt x="718" y="1439"/>
                  <a:pt x="718" y="1439"/>
                </a:cubicBezTo>
                <a:cubicBezTo>
                  <a:pt x="718" y="1438"/>
                  <a:pt x="718" y="1439"/>
                  <a:pt x="717" y="1439"/>
                </a:cubicBezTo>
                <a:cubicBezTo>
                  <a:pt x="716" y="1438"/>
                  <a:pt x="717" y="1437"/>
                  <a:pt x="718" y="1437"/>
                </a:cubicBezTo>
                <a:cubicBezTo>
                  <a:pt x="717" y="1436"/>
                  <a:pt x="716" y="1434"/>
                  <a:pt x="715" y="1434"/>
                </a:cubicBezTo>
                <a:cubicBezTo>
                  <a:pt x="714" y="1434"/>
                  <a:pt x="714" y="1434"/>
                  <a:pt x="714" y="1434"/>
                </a:cubicBezTo>
                <a:cubicBezTo>
                  <a:pt x="712" y="1435"/>
                  <a:pt x="714" y="1436"/>
                  <a:pt x="710" y="1436"/>
                </a:cubicBezTo>
                <a:cubicBezTo>
                  <a:pt x="708" y="1436"/>
                  <a:pt x="709" y="1437"/>
                  <a:pt x="709" y="1438"/>
                </a:cubicBezTo>
                <a:cubicBezTo>
                  <a:pt x="709" y="1440"/>
                  <a:pt x="709" y="1440"/>
                  <a:pt x="709" y="1440"/>
                </a:cubicBezTo>
                <a:cubicBezTo>
                  <a:pt x="709" y="1440"/>
                  <a:pt x="711" y="1442"/>
                  <a:pt x="711" y="1442"/>
                </a:cubicBezTo>
                <a:cubicBezTo>
                  <a:pt x="712" y="1442"/>
                  <a:pt x="712" y="1440"/>
                  <a:pt x="714" y="1440"/>
                </a:cubicBezTo>
                <a:cubicBezTo>
                  <a:pt x="714" y="1440"/>
                  <a:pt x="714" y="1442"/>
                  <a:pt x="714" y="1442"/>
                </a:cubicBezTo>
                <a:cubicBezTo>
                  <a:pt x="714" y="1444"/>
                  <a:pt x="713" y="1443"/>
                  <a:pt x="716" y="1445"/>
                </a:cubicBezTo>
                <a:cubicBezTo>
                  <a:pt x="716" y="1445"/>
                  <a:pt x="719" y="1445"/>
                  <a:pt x="719" y="1445"/>
                </a:cubicBezTo>
                <a:cubicBezTo>
                  <a:pt x="719" y="1445"/>
                  <a:pt x="719" y="1445"/>
                  <a:pt x="719" y="1446"/>
                </a:cubicBezTo>
                <a:cubicBezTo>
                  <a:pt x="720" y="1447"/>
                  <a:pt x="719" y="1446"/>
                  <a:pt x="719" y="1446"/>
                </a:cubicBezTo>
                <a:cubicBezTo>
                  <a:pt x="719" y="1446"/>
                  <a:pt x="717" y="1447"/>
                  <a:pt x="718" y="1447"/>
                </a:cubicBezTo>
                <a:cubicBezTo>
                  <a:pt x="719" y="1449"/>
                  <a:pt x="719" y="1449"/>
                  <a:pt x="719" y="1449"/>
                </a:cubicBezTo>
                <a:cubicBezTo>
                  <a:pt x="718" y="1450"/>
                  <a:pt x="717" y="1449"/>
                  <a:pt x="717" y="1452"/>
                </a:cubicBezTo>
                <a:cubicBezTo>
                  <a:pt x="717" y="1452"/>
                  <a:pt x="720" y="1452"/>
                  <a:pt x="720" y="1452"/>
                </a:cubicBezTo>
                <a:cubicBezTo>
                  <a:pt x="720" y="1452"/>
                  <a:pt x="720" y="1452"/>
                  <a:pt x="720" y="1452"/>
                </a:cubicBezTo>
                <a:cubicBezTo>
                  <a:pt x="721" y="1457"/>
                  <a:pt x="721" y="1456"/>
                  <a:pt x="723" y="1455"/>
                </a:cubicBezTo>
                <a:cubicBezTo>
                  <a:pt x="725" y="1454"/>
                  <a:pt x="723" y="1454"/>
                  <a:pt x="723" y="1454"/>
                </a:cubicBezTo>
                <a:cubicBezTo>
                  <a:pt x="723" y="1453"/>
                  <a:pt x="723" y="1453"/>
                  <a:pt x="724" y="1453"/>
                </a:cubicBezTo>
                <a:cubicBezTo>
                  <a:pt x="725" y="1453"/>
                  <a:pt x="723" y="1454"/>
                  <a:pt x="725" y="1456"/>
                </a:cubicBezTo>
                <a:cubicBezTo>
                  <a:pt x="726" y="1457"/>
                  <a:pt x="726" y="1456"/>
                  <a:pt x="727" y="1455"/>
                </a:cubicBezTo>
                <a:cubicBezTo>
                  <a:pt x="728" y="1455"/>
                  <a:pt x="727" y="1455"/>
                  <a:pt x="728" y="1454"/>
                </a:cubicBezTo>
                <a:cubicBezTo>
                  <a:pt x="730" y="1453"/>
                  <a:pt x="728" y="1452"/>
                  <a:pt x="727" y="1452"/>
                </a:cubicBezTo>
                <a:cubicBezTo>
                  <a:pt x="727" y="1450"/>
                  <a:pt x="727" y="1451"/>
                  <a:pt x="728" y="1451"/>
                </a:cubicBezTo>
                <a:cubicBezTo>
                  <a:pt x="729" y="1450"/>
                  <a:pt x="729" y="1450"/>
                  <a:pt x="729" y="1450"/>
                </a:cubicBezTo>
                <a:cubicBezTo>
                  <a:pt x="729" y="1450"/>
                  <a:pt x="728" y="1452"/>
                  <a:pt x="730" y="1452"/>
                </a:cubicBezTo>
                <a:cubicBezTo>
                  <a:pt x="734" y="1451"/>
                  <a:pt x="736" y="1454"/>
                  <a:pt x="738" y="1452"/>
                </a:cubicBezTo>
                <a:cubicBezTo>
                  <a:pt x="739" y="1451"/>
                  <a:pt x="738" y="1451"/>
                  <a:pt x="738" y="1451"/>
                </a:cubicBezTo>
                <a:cubicBezTo>
                  <a:pt x="738" y="1449"/>
                  <a:pt x="738" y="1449"/>
                  <a:pt x="737" y="1447"/>
                </a:cubicBezTo>
                <a:cubicBezTo>
                  <a:pt x="736" y="1447"/>
                  <a:pt x="736" y="1447"/>
                  <a:pt x="736" y="1446"/>
                </a:cubicBezTo>
                <a:cubicBezTo>
                  <a:pt x="736" y="1444"/>
                  <a:pt x="735" y="1443"/>
                  <a:pt x="735" y="1442"/>
                </a:cubicBezTo>
                <a:cubicBezTo>
                  <a:pt x="735" y="1440"/>
                  <a:pt x="737" y="1441"/>
                  <a:pt x="738" y="1441"/>
                </a:cubicBezTo>
                <a:cubicBezTo>
                  <a:pt x="738" y="1440"/>
                  <a:pt x="739" y="1440"/>
                  <a:pt x="740" y="1439"/>
                </a:cubicBezTo>
                <a:cubicBezTo>
                  <a:pt x="741" y="1439"/>
                  <a:pt x="743" y="1439"/>
                  <a:pt x="744" y="1438"/>
                </a:cubicBezTo>
                <a:cubicBezTo>
                  <a:pt x="744" y="1438"/>
                  <a:pt x="744" y="1437"/>
                  <a:pt x="744" y="1436"/>
                </a:cubicBezTo>
                <a:cubicBezTo>
                  <a:pt x="747" y="1436"/>
                  <a:pt x="747" y="1436"/>
                  <a:pt x="747" y="1436"/>
                </a:cubicBezTo>
                <a:cubicBezTo>
                  <a:pt x="749" y="1437"/>
                  <a:pt x="749" y="1437"/>
                  <a:pt x="749" y="1437"/>
                </a:cubicBezTo>
                <a:cubicBezTo>
                  <a:pt x="752" y="1436"/>
                  <a:pt x="752" y="1436"/>
                  <a:pt x="752" y="1436"/>
                </a:cubicBezTo>
                <a:cubicBezTo>
                  <a:pt x="751" y="1436"/>
                  <a:pt x="751" y="1436"/>
                  <a:pt x="751" y="1436"/>
                </a:cubicBezTo>
                <a:cubicBezTo>
                  <a:pt x="751" y="1435"/>
                  <a:pt x="751" y="1435"/>
                  <a:pt x="751" y="1435"/>
                </a:cubicBezTo>
                <a:cubicBezTo>
                  <a:pt x="751" y="1435"/>
                  <a:pt x="746" y="1431"/>
                  <a:pt x="746" y="1431"/>
                </a:cubicBezTo>
                <a:cubicBezTo>
                  <a:pt x="746" y="1430"/>
                  <a:pt x="744" y="1430"/>
                  <a:pt x="744" y="1430"/>
                </a:cubicBezTo>
                <a:cubicBezTo>
                  <a:pt x="744" y="1429"/>
                  <a:pt x="744" y="1429"/>
                  <a:pt x="744" y="1429"/>
                </a:cubicBezTo>
                <a:cubicBezTo>
                  <a:pt x="744" y="1428"/>
                  <a:pt x="743" y="1426"/>
                  <a:pt x="742" y="1425"/>
                </a:cubicBezTo>
                <a:cubicBezTo>
                  <a:pt x="741" y="1425"/>
                  <a:pt x="740" y="1424"/>
                  <a:pt x="739" y="1423"/>
                </a:cubicBezTo>
                <a:cubicBezTo>
                  <a:pt x="739" y="1422"/>
                  <a:pt x="739" y="1422"/>
                  <a:pt x="739" y="1421"/>
                </a:cubicBezTo>
                <a:cubicBezTo>
                  <a:pt x="739" y="1421"/>
                  <a:pt x="739" y="1418"/>
                  <a:pt x="739" y="1418"/>
                </a:cubicBezTo>
                <a:cubicBezTo>
                  <a:pt x="739" y="1417"/>
                  <a:pt x="741" y="1414"/>
                  <a:pt x="741" y="1414"/>
                </a:cubicBezTo>
                <a:cubicBezTo>
                  <a:pt x="741" y="1414"/>
                  <a:pt x="743" y="1414"/>
                  <a:pt x="743" y="1414"/>
                </a:cubicBezTo>
                <a:cubicBezTo>
                  <a:pt x="743" y="1413"/>
                  <a:pt x="743" y="1414"/>
                  <a:pt x="743" y="1414"/>
                </a:cubicBezTo>
                <a:cubicBezTo>
                  <a:pt x="744" y="1413"/>
                  <a:pt x="746" y="1410"/>
                  <a:pt x="746" y="1409"/>
                </a:cubicBezTo>
                <a:cubicBezTo>
                  <a:pt x="746" y="1408"/>
                  <a:pt x="744" y="1404"/>
                  <a:pt x="743" y="1404"/>
                </a:cubicBezTo>
                <a:cubicBezTo>
                  <a:pt x="745" y="1400"/>
                  <a:pt x="745" y="1400"/>
                  <a:pt x="745" y="1400"/>
                </a:cubicBezTo>
                <a:cubicBezTo>
                  <a:pt x="746" y="1399"/>
                  <a:pt x="749" y="1397"/>
                  <a:pt x="751" y="1394"/>
                </a:cubicBezTo>
                <a:cubicBezTo>
                  <a:pt x="753" y="1392"/>
                  <a:pt x="753" y="1392"/>
                  <a:pt x="754" y="1391"/>
                </a:cubicBezTo>
                <a:cubicBezTo>
                  <a:pt x="754" y="1390"/>
                  <a:pt x="752" y="1389"/>
                  <a:pt x="752" y="1389"/>
                </a:cubicBezTo>
                <a:cubicBezTo>
                  <a:pt x="753" y="1388"/>
                  <a:pt x="753" y="1388"/>
                  <a:pt x="753" y="1388"/>
                </a:cubicBezTo>
                <a:cubicBezTo>
                  <a:pt x="753" y="1387"/>
                  <a:pt x="753" y="1384"/>
                  <a:pt x="753" y="1383"/>
                </a:cubicBezTo>
                <a:cubicBezTo>
                  <a:pt x="751" y="1381"/>
                  <a:pt x="751" y="1381"/>
                  <a:pt x="751" y="1381"/>
                </a:cubicBezTo>
                <a:cubicBezTo>
                  <a:pt x="750" y="1381"/>
                  <a:pt x="746" y="1380"/>
                  <a:pt x="745" y="1380"/>
                </a:cubicBezTo>
                <a:cubicBezTo>
                  <a:pt x="744" y="1380"/>
                  <a:pt x="743" y="1380"/>
                  <a:pt x="742" y="1379"/>
                </a:cubicBezTo>
                <a:cubicBezTo>
                  <a:pt x="739" y="1379"/>
                  <a:pt x="736" y="1376"/>
                  <a:pt x="735" y="1376"/>
                </a:cubicBezTo>
                <a:cubicBezTo>
                  <a:pt x="735" y="1376"/>
                  <a:pt x="732" y="1371"/>
                  <a:pt x="731" y="1371"/>
                </a:cubicBezTo>
                <a:cubicBezTo>
                  <a:pt x="731" y="1371"/>
                  <a:pt x="731" y="1368"/>
                  <a:pt x="731" y="1368"/>
                </a:cubicBezTo>
                <a:cubicBezTo>
                  <a:pt x="731" y="1367"/>
                  <a:pt x="732" y="1366"/>
                  <a:pt x="732" y="1365"/>
                </a:cubicBezTo>
                <a:cubicBezTo>
                  <a:pt x="733" y="1364"/>
                  <a:pt x="733" y="1362"/>
                  <a:pt x="733" y="1362"/>
                </a:cubicBezTo>
                <a:cubicBezTo>
                  <a:pt x="733" y="1361"/>
                  <a:pt x="735" y="1361"/>
                  <a:pt x="735" y="1361"/>
                </a:cubicBezTo>
                <a:cubicBezTo>
                  <a:pt x="737" y="1359"/>
                  <a:pt x="737" y="1359"/>
                  <a:pt x="737" y="1359"/>
                </a:cubicBezTo>
                <a:cubicBezTo>
                  <a:pt x="740" y="1358"/>
                  <a:pt x="740" y="1358"/>
                  <a:pt x="740" y="1358"/>
                </a:cubicBezTo>
                <a:cubicBezTo>
                  <a:pt x="741" y="1359"/>
                  <a:pt x="741" y="1360"/>
                  <a:pt x="744" y="1359"/>
                </a:cubicBezTo>
                <a:cubicBezTo>
                  <a:pt x="746" y="1358"/>
                  <a:pt x="742" y="1357"/>
                  <a:pt x="742" y="1355"/>
                </a:cubicBezTo>
                <a:cubicBezTo>
                  <a:pt x="744" y="1353"/>
                  <a:pt x="744" y="1353"/>
                  <a:pt x="744" y="1353"/>
                </a:cubicBezTo>
                <a:cubicBezTo>
                  <a:pt x="743" y="1348"/>
                  <a:pt x="743" y="1351"/>
                  <a:pt x="741" y="1347"/>
                </a:cubicBezTo>
                <a:cubicBezTo>
                  <a:pt x="741" y="1346"/>
                  <a:pt x="742" y="1341"/>
                  <a:pt x="743" y="1339"/>
                </a:cubicBezTo>
                <a:cubicBezTo>
                  <a:pt x="748" y="1337"/>
                  <a:pt x="748" y="1337"/>
                  <a:pt x="748" y="1337"/>
                </a:cubicBezTo>
                <a:cubicBezTo>
                  <a:pt x="744" y="1336"/>
                  <a:pt x="746" y="1335"/>
                  <a:pt x="741" y="1335"/>
                </a:cubicBezTo>
                <a:cubicBezTo>
                  <a:pt x="741" y="1334"/>
                  <a:pt x="741" y="1334"/>
                  <a:pt x="741" y="1334"/>
                </a:cubicBezTo>
                <a:cubicBezTo>
                  <a:pt x="742" y="1333"/>
                  <a:pt x="742" y="1333"/>
                  <a:pt x="742" y="1333"/>
                </a:cubicBezTo>
                <a:cubicBezTo>
                  <a:pt x="743" y="1332"/>
                  <a:pt x="744" y="1330"/>
                  <a:pt x="747" y="1334"/>
                </a:cubicBezTo>
                <a:cubicBezTo>
                  <a:pt x="748" y="1335"/>
                  <a:pt x="749" y="1336"/>
                  <a:pt x="750" y="1336"/>
                </a:cubicBezTo>
                <a:cubicBezTo>
                  <a:pt x="751" y="1336"/>
                  <a:pt x="752" y="1335"/>
                  <a:pt x="752" y="1335"/>
                </a:cubicBezTo>
                <a:cubicBezTo>
                  <a:pt x="752" y="1333"/>
                  <a:pt x="752" y="1331"/>
                  <a:pt x="752" y="1330"/>
                </a:cubicBezTo>
                <a:cubicBezTo>
                  <a:pt x="752" y="1330"/>
                  <a:pt x="751" y="1329"/>
                  <a:pt x="749" y="1328"/>
                </a:cubicBezTo>
                <a:cubicBezTo>
                  <a:pt x="748" y="1327"/>
                  <a:pt x="748" y="1327"/>
                  <a:pt x="748" y="1327"/>
                </a:cubicBezTo>
                <a:cubicBezTo>
                  <a:pt x="747" y="1327"/>
                  <a:pt x="745" y="1327"/>
                  <a:pt x="745" y="1329"/>
                </a:cubicBezTo>
                <a:cubicBezTo>
                  <a:pt x="746" y="1329"/>
                  <a:pt x="747" y="1328"/>
                  <a:pt x="747" y="1329"/>
                </a:cubicBezTo>
                <a:cubicBezTo>
                  <a:pt x="745" y="1331"/>
                  <a:pt x="745" y="1331"/>
                  <a:pt x="743" y="1331"/>
                </a:cubicBezTo>
                <a:cubicBezTo>
                  <a:pt x="743" y="1329"/>
                  <a:pt x="743" y="1329"/>
                  <a:pt x="743" y="1329"/>
                </a:cubicBezTo>
                <a:cubicBezTo>
                  <a:pt x="742" y="1329"/>
                  <a:pt x="741" y="1328"/>
                  <a:pt x="740" y="1328"/>
                </a:cubicBezTo>
                <a:cubicBezTo>
                  <a:pt x="739" y="1328"/>
                  <a:pt x="736" y="1325"/>
                  <a:pt x="736" y="1325"/>
                </a:cubicBezTo>
                <a:cubicBezTo>
                  <a:pt x="736" y="1325"/>
                  <a:pt x="736" y="1323"/>
                  <a:pt x="736" y="1322"/>
                </a:cubicBezTo>
                <a:cubicBezTo>
                  <a:pt x="736" y="1321"/>
                  <a:pt x="735" y="1319"/>
                  <a:pt x="734" y="1318"/>
                </a:cubicBezTo>
                <a:cubicBezTo>
                  <a:pt x="734" y="1317"/>
                  <a:pt x="732" y="1316"/>
                  <a:pt x="732" y="1314"/>
                </a:cubicBezTo>
                <a:cubicBezTo>
                  <a:pt x="733" y="1312"/>
                  <a:pt x="733" y="1312"/>
                  <a:pt x="733" y="1312"/>
                </a:cubicBezTo>
                <a:cubicBezTo>
                  <a:pt x="735" y="1312"/>
                  <a:pt x="735" y="1312"/>
                  <a:pt x="735" y="1312"/>
                </a:cubicBezTo>
                <a:cubicBezTo>
                  <a:pt x="741" y="1315"/>
                  <a:pt x="741" y="1315"/>
                  <a:pt x="741" y="1315"/>
                </a:cubicBezTo>
                <a:cubicBezTo>
                  <a:pt x="747" y="1317"/>
                  <a:pt x="742" y="1317"/>
                  <a:pt x="751" y="1317"/>
                </a:cubicBezTo>
                <a:cubicBezTo>
                  <a:pt x="754" y="1317"/>
                  <a:pt x="753" y="1316"/>
                  <a:pt x="753" y="1316"/>
                </a:cubicBezTo>
                <a:cubicBezTo>
                  <a:pt x="754" y="1316"/>
                  <a:pt x="756" y="1315"/>
                  <a:pt x="756" y="1315"/>
                </a:cubicBezTo>
                <a:cubicBezTo>
                  <a:pt x="756" y="1314"/>
                  <a:pt x="758" y="1312"/>
                  <a:pt x="757" y="1311"/>
                </a:cubicBezTo>
                <a:cubicBezTo>
                  <a:pt x="757" y="1311"/>
                  <a:pt x="755" y="1308"/>
                  <a:pt x="754" y="1307"/>
                </a:cubicBezTo>
                <a:cubicBezTo>
                  <a:pt x="754" y="1304"/>
                  <a:pt x="754" y="1304"/>
                  <a:pt x="754" y="1304"/>
                </a:cubicBezTo>
                <a:cubicBezTo>
                  <a:pt x="755" y="1299"/>
                  <a:pt x="756" y="1301"/>
                  <a:pt x="754" y="1297"/>
                </a:cubicBezTo>
                <a:cubicBezTo>
                  <a:pt x="754" y="1297"/>
                  <a:pt x="753" y="1296"/>
                  <a:pt x="752" y="1296"/>
                </a:cubicBezTo>
                <a:cubicBezTo>
                  <a:pt x="752" y="1296"/>
                  <a:pt x="752" y="1295"/>
                  <a:pt x="752" y="1294"/>
                </a:cubicBezTo>
                <a:cubicBezTo>
                  <a:pt x="752" y="1294"/>
                  <a:pt x="749" y="1292"/>
                  <a:pt x="750" y="1290"/>
                </a:cubicBezTo>
                <a:cubicBezTo>
                  <a:pt x="752" y="1292"/>
                  <a:pt x="753" y="1293"/>
                  <a:pt x="756" y="1293"/>
                </a:cubicBezTo>
                <a:cubicBezTo>
                  <a:pt x="759" y="1293"/>
                  <a:pt x="767" y="1292"/>
                  <a:pt x="768" y="1292"/>
                </a:cubicBezTo>
                <a:cubicBezTo>
                  <a:pt x="769" y="1292"/>
                  <a:pt x="777" y="1291"/>
                  <a:pt x="779" y="1290"/>
                </a:cubicBezTo>
                <a:cubicBezTo>
                  <a:pt x="781" y="1289"/>
                  <a:pt x="786" y="1287"/>
                  <a:pt x="786" y="1287"/>
                </a:cubicBezTo>
                <a:cubicBezTo>
                  <a:pt x="787" y="1287"/>
                  <a:pt x="789" y="1285"/>
                  <a:pt x="790" y="1285"/>
                </a:cubicBezTo>
                <a:cubicBezTo>
                  <a:pt x="791" y="1284"/>
                  <a:pt x="791" y="1282"/>
                  <a:pt x="791" y="1282"/>
                </a:cubicBezTo>
                <a:cubicBezTo>
                  <a:pt x="791" y="1281"/>
                  <a:pt x="792" y="1280"/>
                  <a:pt x="793" y="1278"/>
                </a:cubicBezTo>
                <a:cubicBezTo>
                  <a:pt x="794" y="1277"/>
                  <a:pt x="796" y="1270"/>
                  <a:pt x="796" y="1270"/>
                </a:cubicBezTo>
                <a:cubicBezTo>
                  <a:pt x="797" y="1269"/>
                  <a:pt x="795" y="1265"/>
                  <a:pt x="795" y="1263"/>
                </a:cubicBezTo>
                <a:cubicBezTo>
                  <a:pt x="795" y="1263"/>
                  <a:pt x="793" y="1263"/>
                  <a:pt x="793" y="1263"/>
                </a:cubicBezTo>
                <a:cubicBezTo>
                  <a:pt x="790" y="1263"/>
                  <a:pt x="790" y="1263"/>
                  <a:pt x="790" y="1263"/>
                </a:cubicBezTo>
                <a:cubicBezTo>
                  <a:pt x="789" y="1261"/>
                  <a:pt x="789" y="1261"/>
                  <a:pt x="789" y="1261"/>
                </a:cubicBezTo>
                <a:cubicBezTo>
                  <a:pt x="787" y="1259"/>
                  <a:pt x="787" y="1259"/>
                  <a:pt x="787" y="1259"/>
                </a:cubicBezTo>
                <a:cubicBezTo>
                  <a:pt x="787" y="1259"/>
                  <a:pt x="787" y="1256"/>
                  <a:pt x="788" y="1256"/>
                </a:cubicBezTo>
                <a:cubicBezTo>
                  <a:pt x="788" y="1255"/>
                  <a:pt x="789" y="1253"/>
                  <a:pt x="789" y="1253"/>
                </a:cubicBezTo>
                <a:cubicBezTo>
                  <a:pt x="786" y="1250"/>
                  <a:pt x="786" y="1250"/>
                  <a:pt x="786" y="1250"/>
                </a:cubicBezTo>
                <a:cubicBezTo>
                  <a:pt x="783" y="1248"/>
                  <a:pt x="785" y="1249"/>
                  <a:pt x="779" y="1247"/>
                </a:cubicBezTo>
                <a:cubicBezTo>
                  <a:pt x="779" y="1247"/>
                  <a:pt x="775" y="1244"/>
                  <a:pt x="775" y="1244"/>
                </a:cubicBezTo>
                <a:cubicBezTo>
                  <a:pt x="773" y="1242"/>
                  <a:pt x="773" y="1242"/>
                  <a:pt x="773" y="1242"/>
                </a:cubicBezTo>
                <a:cubicBezTo>
                  <a:pt x="774" y="1240"/>
                  <a:pt x="774" y="1240"/>
                  <a:pt x="774" y="1240"/>
                </a:cubicBezTo>
                <a:cubicBezTo>
                  <a:pt x="773" y="1238"/>
                  <a:pt x="772" y="1238"/>
                  <a:pt x="772" y="1237"/>
                </a:cubicBezTo>
                <a:cubicBezTo>
                  <a:pt x="772" y="1238"/>
                  <a:pt x="773" y="1238"/>
                  <a:pt x="774" y="1239"/>
                </a:cubicBezTo>
                <a:cubicBezTo>
                  <a:pt x="776" y="1239"/>
                  <a:pt x="776" y="1239"/>
                  <a:pt x="776" y="1239"/>
                </a:cubicBezTo>
                <a:cubicBezTo>
                  <a:pt x="776" y="1239"/>
                  <a:pt x="779" y="1243"/>
                  <a:pt x="779" y="1243"/>
                </a:cubicBezTo>
                <a:cubicBezTo>
                  <a:pt x="780" y="1243"/>
                  <a:pt x="786" y="1243"/>
                  <a:pt x="786" y="1243"/>
                </a:cubicBezTo>
                <a:cubicBezTo>
                  <a:pt x="787" y="1245"/>
                  <a:pt x="787" y="1245"/>
                  <a:pt x="787" y="1245"/>
                </a:cubicBezTo>
                <a:cubicBezTo>
                  <a:pt x="791" y="1246"/>
                  <a:pt x="791" y="1246"/>
                  <a:pt x="791" y="1246"/>
                </a:cubicBezTo>
                <a:cubicBezTo>
                  <a:pt x="795" y="1248"/>
                  <a:pt x="795" y="1248"/>
                  <a:pt x="795" y="1248"/>
                </a:cubicBezTo>
                <a:cubicBezTo>
                  <a:pt x="795" y="1248"/>
                  <a:pt x="799" y="1247"/>
                  <a:pt x="799" y="1247"/>
                </a:cubicBezTo>
                <a:cubicBezTo>
                  <a:pt x="804" y="1247"/>
                  <a:pt x="804" y="1247"/>
                  <a:pt x="804" y="1247"/>
                </a:cubicBezTo>
                <a:cubicBezTo>
                  <a:pt x="807" y="1249"/>
                  <a:pt x="807" y="1249"/>
                  <a:pt x="807" y="1249"/>
                </a:cubicBezTo>
                <a:cubicBezTo>
                  <a:pt x="811" y="1246"/>
                  <a:pt x="811" y="1246"/>
                  <a:pt x="811" y="1246"/>
                </a:cubicBezTo>
                <a:cubicBezTo>
                  <a:pt x="811" y="1246"/>
                  <a:pt x="813" y="1245"/>
                  <a:pt x="814" y="1245"/>
                </a:cubicBezTo>
                <a:cubicBezTo>
                  <a:pt x="815" y="1245"/>
                  <a:pt x="816" y="1242"/>
                  <a:pt x="816" y="1241"/>
                </a:cubicBezTo>
                <a:cubicBezTo>
                  <a:pt x="817" y="1238"/>
                  <a:pt x="818" y="1237"/>
                  <a:pt x="820" y="1236"/>
                </a:cubicBezTo>
                <a:cubicBezTo>
                  <a:pt x="819" y="1235"/>
                  <a:pt x="819" y="1235"/>
                  <a:pt x="819" y="1235"/>
                </a:cubicBezTo>
                <a:cubicBezTo>
                  <a:pt x="820" y="1233"/>
                  <a:pt x="823" y="1231"/>
                  <a:pt x="823" y="1231"/>
                </a:cubicBezTo>
                <a:cubicBezTo>
                  <a:pt x="825" y="1228"/>
                  <a:pt x="825" y="1228"/>
                  <a:pt x="825" y="1228"/>
                </a:cubicBezTo>
                <a:cubicBezTo>
                  <a:pt x="825" y="1228"/>
                  <a:pt x="825" y="1224"/>
                  <a:pt x="825" y="1224"/>
                </a:cubicBezTo>
                <a:cubicBezTo>
                  <a:pt x="825" y="1222"/>
                  <a:pt x="827" y="1219"/>
                  <a:pt x="826" y="1217"/>
                </a:cubicBezTo>
                <a:cubicBezTo>
                  <a:pt x="826" y="1216"/>
                  <a:pt x="825" y="1216"/>
                  <a:pt x="825" y="1215"/>
                </a:cubicBezTo>
                <a:cubicBezTo>
                  <a:pt x="824" y="1211"/>
                  <a:pt x="826" y="1211"/>
                  <a:pt x="828" y="1209"/>
                </a:cubicBezTo>
                <a:cubicBezTo>
                  <a:pt x="828" y="1209"/>
                  <a:pt x="828" y="1208"/>
                  <a:pt x="828" y="1207"/>
                </a:cubicBezTo>
                <a:cubicBezTo>
                  <a:pt x="829" y="1207"/>
                  <a:pt x="830" y="1206"/>
                  <a:pt x="830" y="1205"/>
                </a:cubicBezTo>
                <a:cubicBezTo>
                  <a:pt x="831" y="1205"/>
                  <a:pt x="830" y="1204"/>
                  <a:pt x="831" y="1203"/>
                </a:cubicBezTo>
                <a:cubicBezTo>
                  <a:pt x="831" y="1201"/>
                  <a:pt x="832" y="1200"/>
                  <a:pt x="831" y="1198"/>
                </a:cubicBezTo>
                <a:cubicBezTo>
                  <a:pt x="831" y="1197"/>
                  <a:pt x="829" y="1196"/>
                  <a:pt x="830" y="1195"/>
                </a:cubicBezTo>
                <a:cubicBezTo>
                  <a:pt x="831" y="1195"/>
                  <a:pt x="832" y="1199"/>
                  <a:pt x="836" y="1196"/>
                </a:cubicBezTo>
                <a:cubicBezTo>
                  <a:pt x="837" y="1195"/>
                  <a:pt x="838" y="1195"/>
                  <a:pt x="838" y="1198"/>
                </a:cubicBezTo>
                <a:cubicBezTo>
                  <a:pt x="837" y="1198"/>
                  <a:pt x="837" y="1199"/>
                  <a:pt x="837" y="1199"/>
                </a:cubicBezTo>
                <a:cubicBezTo>
                  <a:pt x="836" y="1200"/>
                  <a:pt x="838" y="1201"/>
                  <a:pt x="837" y="1203"/>
                </a:cubicBezTo>
                <a:cubicBezTo>
                  <a:pt x="836" y="1204"/>
                  <a:pt x="835" y="1204"/>
                  <a:pt x="835" y="1204"/>
                </a:cubicBezTo>
                <a:cubicBezTo>
                  <a:pt x="835" y="1205"/>
                  <a:pt x="835" y="1206"/>
                  <a:pt x="835" y="1206"/>
                </a:cubicBezTo>
                <a:cubicBezTo>
                  <a:pt x="834" y="1207"/>
                  <a:pt x="834" y="1206"/>
                  <a:pt x="833" y="1207"/>
                </a:cubicBezTo>
                <a:cubicBezTo>
                  <a:pt x="833" y="1207"/>
                  <a:pt x="833" y="1210"/>
                  <a:pt x="832" y="1211"/>
                </a:cubicBezTo>
                <a:cubicBezTo>
                  <a:pt x="832" y="1211"/>
                  <a:pt x="831" y="1212"/>
                  <a:pt x="830" y="1212"/>
                </a:cubicBezTo>
                <a:cubicBezTo>
                  <a:pt x="830" y="1213"/>
                  <a:pt x="830" y="1214"/>
                  <a:pt x="829" y="1214"/>
                </a:cubicBezTo>
                <a:cubicBezTo>
                  <a:pt x="828" y="1214"/>
                  <a:pt x="826" y="1214"/>
                  <a:pt x="827" y="1216"/>
                </a:cubicBezTo>
                <a:cubicBezTo>
                  <a:pt x="827" y="1218"/>
                  <a:pt x="829" y="1217"/>
                  <a:pt x="830" y="1216"/>
                </a:cubicBezTo>
                <a:cubicBezTo>
                  <a:pt x="830" y="1215"/>
                  <a:pt x="829" y="1215"/>
                  <a:pt x="830" y="1214"/>
                </a:cubicBezTo>
                <a:cubicBezTo>
                  <a:pt x="830" y="1213"/>
                  <a:pt x="833" y="1212"/>
                  <a:pt x="835" y="1211"/>
                </a:cubicBezTo>
                <a:cubicBezTo>
                  <a:pt x="835" y="1210"/>
                  <a:pt x="836" y="1208"/>
                  <a:pt x="836" y="1207"/>
                </a:cubicBezTo>
                <a:cubicBezTo>
                  <a:pt x="837" y="1205"/>
                  <a:pt x="838" y="1203"/>
                  <a:pt x="839" y="1202"/>
                </a:cubicBezTo>
                <a:cubicBezTo>
                  <a:pt x="842" y="1197"/>
                  <a:pt x="840" y="1196"/>
                  <a:pt x="841" y="1193"/>
                </a:cubicBezTo>
                <a:cubicBezTo>
                  <a:pt x="842" y="1190"/>
                  <a:pt x="844" y="1187"/>
                  <a:pt x="844" y="1185"/>
                </a:cubicBezTo>
                <a:cubicBezTo>
                  <a:pt x="844" y="1184"/>
                  <a:pt x="846" y="1181"/>
                  <a:pt x="846" y="1181"/>
                </a:cubicBezTo>
                <a:cubicBezTo>
                  <a:pt x="847" y="1180"/>
                  <a:pt x="850" y="1178"/>
                  <a:pt x="852" y="1177"/>
                </a:cubicBezTo>
                <a:cubicBezTo>
                  <a:pt x="851" y="1175"/>
                  <a:pt x="851" y="1175"/>
                  <a:pt x="851" y="1175"/>
                </a:cubicBezTo>
                <a:cubicBezTo>
                  <a:pt x="851" y="1174"/>
                  <a:pt x="854" y="1164"/>
                  <a:pt x="852" y="1165"/>
                </a:cubicBezTo>
                <a:cubicBezTo>
                  <a:pt x="852" y="1165"/>
                  <a:pt x="852" y="1166"/>
                  <a:pt x="852" y="1164"/>
                </a:cubicBezTo>
                <a:cubicBezTo>
                  <a:pt x="852" y="1161"/>
                  <a:pt x="850" y="1158"/>
                  <a:pt x="850" y="1156"/>
                </a:cubicBezTo>
                <a:cubicBezTo>
                  <a:pt x="850" y="1154"/>
                  <a:pt x="852" y="1151"/>
                  <a:pt x="849" y="1151"/>
                </a:cubicBezTo>
                <a:cubicBezTo>
                  <a:pt x="849" y="1151"/>
                  <a:pt x="849" y="1150"/>
                  <a:pt x="849" y="1149"/>
                </a:cubicBezTo>
                <a:cubicBezTo>
                  <a:pt x="849" y="1147"/>
                  <a:pt x="849" y="1147"/>
                  <a:pt x="849" y="1147"/>
                </a:cubicBezTo>
                <a:cubicBezTo>
                  <a:pt x="850" y="1145"/>
                  <a:pt x="850" y="1145"/>
                  <a:pt x="850" y="1145"/>
                </a:cubicBezTo>
                <a:cubicBezTo>
                  <a:pt x="849" y="1144"/>
                  <a:pt x="849" y="1144"/>
                  <a:pt x="849" y="1144"/>
                </a:cubicBezTo>
                <a:cubicBezTo>
                  <a:pt x="849" y="1142"/>
                  <a:pt x="849" y="1142"/>
                  <a:pt x="849" y="1142"/>
                </a:cubicBezTo>
                <a:cubicBezTo>
                  <a:pt x="850" y="1142"/>
                  <a:pt x="850" y="1142"/>
                  <a:pt x="851" y="1142"/>
                </a:cubicBezTo>
                <a:cubicBezTo>
                  <a:pt x="852" y="1143"/>
                  <a:pt x="852" y="1143"/>
                  <a:pt x="852" y="1143"/>
                </a:cubicBezTo>
                <a:cubicBezTo>
                  <a:pt x="855" y="1137"/>
                  <a:pt x="855" y="1137"/>
                  <a:pt x="855" y="1137"/>
                </a:cubicBezTo>
                <a:cubicBezTo>
                  <a:pt x="862" y="1132"/>
                  <a:pt x="862" y="1132"/>
                  <a:pt x="862" y="1132"/>
                </a:cubicBezTo>
                <a:cubicBezTo>
                  <a:pt x="862" y="1132"/>
                  <a:pt x="865" y="1129"/>
                  <a:pt x="865" y="1129"/>
                </a:cubicBezTo>
                <a:cubicBezTo>
                  <a:pt x="866" y="1129"/>
                  <a:pt x="871" y="1124"/>
                  <a:pt x="874" y="1124"/>
                </a:cubicBezTo>
                <a:cubicBezTo>
                  <a:pt x="874" y="1124"/>
                  <a:pt x="876" y="1125"/>
                  <a:pt x="876" y="1125"/>
                </a:cubicBezTo>
                <a:cubicBezTo>
                  <a:pt x="878" y="1126"/>
                  <a:pt x="878" y="1126"/>
                  <a:pt x="878" y="1126"/>
                </a:cubicBezTo>
                <a:cubicBezTo>
                  <a:pt x="880" y="1126"/>
                  <a:pt x="879" y="1125"/>
                  <a:pt x="878" y="1123"/>
                </a:cubicBezTo>
                <a:cubicBezTo>
                  <a:pt x="877" y="1124"/>
                  <a:pt x="877" y="1124"/>
                  <a:pt x="877" y="1124"/>
                </a:cubicBezTo>
                <a:cubicBezTo>
                  <a:pt x="877" y="1124"/>
                  <a:pt x="877" y="1122"/>
                  <a:pt x="877" y="1122"/>
                </a:cubicBezTo>
                <a:cubicBezTo>
                  <a:pt x="877" y="1122"/>
                  <a:pt x="879" y="1122"/>
                  <a:pt x="879" y="1122"/>
                </a:cubicBezTo>
                <a:cubicBezTo>
                  <a:pt x="881" y="1120"/>
                  <a:pt x="881" y="1120"/>
                  <a:pt x="881" y="1120"/>
                </a:cubicBezTo>
                <a:cubicBezTo>
                  <a:pt x="883" y="1120"/>
                  <a:pt x="886" y="1119"/>
                  <a:pt x="885" y="1119"/>
                </a:cubicBezTo>
                <a:cubicBezTo>
                  <a:pt x="884" y="1118"/>
                  <a:pt x="883" y="1118"/>
                  <a:pt x="883" y="1118"/>
                </a:cubicBezTo>
                <a:cubicBezTo>
                  <a:pt x="884" y="1116"/>
                  <a:pt x="884" y="1117"/>
                  <a:pt x="886" y="1116"/>
                </a:cubicBezTo>
                <a:cubicBezTo>
                  <a:pt x="886" y="1116"/>
                  <a:pt x="886" y="1115"/>
                  <a:pt x="887" y="1116"/>
                </a:cubicBezTo>
                <a:cubicBezTo>
                  <a:pt x="887" y="1116"/>
                  <a:pt x="887" y="1117"/>
                  <a:pt x="887" y="1117"/>
                </a:cubicBezTo>
                <a:cubicBezTo>
                  <a:pt x="886" y="1118"/>
                  <a:pt x="886" y="1118"/>
                  <a:pt x="886" y="1118"/>
                </a:cubicBezTo>
                <a:cubicBezTo>
                  <a:pt x="886" y="1118"/>
                  <a:pt x="889" y="1119"/>
                  <a:pt x="889" y="1118"/>
                </a:cubicBezTo>
                <a:cubicBezTo>
                  <a:pt x="889" y="1118"/>
                  <a:pt x="889" y="1117"/>
                  <a:pt x="889" y="1117"/>
                </a:cubicBezTo>
                <a:cubicBezTo>
                  <a:pt x="889" y="1116"/>
                  <a:pt x="888" y="1116"/>
                  <a:pt x="889" y="1116"/>
                </a:cubicBezTo>
                <a:cubicBezTo>
                  <a:pt x="892" y="1115"/>
                  <a:pt x="891" y="1115"/>
                  <a:pt x="893" y="1116"/>
                </a:cubicBezTo>
                <a:cubicBezTo>
                  <a:pt x="896" y="1116"/>
                  <a:pt x="896" y="1116"/>
                  <a:pt x="896" y="1116"/>
                </a:cubicBezTo>
                <a:cubicBezTo>
                  <a:pt x="897" y="1113"/>
                  <a:pt x="897" y="1113"/>
                  <a:pt x="897" y="1113"/>
                </a:cubicBezTo>
                <a:cubicBezTo>
                  <a:pt x="898" y="1113"/>
                  <a:pt x="898" y="1113"/>
                  <a:pt x="898" y="1113"/>
                </a:cubicBezTo>
                <a:cubicBezTo>
                  <a:pt x="898" y="1113"/>
                  <a:pt x="898" y="1114"/>
                  <a:pt x="898" y="1114"/>
                </a:cubicBezTo>
                <a:cubicBezTo>
                  <a:pt x="898" y="1115"/>
                  <a:pt x="901" y="1116"/>
                  <a:pt x="902" y="1116"/>
                </a:cubicBezTo>
                <a:cubicBezTo>
                  <a:pt x="902" y="1116"/>
                  <a:pt x="906" y="1115"/>
                  <a:pt x="907" y="1115"/>
                </a:cubicBezTo>
                <a:cubicBezTo>
                  <a:pt x="907" y="1115"/>
                  <a:pt x="911" y="1116"/>
                  <a:pt x="908" y="1113"/>
                </a:cubicBezTo>
                <a:cubicBezTo>
                  <a:pt x="908" y="1113"/>
                  <a:pt x="909" y="1111"/>
                  <a:pt x="909" y="1111"/>
                </a:cubicBezTo>
                <a:cubicBezTo>
                  <a:pt x="909" y="1111"/>
                  <a:pt x="911" y="1108"/>
                  <a:pt x="912" y="1108"/>
                </a:cubicBezTo>
                <a:cubicBezTo>
                  <a:pt x="913" y="1107"/>
                  <a:pt x="916" y="1105"/>
                  <a:pt x="916" y="1105"/>
                </a:cubicBezTo>
                <a:cubicBezTo>
                  <a:pt x="916" y="1105"/>
                  <a:pt x="920" y="1104"/>
                  <a:pt x="918" y="1103"/>
                </a:cubicBezTo>
                <a:cubicBezTo>
                  <a:pt x="916" y="1102"/>
                  <a:pt x="917" y="1102"/>
                  <a:pt x="916" y="1099"/>
                </a:cubicBezTo>
                <a:cubicBezTo>
                  <a:pt x="917" y="1098"/>
                  <a:pt x="918" y="1097"/>
                  <a:pt x="918" y="1097"/>
                </a:cubicBezTo>
                <a:cubicBezTo>
                  <a:pt x="918" y="1096"/>
                  <a:pt x="918" y="1095"/>
                  <a:pt x="918" y="1095"/>
                </a:cubicBezTo>
                <a:cubicBezTo>
                  <a:pt x="918" y="1092"/>
                  <a:pt x="922" y="1088"/>
                  <a:pt x="922" y="1086"/>
                </a:cubicBezTo>
                <a:cubicBezTo>
                  <a:pt x="922" y="1084"/>
                  <a:pt x="923" y="1081"/>
                  <a:pt x="924" y="1080"/>
                </a:cubicBezTo>
                <a:cubicBezTo>
                  <a:pt x="927" y="1077"/>
                  <a:pt x="927" y="1077"/>
                  <a:pt x="927" y="1077"/>
                </a:cubicBezTo>
                <a:cubicBezTo>
                  <a:pt x="927" y="1076"/>
                  <a:pt x="926" y="1069"/>
                  <a:pt x="927" y="1067"/>
                </a:cubicBezTo>
                <a:cubicBezTo>
                  <a:pt x="927" y="1066"/>
                  <a:pt x="929" y="1061"/>
                  <a:pt x="929" y="1061"/>
                </a:cubicBezTo>
                <a:cubicBezTo>
                  <a:pt x="931" y="1058"/>
                  <a:pt x="931" y="1058"/>
                  <a:pt x="931" y="1058"/>
                </a:cubicBezTo>
                <a:cubicBezTo>
                  <a:pt x="931" y="1058"/>
                  <a:pt x="931" y="1055"/>
                  <a:pt x="931" y="1054"/>
                </a:cubicBezTo>
                <a:cubicBezTo>
                  <a:pt x="931" y="1048"/>
                  <a:pt x="931" y="1050"/>
                  <a:pt x="932" y="1044"/>
                </a:cubicBezTo>
                <a:cubicBezTo>
                  <a:pt x="933" y="1039"/>
                  <a:pt x="933" y="1038"/>
                  <a:pt x="933" y="1032"/>
                </a:cubicBezTo>
                <a:cubicBezTo>
                  <a:pt x="933" y="1032"/>
                  <a:pt x="931" y="1023"/>
                  <a:pt x="931" y="1023"/>
                </a:cubicBezTo>
                <a:cubicBezTo>
                  <a:pt x="930" y="1016"/>
                  <a:pt x="930" y="1016"/>
                  <a:pt x="930" y="1016"/>
                </a:cubicBezTo>
                <a:cubicBezTo>
                  <a:pt x="930" y="1016"/>
                  <a:pt x="929" y="1014"/>
                  <a:pt x="929" y="1013"/>
                </a:cubicBezTo>
                <a:cubicBezTo>
                  <a:pt x="929" y="1012"/>
                  <a:pt x="929" y="1009"/>
                  <a:pt x="929" y="1009"/>
                </a:cubicBezTo>
                <a:cubicBezTo>
                  <a:pt x="931" y="1008"/>
                  <a:pt x="930" y="1005"/>
                  <a:pt x="930" y="1003"/>
                </a:cubicBezTo>
                <a:cubicBezTo>
                  <a:pt x="931" y="1000"/>
                  <a:pt x="931" y="1000"/>
                  <a:pt x="931" y="1000"/>
                </a:cubicBezTo>
                <a:cubicBezTo>
                  <a:pt x="933" y="1000"/>
                  <a:pt x="932" y="1002"/>
                  <a:pt x="934" y="1003"/>
                </a:cubicBezTo>
                <a:cubicBezTo>
                  <a:pt x="933" y="1005"/>
                  <a:pt x="936" y="1005"/>
                  <a:pt x="936" y="1003"/>
                </a:cubicBezTo>
                <a:cubicBezTo>
                  <a:pt x="936" y="1003"/>
                  <a:pt x="938" y="1000"/>
                  <a:pt x="938" y="1000"/>
                </a:cubicBezTo>
                <a:cubicBezTo>
                  <a:pt x="938" y="998"/>
                  <a:pt x="944" y="989"/>
                  <a:pt x="944" y="988"/>
                </a:cubicBezTo>
                <a:cubicBezTo>
                  <a:pt x="944" y="985"/>
                  <a:pt x="946" y="984"/>
                  <a:pt x="946" y="982"/>
                </a:cubicBezTo>
                <a:cubicBezTo>
                  <a:pt x="946" y="982"/>
                  <a:pt x="946" y="979"/>
                  <a:pt x="947" y="979"/>
                </a:cubicBezTo>
                <a:cubicBezTo>
                  <a:pt x="948" y="979"/>
                  <a:pt x="949" y="979"/>
                  <a:pt x="949" y="979"/>
                </a:cubicBezTo>
                <a:cubicBezTo>
                  <a:pt x="951" y="979"/>
                  <a:pt x="954" y="977"/>
                  <a:pt x="954" y="975"/>
                </a:cubicBezTo>
                <a:cubicBezTo>
                  <a:pt x="954" y="975"/>
                  <a:pt x="955" y="973"/>
                  <a:pt x="955" y="973"/>
                </a:cubicBezTo>
                <a:cubicBezTo>
                  <a:pt x="956" y="973"/>
                  <a:pt x="963" y="964"/>
                  <a:pt x="963" y="962"/>
                </a:cubicBezTo>
                <a:cubicBezTo>
                  <a:pt x="965" y="959"/>
                  <a:pt x="965" y="959"/>
                  <a:pt x="965" y="959"/>
                </a:cubicBezTo>
                <a:cubicBezTo>
                  <a:pt x="966" y="955"/>
                  <a:pt x="966" y="955"/>
                  <a:pt x="966" y="955"/>
                </a:cubicBezTo>
                <a:cubicBezTo>
                  <a:pt x="967" y="951"/>
                  <a:pt x="967" y="951"/>
                  <a:pt x="967" y="951"/>
                </a:cubicBezTo>
                <a:cubicBezTo>
                  <a:pt x="967" y="946"/>
                  <a:pt x="967" y="946"/>
                  <a:pt x="967" y="946"/>
                </a:cubicBezTo>
                <a:cubicBezTo>
                  <a:pt x="968" y="941"/>
                  <a:pt x="968" y="941"/>
                  <a:pt x="968" y="941"/>
                </a:cubicBezTo>
                <a:cubicBezTo>
                  <a:pt x="968" y="941"/>
                  <a:pt x="967" y="939"/>
                  <a:pt x="967" y="939"/>
                </a:cubicBezTo>
                <a:close/>
                <a:moveTo>
                  <a:pt x="609" y="353"/>
                </a:moveTo>
                <a:cubicBezTo>
                  <a:pt x="609" y="353"/>
                  <a:pt x="612" y="352"/>
                  <a:pt x="612" y="353"/>
                </a:cubicBezTo>
                <a:cubicBezTo>
                  <a:pt x="612" y="357"/>
                  <a:pt x="613" y="359"/>
                  <a:pt x="614" y="362"/>
                </a:cubicBezTo>
                <a:cubicBezTo>
                  <a:pt x="614" y="363"/>
                  <a:pt x="613" y="364"/>
                  <a:pt x="613" y="364"/>
                </a:cubicBezTo>
                <a:cubicBezTo>
                  <a:pt x="613" y="364"/>
                  <a:pt x="612" y="364"/>
                  <a:pt x="612" y="364"/>
                </a:cubicBezTo>
                <a:cubicBezTo>
                  <a:pt x="611" y="365"/>
                  <a:pt x="611" y="368"/>
                  <a:pt x="609" y="368"/>
                </a:cubicBezTo>
                <a:cubicBezTo>
                  <a:pt x="606" y="367"/>
                  <a:pt x="604" y="365"/>
                  <a:pt x="603" y="363"/>
                </a:cubicBezTo>
                <a:cubicBezTo>
                  <a:pt x="602" y="362"/>
                  <a:pt x="602" y="360"/>
                  <a:pt x="602" y="360"/>
                </a:cubicBezTo>
                <a:cubicBezTo>
                  <a:pt x="601" y="360"/>
                  <a:pt x="600" y="361"/>
                  <a:pt x="600" y="361"/>
                </a:cubicBezTo>
                <a:cubicBezTo>
                  <a:pt x="600" y="363"/>
                  <a:pt x="600" y="365"/>
                  <a:pt x="600" y="367"/>
                </a:cubicBezTo>
                <a:cubicBezTo>
                  <a:pt x="599" y="367"/>
                  <a:pt x="596" y="370"/>
                  <a:pt x="595" y="371"/>
                </a:cubicBezTo>
                <a:cubicBezTo>
                  <a:pt x="593" y="375"/>
                  <a:pt x="593" y="375"/>
                  <a:pt x="593" y="375"/>
                </a:cubicBezTo>
                <a:cubicBezTo>
                  <a:pt x="591" y="379"/>
                  <a:pt x="591" y="379"/>
                  <a:pt x="591" y="379"/>
                </a:cubicBezTo>
                <a:cubicBezTo>
                  <a:pt x="585" y="384"/>
                  <a:pt x="585" y="384"/>
                  <a:pt x="585" y="384"/>
                </a:cubicBezTo>
                <a:cubicBezTo>
                  <a:pt x="581" y="386"/>
                  <a:pt x="583" y="384"/>
                  <a:pt x="581" y="388"/>
                </a:cubicBezTo>
                <a:cubicBezTo>
                  <a:pt x="578" y="389"/>
                  <a:pt x="578" y="389"/>
                  <a:pt x="578" y="389"/>
                </a:cubicBezTo>
                <a:cubicBezTo>
                  <a:pt x="573" y="395"/>
                  <a:pt x="573" y="395"/>
                  <a:pt x="573" y="395"/>
                </a:cubicBezTo>
                <a:cubicBezTo>
                  <a:pt x="575" y="396"/>
                  <a:pt x="575" y="396"/>
                  <a:pt x="575" y="396"/>
                </a:cubicBezTo>
                <a:cubicBezTo>
                  <a:pt x="578" y="395"/>
                  <a:pt x="578" y="395"/>
                  <a:pt x="578" y="395"/>
                </a:cubicBezTo>
                <a:cubicBezTo>
                  <a:pt x="578" y="395"/>
                  <a:pt x="581" y="394"/>
                  <a:pt x="581" y="394"/>
                </a:cubicBezTo>
                <a:cubicBezTo>
                  <a:pt x="581" y="394"/>
                  <a:pt x="582" y="393"/>
                  <a:pt x="582" y="393"/>
                </a:cubicBezTo>
                <a:cubicBezTo>
                  <a:pt x="583" y="393"/>
                  <a:pt x="585" y="393"/>
                  <a:pt x="585" y="392"/>
                </a:cubicBezTo>
                <a:cubicBezTo>
                  <a:pt x="585" y="392"/>
                  <a:pt x="587" y="390"/>
                  <a:pt x="587" y="390"/>
                </a:cubicBezTo>
                <a:cubicBezTo>
                  <a:pt x="590" y="388"/>
                  <a:pt x="590" y="388"/>
                  <a:pt x="590" y="388"/>
                </a:cubicBezTo>
                <a:cubicBezTo>
                  <a:pt x="590" y="388"/>
                  <a:pt x="593" y="388"/>
                  <a:pt x="593" y="388"/>
                </a:cubicBezTo>
                <a:cubicBezTo>
                  <a:pt x="594" y="388"/>
                  <a:pt x="597" y="389"/>
                  <a:pt x="597" y="389"/>
                </a:cubicBezTo>
                <a:cubicBezTo>
                  <a:pt x="599" y="390"/>
                  <a:pt x="599" y="388"/>
                  <a:pt x="600" y="387"/>
                </a:cubicBezTo>
                <a:cubicBezTo>
                  <a:pt x="601" y="387"/>
                  <a:pt x="607" y="387"/>
                  <a:pt x="608" y="387"/>
                </a:cubicBezTo>
                <a:cubicBezTo>
                  <a:pt x="608" y="386"/>
                  <a:pt x="611" y="386"/>
                  <a:pt x="611" y="386"/>
                </a:cubicBezTo>
                <a:cubicBezTo>
                  <a:pt x="614" y="382"/>
                  <a:pt x="614" y="382"/>
                  <a:pt x="614" y="382"/>
                </a:cubicBezTo>
                <a:cubicBezTo>
                  <a:pt x="611" y="382"/>
                  <a:pt x="611" y="382"/>
                  <a:pt x="611" y="382"/>
                </a:cubicBezTo>
                <a:cubicBezTo>
                  <a:pt x="610" y="382"/>
                  <a:pt x="610" y="383"/>
                  <a:pt x="608" y="381"/>
                </a:cubicBezTo>
                <a:cubicBezTo>
                  <a:pt x="614" y="375"/>
                  <a:pt x="614" y="375"/>
                  <a:pt x="614" y="375"/>
                </a:cubicBezTo>
                <a:cubicBezTo>
                  <a:pt x="621" y="374"/>
                  <a:pt x="621" y="374"/>
                  <a:pt x="621" y="374"/>
                </a:cubicBezTo>
                <a:cubicBezTo>
                  <a:pt x="627" y="374"/>
                  <a:pt x="627" y="374"/>
                  <a:pt x="627" y="374"/>
                </a:cubicBezTo>
                <a:cubicBezTo>
                  <a:pt x="629" y="373"/>
                  <a:pt x="629" y="373"/>
                  <a:pt x="629" y="373"/>
                </a:cubicBezTo>
                <a:cubicBezTo>
                  <a:pt x="631" y="374"/>
                  <a:pt x="631" y="374"/>
                  <a:pt x="631" y="374"/>
                </a:cubicBezTo>
                <a:cubicBezTo>
                  <a:pt x="632" y="374"/>
                  <a:pt x="634" y="374"/>
                  <a:pt x="635" y="375"/>
                </a:cubicBezTo>
                <a:cubicBezTo>
                  <a:pt x="635" y="374"/>
                  <a:pt x="636" y="372"/>
                  <a:pt x="637" y="372"/>
                </a:cubicBezTo>
                <a:cubicBezTo>
                  <a:pt x="647" y="369"/>
                  <a:pt x="647" y="369"/>
                  <a:pt x="647" y="369"/>
                </a:cubicBezTo>
                <a:cubicBezTo>
                  <a:pt x="646" y="370"/>
                  <a:pt x="646" y="370"/>
                  <a:pt x="646" y="370"/>
                </a:cubicBezTo>
                <a:cubicBezTo>
                  <a:pt x="642" y="372"/>
                  <a:pt x="642" y="372"/>
                  <a:pt x="644" y="373"/>
                </a:cubicBezTo>
                <a:cubicBezTo>
                  <a:pt x="641" y="376"/>
                  <a:pt x="642" y="375"/>
                  <a:pt x="641" y="378"/>
                </a:cubicBezTo>
                <a:cubicBezTo>
                  <a:pt x="636" y="379"/>
                  <a:pt x="636" y="379"/>
                  <a:pt x="636" y="379"/>
                </a:cubicBezTo>
                <a:cubicBezTo>
                  <a:pt x="633" y="381"/>
                  <a:pt x="633" y="381"/>
                  <a:pt x="633" y="381"/>
                </a:cubicBezTo>
                <a:cubicBezTo>
                  <a:pt x="630" y="381"/>
                  <a:pt x="630" y="381"/>
                  <a:pt x="630" y="381"/>
                </a:cubicBezTo>
                <a:cubicBezTo>
                  <a:pt x="626" y="381"/>
                  <a:pt x="626" y="381"/>
                  <a:pt x="626" y="381"/>
                </a:cubicBezTo>
                <a:cubicBezTo>
                  <a:pt x="625" y="381"/>
                  <a:pt x="625" y="381"/>
                  <a:pt x="625" y="381"/>
                </a:cubicBezTo>
                <a:cubicBezTo>
                  <a:pt x="620" y="380"/>
                  <a:pt x="620" y="380"/>
                  <a:pt x="620" y="380"/>
                </a:cubicBezTo>
                <a:cubicBezTo>
                  <a:pt x="615" y="382"/>
                  <a:pt x="615" y="382"/>
                  <a:pt x="615" y="382"/>
                </a:cubicBezTo>
                <a:cubicBezTo>
                  <a:pt x="614" y="383"/>
                  <a:pt x="611" y="389"/>
                  <a:pt x="611" y="389"/>
                </a:cubicBezTo>
                <a:cubicBezTo>
                  <a:pt x="610" y="390"/>
                  <a:pt x="602" y="393"/>
                  <a:pt x="601" y="393"/>
                </a:cubicBezTo>
                <a:cubicBezTo>
                  <a:pt x="594" y="396"/>
                  <a:pt x="594" y="396"/>
                  <a:pt x="594" y="396"/>
                </a:cubicBezTo>
                <a:cubicBezTo>
                  <a:pt x="588" y="398"/>
                  <a:pt x="588" y="398"/>
                  <a:pt x="588" y="398"/>
                </a:cubicBezTo>
                <a:cubicBezTo>
                  <a:pt x="585" y="400"/>
                  <a:pt x="585" y="400"/>
                  <a:pt x="585" y="400"/>
                </a:cubicBezTo>
                <a:cubicBezTo>
                  <a:pt x="582" y="401"/>
                  <a:pt x="582" y="401"/>
                  <a:pt x="582" y="401"/>
                </a:cubicBezTo>
                <a:cubicBezTo>
                  <a:pt x="578" y="402"/>
                  <a:pt x="578" y="402"/>
                  <a:pt x="578" y="402"/>
                </a:cubicBezTo>
                <a:cubicBezTo>
                  <a:pt x="575" y="403"/>
                  <a:pt x="575" y="403"/>
                  <a:pt x="575" y="403"/>
                </a:cubicBezTo>
                <a:cubicBezTo>
                  <a:pt x="574" y="401"/>
                  <a:pt x="574" y="401"/>
                  <a:pt x="574" y="401"/>
                </a:cubicBezTo>
                <a:cubicBezTo>
                  <a:pt x="571" y="401"/>
                  <a:pt x="571" y="401"/>
                  <a:pt x="571" y="401"/>
                </a:cubicBezTo>
                <a:cubicBezTo>
                  <a:pt x="569" y="398"/>
                  <a:pt x="569" y="398"/>
                  <a:pt x="569" y="398"/>
                </a:cubicBezTo>
                <a:cubicBezTo>
                  <a:pt x="570" y="398"/>
                  <a:pt x="570" y="398"/>
                  <a:pt x="570" y="398"/>
                </a:cubicBezTo>
                <a:cubicBezTo>
                  <a:pt x="571" y="396"/>
                  <a:pt x="577" y="389"/>
                  <a:pt x="578" y="388"/>
                </a:cubicBezTo>
                <a:cubicBezTo>
                  <a:pt x="581" y="388"/>
                  <a:pt x="581" y="388"/>
                  <a:pt x="581" y="388"/>
                </a:cubicBezTo>
                <a:cubicBezTo>
                  <a:pt x="585" y="376"/>
                  <a:pt x="585" y="376"/>
                  <a:pt x="585" y="376"/>
                </a:cubicBezTo>
                <a:cubicBezTo>
                  <a:pt x="584" y="373"/>
                  <a:pt x="584" y="373"/>
                  <a:pt x="584" y="373"/>
                </a:cubicBezTo>
                <a:cubicBezTo>
                  <a:pt x="582" y="373"/>
                  <a:pt x="582" y="373"/>
                  <a:pt x="582" y="373"/>
                </a:cubicBezTo>
                <a:cubicBezTo>
                  <a:pt x="579" y="374"/>
                  <a:pt x="579" y="374"/>
                  <a:pt x="579" y="374"/>
                </a:cubicBezTo>
                <a:cubicBezTo>
                  <a:pt x="577" y="375"/>
                  <a:pt x="576" y="377"/>
                  <a:pt x="575" y="378"/>
                </a:cubicBezTo>
                <a:cubicBezTo>
                  <a:pt x="573" y="377"/>
                  <a:pt x="573" y="377"/>
                  <a:pt x="573" y="377"/>
                </a:cubicBezTo>
                <a:cubicBezTo>
                  <a:pt x="573" y="375"/>
                  <a:pt x="573" y="375"/>
                  <a:pt x="573" y="375"/>
                </a:cubicBezTo>
                <a:cubicBezTo>
                  <a:pt x="578" y="373"/>
                  <a:pt x="576" y="374"/>
                  <a:pt x="578" y="372"/>
                </a:cubicBezTo>
                <a:cubicBezTo>
                  <a:pt x="578" y="372"/>
                  <a:pt x="580" y="371"/>
                  <a:pt x="580" y="371"/>
                </a:cubicBezTo>
                <a:cubicBezTo>
                  <a:pt x="581" y="370"/>
                  <a:pt x="581" y="368"/>
                  <a:pt x="581" y="368"/>
                </a:cubicBezTo>
                <a:cubicBezTo>
                  <a:pt x="581" y="368"/>
                  <a:pt x="583" y="365"/>
                  <a:pt x="583" y="365"/>
                </a:cubicBezTo>
                <a:cubicBezTo>
                  <a:pt x="584" y="365"/>
                  <a:pt x="583" y="363"/>
                  <a:pt x="583" y="363"/>
                </a:cubicBezTo>
                <a:cubicBezTo>
                  <a:pt x="582" y="362"/>
                  <a:pt x="585" y="360"/>
                  <a:pt x="585" y="360"/>
                </a:cubicBezTo>
                <a:cubicBezTo>
                  <a:pt x="583" y="358"/>
                  <a:pt x="583" y="358"/>
                  <a:pt x="583" y="358"/>
                </a:cubicBezTo>
                <a:cubicBezTo>
                  <a:pt x="583" y="358"/>
                  <a:pt x="578" y="355"/>
                  <a:pt x="577" y="355"/>
                </a:cubicBezTo>
                <a:cubicBezTo>
                  <a:pt x="577" y="355"/>
                  <a:pt x="575" y="355"/>
                  <a:pt x="574" y="355"/>
                </a:cubicBezTo>
                <a:cubicBezTo>
                  <a:pt x="574" y="355"/>
                  <a:pt x="572" y="357"/>
                  <a:pt x="572" y="357"/>
                </a:cubicBezTo>
                <a:cubicBezTo>
                  <a:pt x="572" y="359"/>
                  <a:pt x="572" y="359"/>
                  <a:pt x="572" y="359"/>
                </a:cubicBezTo>
                <a:cubicBezTo>
                  <a:pt x="569" y="359"/>
                  <a:pt x="569" y="359"/>
                  <a:pt x="569" y="359"/>
                </a:cubicBezTo>
                <a:cubicBezTo>
                  <a:pt x="567" y="361"/>
                  <a:pt x="567" y="361"/>
                  <a:pt x="567" y="361"/>
                </a:cubicBezTo>
                <a:cubicBezTo>
                  <a:pt x="567" y="361"/>
                  <a:pt x="566" y="364"/>
                  <a:pt x="566" y="364"/>
                </a:cubicBezTo>
                <a:cubicBezTo>
                  <a:pt x="566" y="365"/>
                  <a:pt x="564" y="364"/>
                  <a:pt x="564" y="364"/>
                </a:cubicBezTo>
                <a:cubicBezTo>
                  <a:pt x="564" y="363"/>
                  <a:pt x="567" y="359"/>
                  <a:pt x="564" y="360"/>
                </a:cubicBezTo>
                <a:cubicBezTo>
                  <a:pt x="564" y="360"/>
                  <a:pt x="562" y="363"/>
                  <a:pt x="561" y="363"/>
                </a:cubicBezTo>
                <a:cubicBezTo>
                  <a:pt x="561" y="363"/>
                  <a:pt x="560" y="364"/>
                  <a:pt x="560" y="365"/>
                </a:cubicBezTo>
                <a:cubicBezTo>
                  <a:pt x="560" y="365"/>
                  <a:pt x="557" y="366"/>
                  <a:pt x="557" y="366"/>
                </a:cubicBezTo>
                <a:cubicBezTo>
                  <a:pt x="557" y="367"/>
                  <a:pt x="557" y="368"/>
                  <a:pt x="556" y="368"/>
                </a:cubicBezTo>
                <a:cubicBezTo>
                  <a:pt x="555" y="370"/>
                  <a:pt x="553" y="371"/>
                  <a:pt x="552" y="372"/>
                </a:cubicBezTo>
                <a:cubicBezTo>
                  <a:pt x="551" y="373"/>
                  <a:pt x="552" y="375"/>
                  <a:pt x="552" y="376"/>
                </a:cubicBezTo>
                <a:cubicBezTo>
                  <a:pt x="551" y="377"/>
                  <a:pt x="549" y="377"/>
                  <a:pt x="549" y="378"/>
                </a:cubicBezTo>
                <a:cubicBezTo>
                  <a:pt x="548" y="381"/>
                  <a:pt x="549" y="383"/>
                  <a:pt x="549" y="385"/>
                </a:cubicBezTo>
                <a:cubicBezTo>
                  <a:pt x="549" y="386"/>
                  <a:pt x="543" y="393"/>
                  <a:pt x="542" y="394"/>
                </a:cubicBezTo>
                <a:cubicBezTo>
                  <a:pt x="538" y="398"/>
                  <a:pt x="538" y="398"/>
                  <a:pt x="538" y="398"/>
                </a:cubicBezTo>
                <a:cubicBezTo>
                  <a:pt x="534" y="400"/>
                  <a:pt x="534" y="400"/>
                  <a:pt x="534" y="400"/>
                </a:cubicBezTo>
                <a:cubicBezTo>
                  <a:pt x="532" y="398"/>
                  <a:pt x="532" y="398"/>
                  <a:pt x="532" y="398"/>
                </a:cubicBezTo>
                <a:cubicBezTo>
                  <a:pt x="532" y="392"/>
                  <a:pt x="532" y="392"/>
                  <a:pt x="532" y="392"/>
                </a:cubicBezTo>
                <a:cubicBezTo>
                  <a:pt x="533" y="389"/>
                  <a:pt x="533" y="389"/>
                  <a:pt x="533" y="389"/>
                </a:cubicBezTo>
                <a:cubicBezTo>
                  <a:pt x="534" y="387"/>
                  <a:pt x="534" y="387"/>
                  <a:pt x="534" y="387"/>
                </a:cubicBezTo>
                <a:cubicBezTo>
                  <a:pt x="535" y="384"/>
                  <a:pt x="535" y="384"/>
                  <a:pt x="535" y="384"/>
                </a:cubicBezTo>
                <a:cubicBezTo>
                  <a:pt x="538" y="381"/>
                  <a:pt x="538" y="381"/>
                  <a:pt x="538" y="381"/>
                </a:cubicBezTo>
                <a:cubicBezTo>
                  <a:pt x="539" y="380"/>
                  <a:pt x="539" y="378"/>
                  <a:pt x="540" y="376"/>
                </a:cubicBezTo>
                <a:cubicBezTo>
                  <a:pt x="541" y="375"/>
                  <a:pt x="542" y="374"/>
                  <a:pt x="543" y="372"/>
                </a:cubicBezTo>
                <a:cubicBezTo>
                  <a:pt x="544" y="371"/>
                  <a:pt x="544" y="370"/>
                  <a:pt x="544" y="369"/>
                </a:cubicBezTo>
                <a:cubicBezTo>
                  <a:pt x="547" y="365"/>
                  <a:pt x="553" y="364"/>
                  <a:pt x="554" y="361"/>
                </a:cubicBezTo>
                <a:cubicBezTo>
                  <a:pt x="555" y="360"/>
                  <a:pt x="552" y="360"/>
                  <a:pt x="552" y="361"/>
                </a:cubicBezTo>
                <a:cubicBezTo>
                  <a:pt x="550" y="361"/>
                  <a:pt x="550" y="363"/>
                  <a:pt x="549" y="364"/>
                </a:cubicBezTo>
                <a:cubicBezTo>
                  <a:pt x="548" y="365"/>
                  <a:pt x="547" y="364"/>
                  <a:pt x="547" y="365"/>
                </a:cubicBezTo>
                <a:cubicBezTo>
                  <a:pt x="546" y="365"/>
                  <a:pt x="545" y="366"/>
                  <a:pt x="544" y="367"/>
                </a:cubicBezTo>
                <a:cubicBezTo>
                  <a:pt x="544" y="367"/>
                  <a:pt x="541" y="368"/>
                  <a:pt x="541" y="367"/>
                </a:cubicBezTo>
                <a:cubicBezTo>
                  <a:pt x="540" y="367"/>
                  <a:pt x="541" y="366"/>
                  <a:pt x="541" y="366"/>
                </a:cubicBezTo>
                <a:cubicBezTo>
                  <a:pt x="541" y="365"/>
                  <a:pt x="545" y="363"/>
                  <a:pt x="546" y="362"/>
                </a:cubicBezTo>
                <a:cubicBezTo>
                  <a:pt x="549" y="360"/>
                  <a:pt x="551" y="357"/>
                  <a:pt x="554" y="355"/>
                </a:cubicBezTo>
                <a:cubicBezTo>
                  <a:pt x="555" y="354"/>
                  <a:pt x="556" y="354"/>
                  <a:pt x="556" y="353"/>
                </a:cubicBezTo>
                <a:cubicBezTo>
                  <a:pt x="556" y="356"/>
                  <a:pt x="557" y="354"/>
                  <a:pt x="559" y="354"/>
                </a:cubicBezTo>
                <a:cubicBezTo>
                  <a:pt x="558" y="356"/>
                  <a:pt x="558" y="356"/>
                  <a:pt x="558" y="356"/>
                </a:cubicBezTo>
                <a:cubicBezTo>
                  <a:pt x="560" y="355"/>
                  <a:pt x="560" y="355"/>
                  <a:pt x="560" y="355"/>
                </a:cubicBezTo>
                <a:cubicBezTo>
                  <a:pt x="563" y="352"/>
                  <a:pt x="561" y="353"/>
                  <a:pt x="565" y="353"/>
                </a:cubicBezTo>
                <a:cubicBezTo>
                  <a:pt x="566" y="353"/>
                  <a:pt x="571" y="351"/>
                  <a:pt x="572" y="351"/>
                </a:cubicBezTo>
                <a:cubicBezTo>
                  <a:pt x="572" y="351"/>
                  <a:pt x="574" y="352"/>
                  <a:pt x="575" y="352"/>
                </a:cubicBezTo>
                <a:cubicBezTo>
                  <a:pt x="575" y="352"/>
                  <a:pt x="576" y="353"/>
                  <a:pt x="576" y="353"/>
                </a:cubicBezTo>
                <a:cubicBezTo>
                  <a:pt x="576" y="353"/>
                  <a:pt x="578" y="351"/>
                  <a:pt x="580" y="353"/>
                </a:cubicBezTo>
                <a:cubicBezTo>
                  <a:pt x="583" y="352"/>
                  <a:pt x="583" y="352"/>
                  <a:pt x="584" y="352"/>
                </a:cubicBezTo>
                <a:cubicBezTo>
                  <a:pt x="584" y="352"/>
                  <a:pt x="584" y="352"/>
                  <a:pt x="584" y="352"/>
                </a:cubicBezTo>
                <a:cubicBezTo>
                  <a:pt x="592" y="354"/>
                  <a:pt x="592" y="354"/>
                  <a:pt x="592" y="354"/>
                </a:cubicBezTo>
                <a:cubicBezTo>
                  <a:pt x="593" y="354"/>
                  <a:pt x="594" y="354"/>
                  <a:pt x="594" y="354"/>
                </a:cubicBezTo>
                <a:cubicBezTo>
                  <a:pt x="595" y="354"/>
                  <a:pt x="597" y="357"/>
                  <a:pt x="599" y="357"/>
                </a:cubicBezTo>
                <a:cubicBezTo>
                  <a:pt x="600" y="357"/>
                  <a:pt x="602" y="357"/>
                  <a:pt x="602" y="356"/>
                </a:cubicBezTo>
                <a:cubicBezTo>
                  <a:pt x="605" y="355"/>
                  <a:pt x="606" y="351"/>
                  <a:pt x="599" y="352"/>
                </a:cubicBezTo>
                <a:cubicBezTo>
                  <a:pt x="594" y="353"/>
                  <a:pt x="594" y="353"/>
                  <a:pt x="594" y="353"/>
                </a:cubicBezTo>
                <a:cubicBezTo>
                  <a:pt x="592" y="352"/>
                  <a:pt x="592" y="352"/>
                  <a:pt x="589" y="352"/>
                </a:cubicBezTo>
                <a:cubicBezTo>
                  <a:pt x="589" y="352"/>
                  <a:pt x="587" y="350"/>
                  <a:pt x="587" y="350"/>
                </a:cubicBezTo>
                <a:cubicBezTo>
                  <a:pt x="598" y="349"/>
                  <a:pt x="598" y="350"/>
                  <a:pt x="609" y="353"/>
                </a:cubicBezTo>
                <a:close/>
                <a:moveTo>
                  <a:pt x="527" y="337"/>
                </a:moveTo>
                <a:cubicBezTo>
                  <a:pt x="527" y="337"/>
                  <a:pt x="532" y="336"/>
                  <a:pt x="533" y="335"/>
                </a:cubicBezTo>
                <a:cubicBezTo>
                  <a:pt x="534" y="335"/>
                  <a:pt x="536" y="333"/>
                  <a:pt x="536" y="333"/>
                </a:cubicBezTo>
                <a:cubicBezTo>
                  <a:pt x="540" y="332"/>
                  <a:pt x="540" y="332"/>
                  <a:pt x="540" y="332"/>
                </a:cubicBezTo>
                <a:cubicBezTo>
                  <a:pt x="545" y="330"/>
                  <a:pt x="545" y="330"/>
                  <a:pt x="545" y="330"/>
                </a:cubicBezTo>
                <a:cubicBezTo>
                  <a:pt x="545" y="330"/>
                  <a:pt x="545" y="330"/>
                  <a:pt x="545" y="330"/>
                </a:cubicBezTo>
                <a:cubicBezTo>
                  <a:pt x="546" y="330"/>
                  <a:pt x="547" y="330"/>
                  <a:pt x="548" y="330"/>
                </a:cubicBezTo>
                <a:cubicBezTo>
                  <a:pt x="549" y="329"/>
                  <a:pt x="550" y="325"/>
                  <a:pt x="553" y="324"/>
                </a:cubicBezTo>
                <a:cubicBezTo>
                  <a:pt x="554" y="324"/>
                  <a:pt x="554" y="326"/>
                  <a:pt x="554" y="326"/>
                </a:cubicBezTo>
                <a:cubicBezTo>
                  <a:pt x="558" y="327"/>
                  <a:pt x="557" y="323"/>
                  <a:pt x="558" y="322"/>
                </a:cubicBezTo>
                <a:cubicBezTo>
                  <a:pt x="558" y="322"/>
                  <a:pt x="560" y="320"/>
                  <a:pt x="560" y="321"/>
                </a:cubicBezTo>
                <a:cubicBezTo>
                  <a:pt x="560" y="322"/>
                  <a:pt x="559" y="324"/>
                  <a:pt x="559" y="324"/>
                </a:cubicBezTo>
                <a:cubicBezTo>
                  <a:pt x="560" y="324"/>
                  <a:pt x="562" y="324"/>
                  <a:pt x="563" y="324"/>
                </a:cubicBezTo>
                <a:cubicBezTo>
                  <a:pt x="564" y="322"/>
                  <a:pt x="564" y="322"/>
                  <a:pt x="564" y="322"/>
                </a:cubicBezTo>
                <a:cubicBezTo>
                  <a:pt x="562" y="321"/>
                  <a:pt x="562" y="321"/>
                  <a:pt x="562" y="321"/>
                </a:cubicBezTo>
                <a:cubicBezTo>
                  <a:pt x="562" y="321"/>
                  <a:pt x="561" y="319"/>
                  <a:pt x="562" y="319"/>
                </a:cubicBezTo>
                <a:cubicBezTo>
                  <a:pt x="563" y="319"/>
                  <a:pt x="564" y="319"/>
                  <a:pt x="564" y="319"/>
                </a:cubicBezTo>
                <a:cubicBezTo>
                  <a:pt x="568" y="321"/>
                  <a:pt x="568" y="321"/>
                  <a:pt x="568" y="321"/>
                </a:cubicBezTo>
                <a:cubicBezTo>
                  <a:pt x="569" y="321"/>
                  <a:pt x="575" y="322"/>
                  <a:pt x="577" y="322"/>
                </a:cubicBezTo>
                <a:cubicBezTo>
                  <a:pt x="579" y="322"/>
                  <a:pt x="577" y="325"/>
                  <a:pt x="577" y="327"/>
                </a:cubicBezTo>
                <a:cubicBezTo>
                  <a:pt x="577" y="328"/>
                  <a:pt x="576" y="329"/>
                  <a:pt x="577" y="330"/>
                </a:cubicBezTo>
                <a:cubicBezTo>
                  <a:pt x="578" y="331"/>
                  <a:pt x="581" y="330"/>
                  <a:pt x="582" y="331"/>
                </a:cubicBezTo>
                <a:cubicBezTo>
                  <a:pt x="583" y="331"/>
                  <a:pt x="586" y="329"/>
                  <a:pt x="586" y="331"/>
                </a:cubicBezTo>
                <a:cubicBezTo>
                  <a:pt x="586" y="332"/>
                  <a:pt x="580" y="330"/>
                  <a:pt x="583" y="336"/>
                </a:cubicBezTo>
                <a:cubicBezTo>
                  <a:pt x="583" y="337"/>
                  <a:pt x="584" y="337"/>
                  <a:pt x="585" y="338"/>
                </a:cubicBezTo>
                <a:cubicBezTo>
                  <a:pt x="582" y="340"/>
                  <a:pt x="583" y="339"/>
                  <a:pt x="582" y="341"/>
                </a:cubicBezTo>
                <a:cubicBezTo>
                  <a:pt x="584" y="342"/>
                  <a:pt x="584" y="342"/>
                  <a:pt x="584" y="342"/>
                </a:cubicBezTo>
                <a:cubicBezTo>
                  <a:pt x="582" y="345"/>
                  <a:pt x="582" y="345"/>
                  <a:pt x="582" y="345"/>
                </a:cubicBezTo>
                <a:cubicBezTo>
                  <a:pt x="578" y="345"/>
                  <a:pt x="578" y="345"/>
                  <a:pt x="578" y="345"/>
                </a:cubicBezTo>
                <a:cubicBezTo>
                  <a:pt x="577" y="344"/>
                  <a:pt x="577" y="344"/>
                  <a:pt x="577" y="344"/>
                </a:cubicBezTo>
                <a:cubicBezTo>
                  <a:pt x="572" y="345"/>
                  <a:pt x="573" y="344"/>
                  <a:pt x="570" y="344"/>
                </a:cubicBezTo>
                <a:cubicBezTo>
                  <a:pt x="570" y="344"/>
                  <a:pt x="568" y="345"/>
                  <a:pt x="568" y="345"/>
                </a:cubicBezTo>
                <a:cubicBezTo>
                  <a:pt x="567" y="345"/>
                  <a:pt x="565" y="346"/>
                  <a:pt x="564" y="347"/>
                </a:cubicBezTo>
                <a:cubicBezTo>
                  <a:pt x="562" y="348"/>
                  <a:pt x="559" y="346"/>
                  <a:pt x="558" y="346"/>
                </a:cubicBezTo>
                <a:cubicBezTo>
                  <a:pt x="557" y="345"/>
                  <a:pt x="556" y="345"/>
                  <a:pt x="556" y="345"/>
                </a:cubicBezTo>
                <a:cubicBezTo>
                  <a:pt x="555" y="344"/>
                  <a:pt x="555" y="343"/>
                  <a:pt x="554" y="342"/>
                </a:cubicBezTo>
                <a:cubicBezTo>
                  <a:pt x="553" y="342"/>
                  <a:pt x="547" y="345"/>
                  <a:pt x="551" y="341"/>
                </a:cubicBezTo>
                <a:cubicBezTo>
                  <a:pt x="552" y="339"/>
                  <a:pt x="555" y="338"/>
                  <a:pt x="555" y="336"/>
                </a:cubicBezTo>
                <a:cubicBezTo>
                  <a:pt x="555" y="335"/>
                  <a:pt x="550" y="339"/>
                  <a:pt x="550" y="339"/>
                </a:cubicBezTo>
                <a:cubicBezTo>
                  <a:pt x="548" y="340"/>
                  <a:pt x="546" y="340"/>
                  <a:pt x="544" y="341"/>
                </a:cubicBezTo>
                <a:cubicBezTo>
                  <a:pt x="540" y="343"/>
                  <a:pt x="540" y="343"/>
                  <a:pt x="540" y="343"/>
                </a:cubicBezTo>
                <a:cubicBezTo>
                  <a:pt x="537" y="343"/>
                  <a:pt x="537" y="343"/>
                  <a:pt x="537" y="343"/>
                </a:cubicBezTo>
                <a:cubicBezTo>
                  <a:pt x="537" y="343"/>
                  <a:pt x="533" y="345"/>
                  <a:pt x="532" y="345"/>
                </a:cubicBezTo>
                <a:cubicBezTo>
                  <a:pt x="531" y="345"/>
                  <a:pt x="529" y="344"/>
                  <a:pt x="527" y="345"/>
                </a:cubicBezTo>
                <a:cubicBezTo>
                  <a:pt x="526" y="346"/>
                  <a:pt x="527" y="345"/>
                  <a:pt x="528" y="344"/>
                </a:cubicBezTo>
                <a:cubicBezTo>
                  <a:pt x="529" y="344"/>
                  <a:pt x="530" y="343"/>
                  <a:pt x="530" y="342"/>
                </a:cubicBezTo>
                <a:cubicBezTo>
                  <a:pt x="530" y="341"/>
                  <a:pt x="528" y="342"/>
                  <a:pt x="528" y="342"/>
                </a:cubicBezTo>
                <a:cubicBezTo>
                  <a:pt x="527" y="342"/>
                  <a:pt x="525" y="343"/>
                  <a:pt x="524" y="343"/>
                </a:cubicBezTo>
                <a:cubicBezTo>
                  <a:pt x="523" y="343"/>
                  <a:pt x="522" y="344"/>
                  <a:pt x="521" y="344"/>
                </a:cubicBezTo>
                <a:cubicBezTo>
                  <a:pt x="519" y="344"/>
                  <a:pt x="517" y="345"/>
                  <a:pt x="517" y="343"/>
                </a:cubicBezTo>
                <a:cubicBezTo>
                  <a:pt x="526" y="340"/>
                  <a:pt x="526" y="337"/>
                  <a:pt x="527" y="337"/>
                </a:cubicBezTo>
                <a:close/>
                <a:moveTo>
                  <a:pt x="481" y="738"/>
                </a:moveTo>
                <a:cubicBezTo>
                  <a:pt x="479" y="738"/>
                  <a:pt x="479" y="738"/>
                  <a:pt x="479" y="738"/>
                </a:cubicBezTo>
                <a:cubicBezTo>
                  <a:pt x="476" y="738"/>
                  <a:pt x="478" y="738"/>
                  <a:pt x="474" y="737"/>
                </a:cubicBezTo>
                <a:cubicBezTo>
                  <a:pt x="473" y="736"/>
                  <a:pt x="473" y="735"/>
                  <a:pt x="472" y="732"/>
                </a:cubicBezTo>
                <a:cubicBezTo>
                  <a:pt x="472" y="732"/>
                  <a:pt x="472" y="731"/>
                  <a:pt x="472" y="729"/>
                </a:cubicBezTo>
                <a:cubicBezTo>
                  <a:pt x="472" y="728"/>
                  <a:pt x="472" y="726"/>
                  <a:pt x="472" y="726"/>
                </a:cubicBezTo>
                <a:cubicBezTo>
                  <a:pt x="475" y="726"/>
                  <a:pt x="475" y="726"/>
                  <a:pt x="475" y="726"/>
                </a:cubicBezTo>
                <a:cubicBezTo>
                  <a:pt x="476" y="729"/>
                  <a:pt x="476" y="729"/>
                  <a:pt x="476" y="729"/>
                </a:cubicBezTo>
                <a:cubicBezTo>
                  <a:pt x="479" y="730"/>
                  <a:pt x="479" y="730"/>
                  <a:pt x="479" y="730"/>
                </a:cubicBezTo>
                <a:cubicBezTo>
                  <a:pt x="482" y="737"/>
                  <a:pt x="482" y="737"/>
                  <a:pt x="482" y="737"/>
                </a:cubicBezTo>
                <a:cubicBezTo>
                  <a:pt x="483" y="737"/>
                  <a:pt x="483" y="737"/>
                  <a:pt x="483" y="737"/>
                </a:cubicBezTo>
                <a:lnTo>
                  <a:pt x="481" y="738"/>
                </a:lnTo>
                <a:close/>
                <a:moveTo>
                  <a:pt x="2727" y="166"/>
                </a:moveTo>
                <a:cubicBezTo>
                  <a:pt x="2727" y="166"/>
                  <a:pt x="2723" y="160"/>
                  <a:pt x="2723" y="160"/>
                </a:cubicBezTo>
                <a:cubicBezTo>
                  <a:pt x="2718" y="159"/>
                  <a:pt x="2718" y="159"/>
                  <a:pt x="2718" y="159"/>
                </a:cubicBezTo>
                <a:cubicBezTo>
                  <a:pt x="2716" y="157"/>
                  <a:pt x="2716" y="157"/>
                  <a:pt x="2716" y="157"/>
                </a:cubicBezTo>
                <a:cubicBezTo>
                  <a:pt x="2715" y="156"/>
                  <a:pt x="2715" y="156"/>
                  <a:pt x="2715" y="156"/>
                </a:cubicBezTo>
                <a:cubicBezTo>
                  <a:pt x="2722" y="156"/>
                  <a:pt x="2722" y="156"/>
                  <a:pt x="2722" y="156"/>
                </a:cubicBezTo>
                <a:cubicBezTo>
                  <a:pt x="2719" y="154"/>
                  <a:pt x="2719" y="154"/>
                  <a:pt x="2719" y="154"/>
                </a:cubicBezTo>
                <a:cubicBezTo>
                  <a:pt x="2722" y="153"/>
                  <a:pt x="2722" y="153"/>
                  <a:pt x="2722" y="153"/>
                </a:cubicBezTo>
                <a:cubicBezTo>
                  <a:pt x="2722" y="151"/>
                  <a:pt x="2722" y="151"/>
                  <a:pt x="2722" y="151"/>
                </a:cubicBezTo>
                <a:cubicBezTo>
                  <a:pt x="2723" y="149"/>
                  <a:pt x="2724" y="150"/>
                  <a:pt x="2718" y="149"/>
                </a:cubicBezTo>
                <a:cubicBezTo>
                  <a:pt x="2718" y="149"/>
                  <a:pt x="2717" y="149"/>
                  <a:pt x="2716" y="148"/>
                </a:cubicBezTo>
                <a:cubicBezTo>
                  <a:pt x="2714" y="147"/>
                  <a:pt x="2707" y="146"/>
                  <a:pt x="2707" y="146"/>
                </a:cubicBezTo>
                <a:cubicBezTo>
                  <a:pt x="2700" y="143"/>
                  <a:pt x="2700" y="143"/>
                  <a:pt x="2700" y="143"/>
                </a:cubicBezTo>
                <a:cubicBezTo>
                  <a:pt x="2697" y="141"/>
                  <a:pt x="2697" y="141"/>
                  <a:pt x="2697" y="141"/>
                </a:cubicBezTo>
                <a:cubicBezTo>
                  <a:pt x="2690" y="142"/>
                  <a:pt x="2690" y="142"/>
                  <a:pt x="2690" y="142"/>
                </a:cubicBezTo>
                <a:cubicBezTo>
                  <a:pt x="2683" y="141"/>
                  <a:pt x="2683" y="141"/>
                  <a:pt x="2683" y="141"/>
                </a:cubicBezTo>
                <a:cubicBezTo>
                  <a:pt x="2679" y="140"/>
                  <a:pt x="2679" y="140"/>
                  <a:pt x="2679" y="140"/>
                </a:cubicBezTo>
                <a:cubicBezTo>
                  <a:pt x="2674" y="141"/>
                  <a:pt x="2674" y="141"/>
                  <a:pt x="2674" y="141"/>
                </a:cubicBezTo>
                <a:cubicBezTo>
                  <a:pt x="2683" y="144"/>
                  <a:pt x="2683" y="144"/>
                  <a:pt x="2683" y="144"/>
                </a:cubicBezTo>
                <a:cubicBezTo>
                  <a:pt x="2684" y="146"/>
                  <a:pt x="2684" y="146"/>
                  <a:pt x="2684" y="146"/>
                </a:cubicBezTo>
                <a:cubicBezTo>
                  <a:pt x="2684" y="146"/>
                  <a:pt x="2684" y="146"/>
                  <a:pt x="2684" y="146"/>
                </a:cubicBezTo>
                <a:cubicBezTo>
                  <a:pt x="2688" y="146"/>
                  <a:pt x="2688" y="146"/>
                  <a:pt x="2688" y="146"/>
                </a:cubicBezTo>
                <a:cubicBezTo>
                  <a:pt x="2689" y="148"/>
                  <a:pt x="2689" y="148"/>
                  <a:pt x="2687" y="150"/>
                </a:cubicBezTo>
                <a:cubicBezTo>
                  <a:pt x="2684" y="147"/>
                  <a:pt x="2684" y="147"/>
                  <a:pt x="2684" y="147"/>
                </a:cubicBezTo>
                <a:cubicBezTo>
                  <a:pt x="2684" y="147"/>
                  <a:pt x="2683" y="145"/>
                  <a:pt x="2682" y="145"/>
                </a:cubicBezTo>
                <a:cubicBezTo>
                  <a:pt x="2681" y="145"/>
                  <a:pt x="2677" y="145"/>
                  <a:pt x="2677" y="145"/>
                </a:cubicBezTo>
                <a:cubicBezTo>
                  <a:pt x="2675" y="142"/>
                  <a:pt x="2675" y="142"/>
                  <a:pt x="2675" y="142"/>
                </a:cubicBezTo>
                <a:cubicBezTo>
                  <a:pt x="2670" y="140"/>
                  <a:pt x="2670" y="140"/>
                  <a:pt x="2670" y="140"/>
                </a:cubicBezTo>
                <a:cubicBezTo>
                  <a:pt x="2668" y="138"/>
                  <a:pt x="2668" y="138"/>
                  <a:pt x="2668" y="138"/>
                </a:cubicBezTo>
                <a:cubicBezTo>
                  <a:pt x="2663" y="137"/>
                  <a:pt x="2663" y="137"/>
                  <a:pt x="2663" y="137"/>
                </a:cubicBezTo>
                <a:cubicBezTo>
                  <a:pt x="2661" y="135"/>
                  <a:pt x="2661" y="135"/>
                  <a:pt x="2661" y="135"/>
                </a:cubicBezTo>
                <a:cubicBezTo>
                  <a:pt x="2656" y="135"/>
                  <a:pt x="2656" y="135"/>
                  <a:pt x="2656" y="135"/>
                </a:cubicBezTo>
                <a:cubicBezTo>
                  <a:pt x="2625" y="125"/>
                  <a:pt x="2625" y="125"/>
                  <a:pt x="2625" y="125"/>
                </a:cubicBezTo>
                <a:cubicBezTo>
                  <a:pt x="2613" y="124"/>
                  <a:pt x="2613" y="124"/>
                  <a:pt x="2613" y="124"/>
                </a:cubicBezTo>
                <a:cubicBezTo>
                  <a:pt x="2613" y="124"/>
                  <a:pt x="2605" y="121"/>
                  <a:pt x="2603" y="121"/>
                </a:cubicBezTo>
                <a:cubicBezTo>
                  <a:pt x="2601" y="121"/>
                  <a:pt x="2584" y="116"/>
                  <a:pt x="2584" y="116"/>
                </a:cubicBezTo>
                <a:cubicBezTo>
                  <a:pt x="2578" y="115"/>
                  <a:pt x="2573" y="114"/>
                  <a:pt x="2567" y="113"/>
                </a:cubicBezTo>
                <a:cubicBezTo>
                  <a:pt x="2560" y="112"/>
                  <a:pt x="2548" y="113"/>
                  <a:pt x="2541" y="112"/>
                </a:cubicBezTo>
                <a:cubicBezTo>
                  <a:pt x="2538" y="112"/>
                  <a:pt x="2531" y="109"/>
                  <a:pt x="2527" y="109"/>
                </a:cubicBezTo>
                <a:cubicBezTo>
                  <a:pt x="2526" y="109"/>
                  <a:pt x="2528" y="112"/>
                  <a:pt x="2527" y="111"/>
                </a:cubicBezTo>
                <a:cubicBezTo>
                  <a:pt x="2527" y="111"/>
                  <a:pt x="2531" y="116"/>
                  <a:pt x="2531" y="116"/>
                </a:cubicBezTo>
                <a:cubicBezTo>
                  <a:pt x="2532" y="116"/>
                  <a:pt x="2537" y="116"/>
                  <a:pt x="2537" y="116"/>
                </a:cubicBezTo>
                <a:cubicBezTo>
                  <a:pt x="2537" y="116"/>
                  <a:pt x="2544" y="120"/>
                  <a:pt x="2543" y="122"/>
                </a:cubicBezTo>
                <a:cubicBezTo>
                  <a:pt x="2539" y="126"/>
                  <a:pt x="2536" y="123"/>
                  <a:pt x="2532" y="120"/>
                </a:cubicBezTo>
                <a:cubicBezTo>
                  <a:pt x="2530" y="119"/>
                  <a:pt x="2527" y="120"/>
                  <a:pt x="2525" y="119"/>
                </a:cubicBezTo>
                <a:cubicBezTo>
                  <a:pt x="2523" y="118"/>
                  <a:pt x="2521" y="119"/>
                  <a:pt x="2520" y="118"/>
                </a:cubicBezTo>
                <a:cubicBezTo>
                  <a:pt x="2519" y="117"/>
                  <a:pt x="2517" y="116"/>
                  <a:pt x="2518" y="114"/>
                </a:cubicBezTo>
                <a:cubicBezTo>
                  <a:pt x="2518" y="113"/>
                  <a:pt x="2521" y="115"/>
                  <a:pt x="2522" y="114"/>
                </a:cubicBezTo>
                <a:cubicBezTo>
                  <a:pt x="2523" y="114"/>
                  <a:pt x="2522" y="112"/>
                  <a:pt x="2522" y="112"/>
                </a:cubicBezTo>
                <a:cubicBezTo>
                  <a:pt x="2520" y="111"/>
                  <a:pt x="2517" y="111"/>
                  <a:pt x="2515" y="111"/>
                </a:cubicBezTo>
                <a:cubicBezTo>
                  <a:pt x="2514" y="111"/>
                  <a:pt x="2512" y="110"/>
                  <a:pt x="2512" y="111"/>
                </a:cubicBezTo>
                <a:cubicBezTo>
                  <a:pt x="2511" y="112"/>
                  <a:pt x="2512" y="113"/>
                  <a:pt x="2511" y="114"/>
                </a:cubicBezTo>
                <a:cubicBezTo>
                  <a:pt x="2509" y="116"/>
                  <a:pt x="2508" y="116"/>
                  <a:pt x="2505" y="116"/>
                </a:cubicBezTo>
                <a:cubicBezTo>
                  <a:pt x="2504" y="117"/>
                  <a:pt x="2501" y="116"/>
                  <a:pt x="2501" y="116"/>
                </a:cubicBezTo>
                <a:cubicBezTo>
                  <a:pt x="2493" y="114"/>
                  <a:pt x="2485" y="114"/>
                  <a:pt x="2477" y="113"/>
                </a:cubicBezTo>
                <a:cubicBezTo>
                  <a:pt x="2469" y="112"/>
                  <a:pt x="2461" y="114"/>
                  <a:pt x="2453" y="112"/>
                </a:cubicBezTo>
                <a:cubicBezTo>
                  <a:pt x="2450" y="111"/>
                  <a:pt x="2450" y="106"/>
                  <a:pt x="2447" y="105"/>
                </a:cubicBezTo>
                <a:cubicBezTo>
                  <a:pt x="2442" y="103"/>
                  <a:pt x="2436" y="103"/>
                  <a:pt x="2431" y="103"/>
                </a:cubicBezTo>
                <a:cubicBezTo>
                  <a:pt x="2427" y="101"/>
                  <a:pt x="2427" y="101"/>
                  <a:pt x="2427" y="101"/>
                </a:cubicBezTo>
                <a:cubicBezTo>
                  <a:pt x="2418" y="101"/>
                  <a:pt x="2418" y="101"/>
                  <a:pt x="2418" y="101"/>
                </a:cubicBezTo>
                <a:cubicBezTo>
                  <a:pt x="2406" y="102"/>
                  <a:pt x="2406" y="102"/>
                  <a:pt x="2406" y="102"/>
                </a:cubicBezTo>
                <a:cubicBezTo>
                  <a:pt x="2400" y="104"/>
                  <a:pt x="2400" y="104"/>
                  <a:pt x="2400" y="104"/>
                </a:cubicBezTo>
                <a:cubicBezTo>
                  <a:pt x="2392" y="104"/>
                  <a:pt x="2391" y="103"/>
                  <a:pt x="2383" y="101"/>
                </a:cubicBezTo>
                <a:cubicBezTo>
                  <a:pt x="2377" y="100"/>
                  <a:pt x="2371" y="98"/>
                  <a:pt x="2365" y="97"/>
                </a:cubicBezTo>
                <a:cubicBezTo>
                  <a:pt x="2362" y="96"/>
                  <a:pt x="2358" y="98"/>
                  <a:pt x="2355" y="96"/>
                </a:cubicBezTo>
                <a:cubicBezTo>
                  <a:pt x="2354" y="95"/>
                  <a:pt x="2359" y="94"/>
                  <a:pt x="2359" y="93"/>
                </a:cubicBezTo>
                <a:cubicBezTo>
                  <a:pt x="2359" y="91"/>
                  <a:pt x="2356" y="93"/>
                  <a:pt x="2355" y="93"/>
                </a:cubicBezTo>
                <a:cubicBezTo>
                  <a:pt x="2351" y="93"/>
                  <a:pt x="2348" y="93"/>
                  <a:pt x="2345" y="93"/>
                </a:cubicBezTo>
                <a:cubicBezTo>
                  <a:pt x="2342" y="92"/>
                  <a:pt x="2338" y="91"/>
                  <a:pt x="2336" y="92"/>
                </a:cubicBezTo>
                <a:cubicBezTo>
                  <a:pt x="2334" y="92"/>
                  <a:pt x="2336" y="95"/>
                  <a:pt x="2335" y="96"/>
                </a:cubicBezTo>
                <a:cubicBezTo>
                  <a:pt x="2333" y="97"/>
                  <a:pt x="2330" y="98"/>
                  <a:pt x="2328" y="97"/>
                </a:cubicBezTo>
                <a:cubicBezTo>
                  <a:pt x="2327" y="96"/>
                  <a:pt x="2327" y="93"/>
                  <a:pt x="2326" y="92"/>
                </a:cubicBezTo>
                <a:cubicBezTo>
                  <a:pt x="2324" y="91"/>
                  <a:pt x="2321" y="93"/>
                  <a:pt x="2319" y="93"/>
                </a:cubicBezTo>
                <a:cubicBezTo>
                  <a:pt x="2318" y="93"/>
                  <a:pt x="2316" y="93"/>
                  <a:pt x="2317" y="93"/>
                </a:cubicBezTo>
                <a:cubicBezTo>
                  <a:pt x="2317" y="92"/>
                  <a:pt x="2318" y="92"/>
                  <a:pt x="2319" y="91"/>
                </a:cubicBezTo>
                <a:cubicBezTo>
                  <a:pt x="2320" y="91"/>
                  <a:pt x="2321" y="92"/>
                  <a:pt x="2323" y="91"/>
                </a:cubicBezTo>
                <a:cubicBezTo>
                  <a:pt x="2323" y="90"/>
                  <a:pt x="2325" y="91"/>
                  <a:pt x="2325" y="90"/>
                </a:cubicBezTo>
                <a:cubicBezTo>
                  <a:pt x="2326" y="90"/>
                  <a:pt x="2327" y="91"/>
                  <a:pt x="2328" y="91"/>
                </a:cubicBezTo>
                <a:cubicBezTo>
                  <a:pt x="2331" y="92"/>
                  <a:pt x="2329" y="94"/>
                  <a:pt x="2333" y="94"/>
                </a:cubicBezTo>
                <a:cubicBezTo>
                  <a:pt x="2335" y="94"/>
                  <a:pt x="2335" y="92"/>
                  <a:pt x="2333" y="90"/>
                </a:cubicBezTo>
                <a:cubicBezTo>
                  <a:pt x="2332" y="89"/>
                  <a:pt x="2332" y="90"/>
                  <a:pt x="2331" y="90"/>
                </a:cubicBezTo>
                <a:cubicBezTo>
                  <a:pt x="2330" y="89"/>
                  <a:pt x="2327" y="89"/>
                  <a:pt x="2325" y="89"/>
                </a:cubicBezTo>
                <a:cubicBezTo>
                  <a:pt x="2322" y="88"/>
                  <a:pt x="2322" y="88"/>
                  <a:pt x="2322" y="88"/>
                </a:cubicBezTo>
                <a:cubicBezTo>
                  <a:pt x="2322" y="88"/>
                  <a:pt x="2321" y="88"/>
                  <a:pt x="2320" y="88"/>
                </a:cubicBezTo>
                <a:cubicBezTo>
                  <a:pt x="2318" y="87"/>
                  <a:pt x="2314" y="89"/>
                  <a:pt x="2312" y="88"/>
                </a:cubicBezTo>
                <a:cubicBezTo>
                  <a:pt x="2309" y="88"/>
                  <a:pt x="2307" y="88"/>
                  <a:pt x="2304" y="88"/>
                </a:cubicBezTo>
                <a:cubicBezTo>
                  <a:pt x="2301" y="87"/>
                  <a:pt x="2298" y="87"/>
                  <a:pt x="2295" y="87"/>
                </a:cubicBezTo>
                <a:cubicBezTo>
                  <a:pt x="2293" y="87"/>
                  <a:pt x="2292" y="87"/>
                  <a:pt x="2291" y="87"/>
                </a:cubicBezTo>
                <a:cubicBezTo>
                  <a:pt x="2290" y="87"/>
                  <a:pt x="2288" y="85"/>
                  <a:pt x="2287" y="86"/>
                </a:cubicBezTo>
                <a:cubicBezTo>
                  <a:pt x="2286" y="86"/>
                  <a:pt x="2288" y="88"/>
                  <a:pt x="2288" y="89"/>
                </a:cubicBezTo>
                <a:cubicBezTo>
                  <a:pt x="2288" y="89"/>
                  <a:pt x="2287" y="88"/>
                  <a:pt x="2286" y="89"/>
                </a:cubicBezTo>
                <a:cubicBezTo>
                  <a:pt x="2285" y="89"/>
                  <a:pt x="2277" y="92"/>
                  <a:pt x="2282" y="93"/>
                </a:cubicBezTo>
                <a:cubicBezTo>
                  <a:pt x="2283" y="93"/>
                  <a:pt x="2285" y="92"/>
                  <a:pt x="2286" y="92"/>
                </a:cubicBezTo>
                <a:cubicBezTo>
                  <a:pt x="2287" y="92"/>
                  <a:pt x="2287" y="93"/>
                  <a:pt x="2288" y="94"/>
                </a:cubicBezTo>
                <a:cubicBezTo>
                  <a:pt x="2289" y="94"/>
                  <a:pt x="2290" y="95"/>
                  <a:pt x="2291" y="96"/>
                </a:cubicBezTo>
                <a:cubicBezTo>
                  <a:pt x="2295" y="100"/>
                  <a:pt x="2289" y="98"/>
                  <a:pt x="2287" y="98"/>
                </a:cubicBezTo>
                <a:cubicBezTo>
                  <a:pt x="2286" y="98"/>
                  <a:pt x="2284" y="97"/>
                  <a:pt x="2283" y="98"/>
                </a:cubicBezTo>
                <a:cubicBezTo>
                  <a:pt x="2282" y="99"/>
                  <a:pt x="2285" y="100"/>
                  <a:pt x="2284" y="101"/>
                </a:cubicBezTo>
                <a:cubicBezTo>
                  <a:pt x="2283" y="102"/>
                  <a:pt x="2282" y="101"/>
                  <a:pt x="2281" y="100"/>
                </a:cubicBezTo>
                <a:cubicBezTo>
                  <a:pt x="2280" y="99"/>
                  <a:pt x="2282" y="97"/>
                  <a:pt x="2281" y="97"/>
                </a:cubicBezTo>
                <a:cubicBezTo>
                  <a:pt x="2277" y="96"/>
                  <a:pt x="2272" y="97"/>
                  <a:pt x="2268" y="97"/>
                </a:cubicBezTo>
                <a:cubicBezTo>
                  <a:pt x="2268" y="97"/>
                  <a:pt x="2262" y="98"/>
                  <a:pt x="2261" y="98"/>
                </a:cubicBezTo>
                <a:cubicBezTo>
                  <a:pt x="2260" y="98"/>
                  <a:pt x="2252" y="99"/>
                  <a:pt x="2252" y="99"/>
                </a:cubicBezTo>
                <a:cubicBezTo>
                  <a:pt x="2252" y="99"/>
                  <a:pt x="2249" y="97"/>
                  <a:pt x="2249" y="97"/>
                </a:cubicBezTo>
                <a:cubicBezTo>
                  <a:pt x="2247" y="97"/>
                  <a:pt x="2241" y="93"/>
                  <a:pt x="2241" y="95"/>
                </a:cubicBezTo>
                <a:cubicBezTo>
                  <a:pt x="2241" y="98"/>
                  <a:pt x="2244" y="99"/>
                  <a:pt x="2243" y="104"/>
                </a:cubicBezTo>
                <a:cubicBezTo>
                  <a:pt x="2238" y="103"/>
                  <a:pt x="2238" y="103"/>
                  <a:pt x="2238" y="103"/>
                </a:cubicBezTo>
                <a:cubicBezTo>
                  <a:pt x="2238" y="103"/>
                  <a:pt x="2235" y="102"/>
                  <a:pt x="2235" y="102"/>
                </a:cubicBezTo>
                <a:cubicBezTo>
                  <a:pt x="2230" y="102"/>
                  <a:pt x="2232" y="100"/>
                  <a:pt x="2223" y="99"/>
                </a:cubicBezTo>
                <a:cubicBezTo>
                  <a:pt x="2222" y="99"/>
                  <a:pt x="2220" y="97"/>
                  <a:pt x="2219" y="97"/>
                </a:cubicBezTo>
                <a:cubicBezTo>
                  <a:pt x="2217" y="97"/>
                  <a:pt x="2217" y="97"/>
                  <a:pt x="2217" y="97"/>
                </a:cubicBezTo>
                <a:cubicBezTo>
                  <a:pt x="2217" y="97"/>
                  <a:pt x="2211" y="95"/>
                  <a:pt x="2210" y="93"/>
                </a:cubicBezTo>
                <a:cubicBezTo>
                  <a:pt x="2209" y="91"/>
                  <a:pt x="2211" y="93"/>
                  <a:pt x="2212" y="93"/>
                </a:cubicBezTo>
                <a:cubicBezTo>
                  <a:pt x="2214" y="93"/>
                  <a:pt x="2215" y="93"/>
                  <a:pt x="2216" y="93"/>
                </a:cubicBezTo>
                <a:cubicBezTo>
                  <a:pt x="2218" y="92"/>
                  <a:pt x="2217" y="93"/>
                  <a:pt x="2215" y="91"/>
                </a:cubicBezTo>
                <a:cubicBezTo>
                  <a:pt x="2216" y="92"/>
                  <a:pt x="2216" y="92"/>
                  <a:pt x="2217" y="92"/>
                </a:cubicBezTo>
                <a:cubicBezTo>
                  <a:pt x="2214" y="89"/>
                  <a:pt x="2214" y="90"/>
                  <a:pt x="2209" y="88"/>
                </a:cubicBezTo>
                <a:cubicBezTo>
                  <a:pt x="2208" y="87"/>
                  <a:pt x="2208" y="87"/>
                  <a:pt x="2208" y="87"/>
                </a:cubicBezTo>
                <a:cubicBezTo>
                  <a:pt x="2209" y="87"/>
                  <a:pt x="2207" y="85"/>
                  <a:pt x="2206" y="85"/>
                </a:cubicBezTo>
                <a:cubicBezTo>
                  <a:pt x="2204" y="83"/>
                  <a:pt x="2203" y="81"/>
                  <a:pt x="2203" y="81"/>
                </a:cubicBezTo>
                <a:cubicBezTo>
                  <a:pt x="2197" y="81"/>
                  <a:pt x="2193" y="82"/>
                  <a:pt x="2187" y="80"/>
                </a:cubicBezTo>
                <a:cubicBezTo>
                  <a:pt x="2185" y="80"/>
                  <a:pt x="2186" y="81"/>
                  <a:pt x="2184" y="81"/>
                </a:cubicBezTo>
                <a:cubicBezTo>
                  <a:pt x="2184" y="81"/>
                  <a:pt x="2184" y="77"/>
                  <a:pt x="2181" y="78"/>
                </a:cubicBezTo>
                <a:cubicBezTo>
                  <a:pt x="2177" y="79"/>
                  <a:pt x="2166" y="79"/>
                  <a:pt x="2165" y="79"/>
                </a:cubicBezTo>
                <a:cubicBezTo>
                  <a:pt x="2165" y="79"/>
                  <a:pt x="2160" y="81"/>
                  <a:pt x="2161" y="82"/>
                </a:cubicBezTo>
                <a:cubicBezTo>
                  <a:pt x="2163" y="83"/>
                  <a:pt x="2165" y="84"/>
                  <a:pt x="2165" y="84"/>
                </a:cubicBezTo>
                <a:cubicBezTo>
                  <a:pt x="2161" y="84"/>
                  <a:pt x="2150" y="86"/>
                  <a:pt x="2148" y="86"/>
                </a:cubicBezTo>
                <a:cubicBezTo>
                  <a:pt x="2135" y="85"/>
                  <a:pt x="2135" y="85"/>
                  <a:pt x="2135" y="85"/>
                </a:cubicBezTo>
                <a:cubicBezTo>
                  <a:pt x="2133" y="79"/>
                  <a:pt x="2133" y="79"/>
                  <a:pt x="2133" y="79"/>
                </a:cubicBezTo>
                <a:cubicBezTo>
                  <a:pt x="2123" y="79"/>
                  <a:pt x="2123" y="79"/>
                  <a:pt x="2123" y="79"/>
                </a:cubicBezTo>
                <a:cubicBezTo>
                  <a:pt x="2101" y="80"/>
                  <a:pt x="2101" y="80"/>
                  <a:pt x="2101" y="80"/>
                </a:cubicBezTo>
                <a:cubicBezTo>
                  <a:pt x="2099" y="79"/>
                  <a:pt x="2100" y="80"/>
                  <a:pt x="2100" y="80"/>
                </a:cubicBezTo>
                <a:cubicBezTo>
                  <a:pt x="2097" y="80"/>
                  <a:pt x="2098" y="80"/>
                  <a:pt x="2098" y="80"/>
                </a:cubicBezTo>
                <a:cubicBezTo>
                  <a:pt x="2097" y="81"/>
                  <a:pt x="2097" y="80"/>
                  <a:pt x="2096" y="81"/>
                </a:cubicBezTo>
                <a:cubicBezTo>
                  <a:pt x="2094" y="82"/>
                  <a:pt x="2095" y="81"/>
                  <a:pt x="2093" y="79"/>
                </a:cubicBezTo>
                <a:cubicBezTo>
                  <a:pt x="2092" y="78"/>
                  <a:pt x="2092" y="79"/>
                  <a:pt x="2092" y="79"/>
                </a:cubicBezTo>
                <a:cubicBezTo>
                  <a:pt x="2092" y="79"/>
                  <a:pt x="2091" y="78"/>
                  <a:pt x="2090" y="78"/>
                </a:cubicBezTo>
                <a:cubicBezTo>
                  <a:pt x="2089" y="73"/>
                  <a:pt x="2085" y="79"/>
                  <a:pt x="2083" y="78"/>
                </a:cubicBezTo>
                <a:cubicBezTo>
                  <a:pt x="2082" y="78"/>
                  <a:pt x="2078" y="78"/>
                  <a:pt x="2078" y="77"/>
                </a:cubicBezTo>
                <a:cubicBezTo>
                  <a:pt x="2077" y="75"/>
                  <a:pt x="2076" y="76"/>
                  <a:pt x="2075" y="76"/>
                </a:cubicBezTo>
                <a:cubicBezTo>
                  <a:pt x="2073" y="76"/>
                  <a:pt x="2069" y="75"/>
                  <a:pt x="2067" y="77"/>
                </a:cubicBezTo>
                <a:cubicBezTo>
                  <a:pt x="2065" y="78"/>
                  <a:pt x="2071" y="79"/>
                  <a:pt x="2071" y="80"/>
                </a:cubicBezTo>
                <a:cubicBezTo>
                  <a:pt x="2071" y="81"/>
                  <a:pt x="2069" y="82"/>
                  <a:pt x="2066" y="82"/>
                </a:cubicBezTo>
                <a:cubicBezTo>
                  <a:pt x="2062" y="82"/>
                  <a:pt x="2053" y="82"/>
                  <a:pt x="2053" y="82"/>
                </a:cubicBezTo>
                <a:cubicBezTo>
                  <a:pt x="2052" y="82"/>
                  <a:pt x="2052" y="83"/>
                  <a:pt x="2052" y="83"/>
                </a:cubicBezTo>
                <a:cubicBezTo>
                  <a:pt x="2049" y="83"/>
                  <a:pt x="2049" y="83"/>
                  <a:pt x="2049" y="83"/>
                </a:cubicBezTo>
                <a:cubicBezTo>
                  <a:pt x="2049" y="83"/>
                  <a:pt x="2049" y="84"/>
                  <a:pt x="2049" y="85"/>
                </a:cubicBezTo>
                <a:cubicBezTo>
                  <a:pt x="2049" y="85"/>
                  <a:pt x="2048" y="85"/>
                  <a:pt x="2047" y="85"/>
                </a:cubicBezTo>
                <a:cubicBezTo>
                  <a:pt x="2047" y="85"/>
                  <a:pt x="2047" y="84"/>
                  <a:pt x="2047" y="83"/>
                </a:cubicBezTo>
                <a:cubicBezTo>
                  <a:pt x="2048" y="82"/>
                  <a:pt x="2048" y="82"/>
                  <a:pt x="2049" y="82"/>
                </a:cubicBezTo>
                <a:cubicBezTo>
                  <a:pt x="2050" y="82"/>
                  <a:pt x="2051" y="82"/>
                  <a:pt x="2051" y="82"/>
                </a:cubicBezTo>
                <a:cubicBezTo>
                  <a:pt x="2051" y="81"/>
                  <a:pt x="2051" y="80"/>
                  <a:pt x="2051" y="80"/>
                </a:cubicBezTo>
                <a:cubicBezTo>
                  <a:pt x="2054" y="79"/>
                  <a:pt x="2053" y="80"/>
                  <a:pt x="2055" y="80"/>
                </a:cubicBezTo>
                <a:cubicBezTo>
                  <a:pt x="2057" y="79"/>
                  <a:pt x="2057" y="79"/>
                  <a:pt x="2057" y="79"/>
                </a:cubicBezTo>
                <a:cubicBezTo>
                  <a:pt x="2057" y="79"/>
                  <a:pt x="2058" y="79"/>
                  <a:pt x="2058" y="78"/>
                </a:cubicBezTo>
                <a:cubicBezTo>
                  <a:pt x="2059" y="78"/>
                  <a:pt x="2060" y="77"/>
                  <a:pt x="2062" y="75"/>
                </a:cubicBezTo>
                <a:cubicBezTo>
                  <a:pt x="2063" y="77"/>
                  <a:pt x="2064" y="74"/>
                  <a:pt x="2064" y="73"/>
                </a:cubicBezTo>
                <a:cubicBezTo>
                  <a:pt x="2065" y="73"/>
                  <a:pt x="2065" y="72"/>
                  <a:pt x="2066" y="73"/>
                </a:cubicBezTo>
                <a:cubicBezTo>
                  <a:pt x="2068" y="73"/>
                  <a:pt x="2075" y="72"/>
                  <a:pt x="2078" y="68"/>
                </a:cubicBezTo>
                <a:cubicBezTo>
                  <a:pt x="2080" y="64"/>
                  <a:pt x="2078" y="62"/>
                  <a:pt x="2078" y="61"/>
                </a:cubicBezTo>
                <a:cubicBezTo>
                  <a:pt x="2078" y="60"/>
                  <a:pt x="2076" y="60"/>
                  <a:pt x="2075" y="60"/>
                </a:cubicBezTo>
                <a:cubicBezTo>
                  <a:pt x="2074" y="60"/>
                  <a:pt x="2073" y="59"/>
                  <a:pt x="2067" y="58"/>
                </a:cubicBezTo>
                <a:cubicBezTo>
                  <a:pt x="2058" y="55"/>
                  <a:pt x="2062" y="55"/>
                  <a:pt x="2054" y="53"/>
                </a:cubicBezTo>
                <a:cubicBezTo>
                  <a:pt x="2049" y="52"/>
                  <a:pt x="2035" y="50"/>
                  <a:pt x="2031" y="49"/>
                </a:cubicBezTo>
                <a:cubicBezTo>
                  <a:pt x="2026" y="49"/>
                  <a:pt x="2030" y="52"/>
                  <a:pt x="2029" y="53"/>
                </a:cubicBezTo>
                <a:cubicBezTo>
                  <a:pt x="2027" y="56"/>
                  <a:pt x="2023" y="56"/>
                  <a:pt x="2022" y="54"/>
                </a:cubicBezTo>
                <a:cubicBezTo>
                  <a:pt x="2021" y="53"/>
                  <a:pt x="2024" y="52"/>
                  <a:pt x="2023" y="51"/>
                </a:cubicBezTo>
                <a:cubicBezTo>
                  <a:pt x="2022" y="50"/>
                  <a:pt x="2021" y="51"/>
                  <a:pt x="2018" y="51"/>
                </a:cubicBezTo>
                <a:cubicBezTo>
                  <a:pt x="2015" y="51"/>
                  <a:pt x="2008" y="51"/>
                  <a:pt x="2006" y="50"/>
                </a:cubicBezTo>
                <a:cubicBezTo>
                  <a:pt x="2003" y="49"/>
                  <a:pt x="2009" y="48"/>
                  <a:pt x="2008" y="46"/>
                </a:cubicBezTo>
                <a:cubicBezTo>
                  <a:pt x="2007" y="45"/>
                  <a:pt x="2006" y="46"/>
                  <a:pt x="2003" y="46"/>
                </a:cubicBezTo>
                <a:cubicBezTo>
                  <a:pt x="2001" y="46"/>
                  <a:pt x="1998" y="46"/>
                  <a:pt x="1995" y="45"/>
                </a:cubicBezTo>
                <a:cubicBezTo>
                  <a:pt x="1992" y="45"/>
                  <a:pt x="1988" y="44"/>
                  <a:pt x="1986" y="45"/>
                </a:cubicBezTo>
                <a:cubicBezTo>
                  <a:pt x="1983" y="46"/>
                  <a:pt x="1981" y="49"/>
                  <a:pt x="1981" y="51"/>
                </a:cubicBezTo>
                <a:cubicBezTo>
                  <a:pt x="1981" y="53"/>
                  <a:pt x="1983" y="52"/>
                  <a:pt x="1984" y="53"/>
                </a:cubicBezTo>
                <a:cubicBezTo>
                  <a:pt x="1985" y="54"/>
                  <a:pt x="1985" y="54"/>
                  <a:pt x="1985" y="55"/>
                </a:cubicBezTo>
                <a:cubicBezTo>
                  <a:pt x="1985" y="55"/>
                  <a:pt x="1982" y="55"/>
                  <a:pt x="1981" y="55"/>
                </a:cubicBezTo>
                <a:cubicBezTo>
                  <a:pt x="1979" y="55"/>
                  <a:pt x="1974" y="55"/>
                  <a:pt x="1973" y="55"/>
                </a:cubicBezTo>
                <a:cubicBezTo>
                  <a:pt x="1971" y="55"/>
                  <a:pt x="1976" y="56"/>
                  <a:pt x="1974" y="56"/>
                </a:cubicBezTo>
                <a:cubicBezTo>
                  <a:pt x="1972" y="57"/>
                  <a:pt x="1970" y="58"/>
                  <a:pt x="1968" y="59"/>
                </a:cubicBezTo>
                <a:cubicBezTo>
                  <a:pt x="1967" y="59"/>
                  <a:pt x="1966" y="58"/>
                  <a:pt x="1965" y="59"/>
                </a:cubicBezTo>
                <a:cubicBezTo>
                  <a:pt x="1965" y="59"/>
                  <a:pt x="1965" y="60"/>
                  <a:pt x="1964" y="60"/>
                </a:cubicBezTo>
                <a:cubicBezTo>
                  <a:pt x="1962" y="60"/>
                  <a:pt x="1962" y="59"/>
                  <a:pt x="1960" y="59"/>
                </a:cubicBezTo>
                <a:cubicBezTo>
                  <a:pt x="1959" y="58"/>
                  <a:pt x="1957" y="59"/>
                  <a:pt x="1956" y="59"/>
                </a:cubicBezTo>
                <a:cubicBezTo>
                  <a:pt x="1955" y="59"/>
                  <a:pt x="1957" y="58"/>
                  <a:pt x="1957" y="58"/>
                </a:cubicBezTo>
                <a:cubicBezTo>
                  <a:pt x="1957" y="57"/>
                  <a:pt x="1954" y="57"/>
                  <a:pt x="1953" y="57"/>
                </a:cubicBezTo>
                <a:cubicBezTo>
                  <a:pt x="1951" y="57"/>
                  <a:pt x="1949" y="58"/>
                  <a:pt x="1946" y="58"/>
                </a:cubicBezTo>
                <a:cubicBezTo>
                  <a:pt x="1945" y="57"/>
                  <a:pt x="1938" y="58"/>
                  <a:pt x="1937" y="59"/>
                </a:cubicBezTo>
                <a:cubicBezTo>
                  <a:pt x="1936" y="59"/>
                  <a:pt x="1941" y="60"/>
                  <a:pt x="1940" y="60"/>
                </a:cubicBezTo>
                <a:cubicBezTo>
                  <a:pt x="1926" y="64"/>
                  <a:pt x="1915" y="62"/>
                  <a:pt x="1907" y="64"/>
                </a:cubicBezTo>
                <a:cubicBezTo>
                  <a:pt x="1903" y="65"/>
                  <a:pt x="1908" y="66"/>
                  <a:pt x="1909" y="67"/>
                </a:cubicBezTo>
                <a:cubicBezTo>
                  <a:pt x="1906" y="69"/>
                  <a:pt x="1906" y="69"/>
                  <a:pt x="1906" y="69"/>
                </a:cubicBezTo>
                <a:cubicBezTo>
                  <a:pt x="1905" y="69"/>
                  <a:pt x="1903" y="68"/>
                  <a:pt x="1902" y="69"/>
                </a:cubicBezTo>
                <a:cubicBezTo>
                  <a:pt x="1902" y="69"/>
                  <a:pt x="1901" y="69"/>
                  <a:pt x="1901" y="69"/>
                </a:cubicBezTo>
                <a:cubicBezTo>
                  <a:pt x="1901" y="69"/>
                  <a:pt x="1900" y="70"/>
                  <a:pt x="1901" y="70"/>
                </a:cubicBezTo>
                <a:cubicBezTo>
                  <a:pt x="1901" y="70"/>
                  <a:pt x="1903" y="71"/>
                  <a:pt x="1904" y="71"/>
                </a:cubicBezTo>
                <a:cubicBezTo>
                  <a:pt x="1904" y="71"/>
                  <a:pt x="1904" y="70"/>
                  <a:pt x="1905" y="71"/>
                </a:cubicBezTo>
                <a:cubicBezTo>
                  <a:pt x="1908" y="72"/>
                  <a:pt x="1905" y="71"/>
                  <a:pt x="1905" y="73"/>
                </a:cubicBezTo>
                <a:cubicBezTo>
                  <a:pt x="1906" y="73"/>
                  <a:pt x="1908" y="74"/>
                  <a:pt x="1908" y="74"/>
                </a:cubicBezTo>
                <a:cubicBezTo>
                  <a:pt x="1910" y="74"/>
                  <a:pt x="1912" y="75"/>
                  <a:pt x="1914" y="75"/>
                </a:cubicBezTo>
                <a:cubicBezTo>
                  <a:pt x="1911" y="76"/>
                  <a:pt x="1906" y="75"/>
                  <a:pt x="1904" y="76"/>
                </a:cubicBezTo>
                <a:cubicBezTo>
                  <a:pt x="1901" y="76"/>
                  <a:pt x="1902" y="77"/>
                  <a:pt x="1899" y="77"/>
                </a:cubicBezTo>
                <a:cubicBezTo>
                  <a:pt x="1896" y="78"/>
                  <a:pt x="1891" y="78"/>
                  <a:pt x="1887" y="79"/>
                </a:cubicBezTo>
                <a:cubicBezTo>
                  <a:pt x="1884" y="79"/>
                  <a:pt x="1880" y="78"/>
                  <a:pt x="1879" y="79"/>
                </a:cubicBezTo>
                <a:cubicBezTo>
                  <a:pt x="1877" y="80"/>
                  <a:pt x="1876" y="79"/>
                  <a:pt x="1875" y="80"/>
                </a:cubicBezTo>
                <a:cubicBezTo>
                  <a:pt x="1874" y="81"/>
                  <a:pt x="1873" y="81"/>
                  <a:pt x="1873" y="82"/>
                </a:cubicBezTo>
                <a:cubicBezTo>
                  <a:pt x="1874" y="82"/>
                  <a:pt x="1875" y="83"/>
                  <a:pt x="1876" y="83"/>
                </a:cubicBezTo>
                <a:cubicBezTo>
                  <a:pt x="1876" y="84"/>
                  <a:pt x="1879" y="84"/>
                  <a:pt x="1880" y="86"/>
                </a:cubicBezTo>
                <a:cubicBezTo>
                  <a:pt x="1881" y="89"/>
                  <a:pt x="1885" y="91"/>
                  <a:pt x="1888" y="92"/>
                </a:cubicBezTo>
                <a:cubicBezTo>
                  <a:pt x="1891" y="93"/>
                  <a:pt x="1896" y="92"/>
                  <a:pt x="1897" y="93"/>
                </a:cubicBezTo>
                <a:cubicBezTo>
                  <a:pt x="1898" y="94"/>
                  <a:pt x="1899" y="94"/>
                  <a:pt x="1898" y="95"/>
                </a:cubicBezTo>
                <a:cubicBezTo>
                  <a:pt x="1897" y="95"/>
                  <a:pt x="1895" y="96"/>
                  <a:pt x="1892" y="96"/>
                </a:cubicBezTo>
                <a:cubicBezTo>
                  <a:pt x="1889" y="96"/>
                  <a:pt x="1885" y="94"/>
                  <a:pt x="1883" y="93"/>
                </a:cubicBezTo>
                <a:cubicBezTo>
                  <a:pt x="1880" y="92"/>
                  <a:pt x="1880" y="91"/>
                  <a:pt x="1877" y="90"/>
                </a:cubicBezTo>
                <a:cubicBezTo>
                  <a:pt x="1874" y="89"/>
                  <a:pt x="1866" y="89"/>
                  <a:pt x="1863" y="89"/>
                </a:cubicBezTo>
                <a:cubicBezTo>
                  <a:pt x="1862" y="90"/>
                  <a:pt x="1858" y="90"/>
                  <a:pt x="1860" y="91"/>
                </a:cubicBezTo>
                <a:cubicBezTo>
                  <a:pt x="1861" y="92"/>
                  <a:pt x="1866" y="92"/>
                  <a:pt x="1868" y="93"/>
                </a:cubicBezTo>
                <a:cubicBezTo>
                  <a:pt x="1868" y="93"/>
                  <a:pt x="1868" y="93"/>
                  <a:pt x="1868" y="93"/>
                </a:cubicBezTo>
                <a:cubicBezTo>
                  <a:pt x="1868" y="93"/>
                  <a:pt x="1868" y="93"/>
                  <a:pt x="1867" y="94"/>
                </a:cubicBezTo>
                <a:cubicBezTo>
                  <a:pt x="1864" y="98"/>
                  <a:pt x="1862" y="94"/>
                  <a:pt x="1858" y="93"/>
                </a:cubicBezTo>
                <a:cubicBezTo>
                  <a:pt x="1857" y="93"/>
                  <a:pt x="1852" y="93"/>
                  <a:pt x="1853" y="96"/>
                </a:cubicBezTo>
                <a:cubicBezTo>
                  <a:pt x="1853" y="99"/>
                  <a:pt x="1863" y="99"/>
                  <a:pt x="1865" y="99"/>
                </a:cubicBezTo>
                <a:cubicBezTo>
                  <a:pt x="1866" y="99"/>
                  <a:pt x="1868" y="100"/>
                  <a:pt x="1869" y="100"/>
                </a:cubicBezTo>
                <a:cubicBezTo>
                  <a:pt x="1871" y="100"/>
                  <a:pt x="1871" y="100"/>
                  <a:pt x="1873" y="101"/>
                </a:cubicBezTo>
                <a:cubicBezTo>
                  <a:pt x="1874" y="101"/>
                  <a:pt x="1878" y="102"/>
                  <a:pt x="1876" y="102"/>
                </a:cubicBezTo>
                <a:cubicBezTo>
                  <a:pt x="1874" y="102"/>
                  <a:pt x="1874" y="103"/>
                  <a:pt x="1870" y="103"/>
                </a:cubicBezTo>
                <a:cubicBezTo>
                  <a:pt x="1870" y="102"/>
                  <a:pt x="1870" y="102"/>
                  <a:pt x="1870" y="102"/>
                </a:cubicBezTo>
                <a:cubicBezTo>
                  <a:pt x="1869" y="102"/>
                  <a:pt x="1867" y="100"/>
                  <a:pt x="1861" y="101"/>
                </a:cubicBezTo>
                <a:cubicBezTo>
                  <a:pt x="1860" y="101"/>
                  <a:pt x="1860" y="101"/>
                  <a:pt x="1859" y="101"/>
                </a:cubicBezTo>
                <a:cubicBezTo>
                  <a:pt x="1857" y="101"/>
                  <a:pt x="1855" y="101"/>
                  <a:pt x="1853" y="101"/>
                </a:cubicBezTo>
                <a:cubicBezTo>
                  <a:pt x="1852" y="100"/>
                  <a:pt x="1851" y="100"/>
                  <a:pt x="1850" y="99"/>
                </a:cubicBezTo>
                <a:cubicBezTo>
                  <a:pt x="1851" y="99"/>
                  <a:pt x="1849" y="97"/>
                  <a:pt x="1849" y="97"/>
                </a:cubicBezTo>
                <a:cubicBezTo>
                  <a:pt x="1847" y="92"/>
                  <a:pt x="1849" y="88"/>
                  <a:pt x="1844" y="85"/>
                </a:cubicBezTo>
                <a:cubicBezTo>
                  <a:pt x="1842" y="85"/>
                  <a:pt x="1841" y="84"/>
                  <a:pt x="1840" y="85"/>
                </a:cubicBezTo>
                <a:cubicBezTo>
                  <a:pt x="1840" y="87"/>
                  <a:pt x="1842" y="89"/>
                  <a:pt x="1842" y="90"/>
                </a:cubicBezTo>
                <a:cubicBezTo>
                  <a:pt x="1842" y="93"/>
                  <a:pt x="1836" y="95"/>
                  <a:pt x="1835" y="95"/>
                </a:cubicBezTo>
                <a:cubicBezTo>
                  <a:pt x="1834" y="96"/>
                  <a:pt x="1834" y="97"/>
                  <a:pt x="1836" y="98"/>
                </a:cubicBezTo>
                <a:cubicBezTo>
                  <a:pt x="1836" y="98"/>
                  <a:pt x="1836" y="98"/>
                  <a:pt x="1836" y="98"/>
                </a:cubicBezTo>
                <a:cubicBezTo>
                  <a:pt x="1837" y="99"/>
                  <a:pt x="1841" y="100"/>
                  <a:pt x="1842" y="101"/>
                </a:cubicBezTo>
                <a:cubicBezTo>
                  <a:pt x="1842" y="102"/>
                  <a:pt x="1842" y="102"/>
                  <a:pt x="1843" y="103"/>
                </a:cubicBezTo>
                <a:cubicBezTo>
                  <a:pt x="1843" y="103"/>
                  <a:pt x="1844" y="104"/>
                  <a:pt x="1845" y="104"/>
                </a:cubicBezTo>
                <a:cubicBezTo>
                  <a:pt x="1845" y="104"/>
                  <a:pt x="1845" y="104"/>
                  <a:pt x="1846" y="104"/>
                </a:cubicBezTo>
                <a:cubicBezTo>
                  <a:pt x="1847" y="106"/>
                  <a:pt x="1847" y="107"/>
                  <a:pt x="1847" y="107"/>
                </a:cubicBezTo>
                <a:cubicBezTo>
                  <a:pt x="1847" y="111"/>
                  <a:pt x="1847" y="111"/>
                  <a:pt x="1847" y="111"/>
                </a:cubicBezTo>
                <a:cubicBezTo>
                  <a:pt x="1847" y="115"/>
                  <a:pt x="1848" y="114"/>
                  <a:pt x="1850" y="115"/>
                </a:cubicBezTo>
                <a:cubicBezTo>
                  <a:pt x="1851" y="115"/>
                  <a:pt x="1851" y="115"/>
                  <a:pt x="1851" y="115"/>
                </a:cubicBezTo>
                <a:cubicBezTo>
                  <a:pt x="1851" y="116"/>
                  <a:pt x="1852" y="116"/>
                  <a:pt x="1852" y="118"/>
                </a:cubicBezTo>
                <a:cubicBezTo>
                  <a:pt x="1852" y="118"/>
                  <a:pt x="1851" y="118"/>
                  <a:pt x="1852" y="118"/>
                </a:cubicBezTo>
                <a:cubicBezTo>
                  <a:pt x="1853" y="119"/>
                  <a:pt x="1852" y="119"/>
                  <a:pt x="1852" y="119"/>
                </a:cubicBezTo>
                <a:cubicBezTo>
                  <a:pt x="1852" y="120"/>
                  <a:pt x="1859" y="120"/>
                  <a:pt x="1861" y="119"/>
                </a:cubicBezTo>
                <a:cubicBezTo>
                  <a:pt x="1861" y="119"/>
                  <a:pt x="1863" y="119"/>
                  <a:pt x="1864" y="118"/>
                </a:cubicBezTo>
                <a:cubicBezTo>
                  <a:pt x="1864" y="118"/>
                  <a:pt x="1866" y="118"/>
                  <a:pt x="1866" y="118"/>
                </a:cubicBezTo>
                <a:cubicBezTo>
                  <a:pt x="1867" y="118"/>
                  <a:pt x="1867" y="119"/>
                  <a:pt x="1870" y="119"/>
                </a:cubicBezTo>
                <a:cubicBezTo>
                  <a:pt x="1870" y="120"/>
                  <a:pt x="1871" y="120"/>
                  <a:pt x="1872" y="120"/>
                </a:cubicBezTo>
                <a:cubicBezTo>
                  <a:pt x="1874" y="120"/>
                  <a:pt x="1876" y="120"/>
                  <a:pt x="1878" y="120"/>
                </a:cubicBezTo>
                <a:cubicBezTo>
                  <a:pt x="1879" y="122"/>
                  <a:pt x="1878" y="121"/>
                  <a:pt x="1880" y="122"/>
                </a:cubicBezTo>
                <a:cubicBezTo>
                  <a:pt x="1884" y="124"/>
                  <a:pt x="1883" y="123"/>
                  <a:pt x="1884" y="125"/>
                </a:cubicBezTo>
                <a:cubicBezTo>
                  <a:pt x="1885" y="126"/>
                  <a:pt x="1886" y="126"/>
                  <a:pt x="1886" y="127"/>
                </a:cubicBezTo>
                <a:cubicBezTo>
                  <a:pt x="1886" y="128"/>
                  <a:pt x="1885" y="130"/>
                  <a:pt x="1885" y="131"/>
                </a:cubicBezTo>
                <a:cubicBezTo>
                  <a:pt x="1886" y="133"/>
                  <a:pt x="1890" y="133"/>
                  <a:pt x="1892" y="133"/>
                </a:cubicBezTo>
                <a:cubicBezTo>
                  <a:pt x="1893" y="133"/>
                  <a:pt x="1897" y="133"/>
                  <a:pt x="1895" y="133"/>
                </a:cubicBezTo>
                <a:cubicBezTo>
                  <a:pt x="1892" y="134"/>
                  <a:pt x="1884" y="135"/>
                  <a:pt x="1882" y="133"/>
                </a:cubicBezTo>
                <a:cubicBezTo>
                  <a:pt x="1881" y="131"/>
                  <a:pt x="1883" y="129"/>
                  <a:pt x="1882" y="128"/>
                </a:cubicBezTo>
                <a:cubicBezTo>
                  <a:pt x="1881" y="126"/>
                  <a:pt x="1875" y="123"/>
                  <a:pt x="1873" y="122"/>
                </a:cubicBezTo>
                <a:cubicBezTo>
                  <a:pt x="1873" y="122"/>
                  <a:pt x="1872" y="121"/>
                  <a:pt x="1870" y="121"/>
                </a:cubicBezTo>
                <a:cubicBezTo>
                  <a:pt x="1869" y="121"/>
                  <a:pt x="1864" y="122"/>
                  <a:pt x="1864" y="123"/>
                </a:cubicBezTo>
                <a:cubicBezTo>
                  <a:pt x="1863" y="123"/>
                  <a:pt x="1861" y="123"/>
                  <a:pt x="1861" y="124"/>
                </a:cubicBezTo>
                <a:cubicBezTo>
                  <a:pt x="1860" y="125"/>
                  <a:pt x="1861" y="126"/>
                  <a:pt x="1862" y="127"/>
                </a:cubicBezTo>
                <a:cubicBezTo>
                  <a:pt x="1864" y="129"/>
                  <a:pt x="1868" y="129"/>
                  <a:pt x="1867" y="132"/>
                </a:cubicBezTo>
                <a:cubicBezTo>
                  <a:pt x="1866" y="134"/>
                  <a:pt x="1863" y="136"/>
                  <a:pt x="1863" y="138"/>
                </a:cubicBezTo>
                <a:cubicBezTo>
                  <a:pt x="1862" y="139"/>
                  <a:pt x="1863" y="140"/>
                  <a:pt x="1862" y="141"/>
                </a:cubicBezTo>
                <a:cubicBezTo>
                  <a:pt x="1861" y="142"/>
                  <a:pt x="1860" y="142"/>
                  <a:pt x="1858" y="142"/>
                </a:cubicBezTo>
                <a:cubicBezTo>
                  <a:pt x="1857" y="142"/>
                  <a:pt x="1855" y="143"/>
                  <a:pt x="1854" y="144"/>
                </a:cubicBezTo>
                <a:cubicBezTo>
                  <a:pt x="1853" y="145"/>
                  <a:pt x="1856" y="144"/>
                  <a:pt x="1857" y="145"/>
                </a:cubicBezTo>
                <a:cubicBezTo>
                  <a:pt x="1857" y="146"/>
                  <a:pt x="1855" y="146"/>
                  <a:pt x="1854" y="146"/>
                </a:cubicBezTo>
                <a:cubicBezTo>
                  <a:pt x="1850" y="148"/>
                  <a:pt x="1852" y="146"/>
                  <a:pt x="1851" y="146"/>
                </a:cubicBezTo>
                <a:cubicBezTo>
                  <a:pt x="1850" y="146"/>
                  <a:pt x="1848" y="145"/>
                  <a:pt x="1847" y="145"/>
                </a:cubicBezTo>
                <a:cubicBezTo>
                  <a:pt x="1845" y="146"/>
                  <a:pt x="1840" y="146"/>
                  <a:pt x="1837" y="146"/>
                </a:cubicBezTo>
                <a:cubicBezTo>
                  <a:pt x="1839" y="141"/>
                  <a:pt x="1837" y="146"/>
                  <a:pt x="1833" y="144"/>
                </a:cubicBezTo>
                <a:cubicBezTo>
                  <a:pt x="1830" y="142"/>
                  <a:pt x="1833" y="144"/>
                  <a:pt x="1832" y="143"/>
                </a:cubicBezTo>
                <a:cubicBezTo>
                  <a:pt x="1831" y="143"/>
                  <a:pt x="1830" y="142"/>
                  <a:pt x="1829" y="142"/>
                </a:cubicBezTo>
                <a:cubicBezTo>
                  <a:pt x="1830" y="141"/>
                  <a:pt x="1833" y="141"/>
                  <a:pt x="1833" y="141"/>
                </a:cubicBezTo>
                <a:cubicBezTo>
                  <a:pt x="1834" y="141"/>
                  <a:pt x="1837" y="141"/>
                  <a:pt x="1837" y="141"/>
                </a:cubicBezTo>
                <a:cubicBezTo>
                  <a:pt x="1840" y="143"/>
                  <a:pt x="1841" y="141"/>
                  <a:pt x="1843" y="141"/>
                </a:cubicBezTo>
                <a:cubicBezTo>
                  <a:pt x="1847" y="140"/>
                  <a:pt x="1847" y="140"/>
                  <a:pt x="1847" y="140"/>
                </a:cubicBezTo>
                <a:cubicBezTo>
                  <a:pt x="1847" y="140"/>
                  <a:pt x="1848" y="140"/>
                  <a:pt x="1849" y="140"/>
                </a:cubicBezTo>
                <a:cubicBezTo>
                  <a:pt x="1850" y="140"/>
                  <a:pt x="1849" y="140"/>
                  <a:pt x="1849" y="140"/>
                </a:cubicBezTo>
                <a:cubicBezTo>
                  <a:pt x="1851" y="137"/>
                  <a:pt x="1851" y="137"/>
                  <a:pt x="1851" y="137"/>
                </a:cubicBezTo>
                <a:cubicBezTo>
                  <a:pt x="1852" y="137"/>
                  <a:pt x="1852" y="135"/>
                  <a:pt x="1852" y="134"/>
                </a:cubicBezTo>
                <a:cubicBezTo>
                  <a:pt x="1854" y="132"/>
                  <a:pt x="1854" y="132"/>
                  <a:pt x="1854" y="132"/>
                </a:cubicBezTo>
                <a:cubicBezTo>
                  <a:pt x="1855" y="132"/>
                  <a:pt x="1853" y="131"/>
                  <a:pt x="1853" y="130"/>
                </a:cubicBezTo>
                <a:cubicBezTo>
                  <a:pt x="1853" y="130"/>
                  <a:pt x="1851" y="129"/>
                  <a:pt x="1852" y="129"/>
                </a:cubicBezTo>
                <a:cubicBezTo>
                  <a:pt x="1853" y="128"/>
                  <a:pt x="1855" y="126"/>
                  <a:pt x="1854" y="126"/>
                </a:cubicBezTo>
                <a:cubicBezTo>
                  <a:pt x="1845" y="122"/>
                  <a:pt x="1845" y="122"/>
                  <a:pt x="1845" y="122"/>
                </a:cubicBezTo>
                <a:cubicBezTo>
                  <a:pt x="1843" y="120"/>
                  <a:pt x="1844" y="121"/>
                  <a:pt x="1844" y="120"/>
                </a:cubicBezTo>
                <a:cubicBezTo>
                  <a:pt x="1844" y="120"/>
                  <a:pt x="1843" y="118"/>
                  <a:pt x="1842" y="117"/>
                </a:cubicBezTo>
                <a:cubicBezTo>
                  <a:pt x="1842" y="117"/>
                  <a:pt x="1842" y="115"/>
                  <a:pt x="1842" y="115"/>
                </a:cubicBezTo>
                <a:cubicBezTo>
                  <a:pt x="1842" y="114"/>
                  <a:pt x="1839" y="112"/>
                  <a:pt x="1838" y="111"/>
                </a:cubicBezTo>
                <a:cubicBezTo>
                  <a:pt x="1838" y="110"/>
                  <a:pt x="1839" y="109"/>
                  <a:pt x="1838" y="108"/>
                </a:cubicBezTo>
                <a:cubicBezTo>
                  <a:pt x="1839" y="107"/>
                  <a:pt x="1838" y="108"/>
                  <a:pt x="1837" y="106"/>
                </a:cubicBezTo>
                <a:cubicBezTo>
                  <a:pt x="1836" y="106"/>
                  <a:pt x="1837" y="103"/>
                  <a:pt x="1836" y="103"/>
                </a:cubicBezTo>
                <a:cubicBezTo>
                  <a:pt x="1836" y="103"/>
                  <a:pt x="1835" y="103"/>
                  <a:pt x="1835" y="103"/>
                </a:cubicBezTo>
                <a:cubicBezTo>
                  <a:pt x="1835" y="102"/>
                  <a:pt x="1834" y="101"/>
                  <a:pt x="1834" y="101"/>
                </a:cubicBezTo>
                <a:cubicBezTo>
                  <a:pt x="1834" y="101"/>
                  <a:pt x="1833" y="100"/>
                  <a:pt x="1831" y="100"/>
                </a:cubicBezTo>
                <a:cubicBezTo>
                  <a:pt x="1830" y="100"/>
                  <a:pt x="1827" y="98"/>
                  <a:pt x="1827" y="98"/>
                </a:cubicBezTo>
                <a:cubicBezTo>
                  <a:pt x="1828" y="97"/>
                  <a:pt x="1830" y="95"/>
                  <a:pt x="1830" y="94"/>
                </a:cubicBezTo>
                <a:cubicBezTo>
                  <a:pt x="1831" y="93"/>
                  <a:pt x="1828" y="91"/>
                  <a:pt x="1828" y="90"/>
                </a:cubicBezTo>
                <a:cubicBezTo>
                  <a:pt x="1828" y="89"/>
                  <a:pt x="1826" y="86"/>
                  <a:pt x="1823" y="86"/>
                </a:cubicBezTo>
                <a:cubicBezTo>
                  <a:pt x="1820" y="86"/>
                  <a:pt x="1807" y="85"/>
                  <a:pt x="1804" y="85"/>
                </a:cubicBezTo>
                <a:cubicBezTo>
                  <a:pt x="1801" y="85"/>
                  <a:pt x="1803" y="85"/>
                  <a:pt x="1802" y="85"/>
                </a:cubicBezTo>
                <a:cubicBezTo>
                  <a:pt x="1800" y="85"/>
                  <a:pt x="1803" y="95"/>
                  <a:pt x="1801" y="96"/>
                </a:cubicBezTo>
                <a:cubicBezTo>
                  <a:pt x="1800" y="97"/>
                  <a:pt x="1799" y="99"/>
                  <a:pt x="1798" y="99"/>
                </a:cubicBezTo>
                <a:cubicBezTo>
                  <a:pt x="1797" y="99"/>
                  <a:pt x="1792" y="99"/>
                  <a:pt x="1792" y="100"/>
                </a:cubicBezTo>
                <a:cubicBezTo>
                  <a:pt x="1792" y="100"/>
                  <a:pt x="1791" y="102"/>
                  <a:pt x="1792" y="103"/>
                </a:cubicBezTo>
                <a:cubicBezTo>
                  <a:pt x="1793" y="104"/>
                  <a:pt x="1795" y="104"/>
                  <a:pt x="1796" y="104"/>
                </a:cubicBezTo>
                <a:cubicBezTo>
                  <a:pt x="1796" y="104"/>
                  <a:pt x="1800" y="106"/>
                  <a:pt x="1800" y="106"/>
                </a:cubicBezTo>
                <a:cubicBezTo>
                  <a:pt x="1800" y="107"/>
                  <a:pt x="1799" y="109"/>
                  <a:pt x="1800" y="110"/>
                </a:cubicBezTo>
                <a:cubicBezTo>
                  <a:pt x="1805" y="111"/>
                  <a:pt x="1804" y="111"/>
                  <a:pt x="1799" y="113"/>
                </a:cubicBezTo>
                <a:cubicBezTo>
                  <a:pt x="1798" y="113"/>
                  <a:pt x="1800" y="116"/>
                  <a:pt x="1801" y="116"/>
                </a:cubicBezTo>
                <a:cubicBezTo>
                  <a:pt x="1804" y="115"/>
                  <a:pt x="1804" y="115"/>
                  <a:pt x="1804" y="115"/>
                </a:cubicBezTo>
                <a:cubicBezTo>
                  <a:pt x="1805" y="116"/>
                  <a:pt x="1806" y="116"/>
                  <a:pt x="1808" y="116"/>
                </a:cubicBezTo>
                <a:cubicBezTo>
                  <a:pt x="1808" y="116"/>
                  <a:pt x="1808" y="116"/>
                  <a:pt x="1809" y="116"/>
                </a:cubicBezTo>
                <a:cubicBezTo>
                  <a:pt x="1809" y="116"/>
                  <a:pt x="1810" y="117"/>
                  <a:pt x="1810" y="117"/>
                </a:cubicBezTo>
                <a:cubicBezTo>
                  <a:pt x="1810" y="117"/>
                  <a:pt x="1810" y="119"/>
                  <a:pt x="1811" y="119"/>
                </a:cubicBezTo>
                <a:cubicBezTo>
                  <a:pt x="1811" y="119"/>
                  <a:pt x="1814" y="120"/>
                  <a:pt x="1815" y="120"/>
                </a:cubicBezTo>
                <a:cubicBezTo>
                  <a:pt x="1816" y="120"/>
                  <a:pt x="1818" y="122"/>
                  <a:pt x="1818" y="122"/>
                </a:cubicBezTo>
                <a:cubicBezTo>
                  <a:pt x="1819" y="122"/>
                  <a:pt x="1820" y="120"/>
                  <a:pt x="1820" y="122"/>
                </a:cubicBezTo>
                <a:cubicBezTo>
                  <a:pt x="1820" y="123"/>
                  <a:pt x="1818" y="126"/>
                  <a:pt x="1818" y="126"/>
                </a:cubicBezTo>
                <a:cubicBezTo>
                  <a:pt x="1818" y="127"/>
                  <a:pt x="1817" y="127"/>
                  <a:pt x="1816" y="127"/>
                </a:cubicBezTo>
                <a:cubicBezTo>
                  <a:pt x="1816" y="125"/>
                  <a:pt x="1816" y="126"/>
                  <a:pt x="1814" y="126"/>
                </a:cubicBezTo>
                <a:cubicBezTo>
                  <a:pt x="1813" y="126"/>
                  <a:pt x="1811" y="125"/>
                  <a:pt x="1809" y="123"/>
                </a:cubicBezTo>
                <a:cubicBezTo>
                  <a:pt x="1808" y="122"/>
                  <a:pt x="1808" y="122"/>
                  <a:pt x="1807" y="122"/>
                </a:cubicBezTo>
                <a:cubicBezTo>
                  <a:pt x="1806" y="121"/>
                  <a:pt x="1805" y="122"/>
                  <a:pt x="1803" y="122"/>
                </a:cubicBezTo>
                <a:cubicBezTo>
                  <a:pt x="1800" y="122"/>
                  <a:pt x="1801" y="122"/>
                  <a:pt x="1801" y="122"/>
                </a:cubicBezTo>
                <a:cubicBezTo>
                  <a:pt x="1801" y="122"/>
                  <a:pt x="1801" y="122"/>
                  <a:pt x="1801" y="122"/>
                </a:cubicBezTo>
                <a:cubicBezTo>
                  <a:pt x="1797" y="119"/>
                  <a:pt x="1795" y="119"/>
                  <a:pt x="1790" y="117"/>
                </a:cubicBezTo>
                <a:cubicBezTo>
                  <a:pt x="1786" y="116"/>
                  <a:pt x="1776" y="114"/>
                  <a:pt x="1774" y="114"/>
                </a:cubicBezTo>
                <a:cubicBezTo>
                  <a:pt x="1771" y="113"/>
                  <a:pt x="1766" y="114"/>
                  <a:pt x="1765" y="114"/>
                </a:cubicBezTo>
                <a:cubicBezTo>
                  <a:pt x="1764" y="114"/>
                  <a:pt x="1757" y="113"/>
                  <a:pt x="1757" y="113"/>
                </a:cubicBezTo>
                <a:cubicBezTo>
                  <a:pt x="1757" y="113"/>
                  <a:pt x="1755" y="115"/>
                  <a:pt x="1755" y="115"/>
                </a:cubicBezTo>
                <a:cubicBezTo>
                  <a:pt x="1754" y="116"/>
                  <a:pt x="1751" y="115"/>
                  <a:pt x="1753" y="116"/>
                </a:cubicBezTo>
                <a:cubicBezTo>
                  <a:pt x="1755" y="118"/>
                  <a:pt x="1762" y="118"/>
                  <a:pt x="1761" y="122"/>
                </a:cubicBezTo>
                <a:cubicBezTo>
                  <a:pt x="1760" y="122"/>
                  <a:pt x="1760" y="123"/>
                  <a:pt x="1757" y="123"/>
                </a:cubicBezTo>
                <a:cubicBezTo>
                  <a:pt x="1756" y="123"/>
                  <a:pt x="1756" y="124"/>
                  <a:pt x="1756" y="124"/>
                </a:cubicBezTo>
                <a:cubicBezTo>
                  <a:pt x="1755" y="124"/>
                  <a:pt x="1757" y="125"/>
                  <a:pt x="1757" y="125"/>
                </a:cubicBezTo>
                <a:cubicBezTo>
                  <a:pt x="1757" y="125"/>
                  <a:pt x="1757" y="125"/>
                  <a:pt x="1757" y="126"/>
                </a:cubicBezTo>
                <a:cubicBezTo>
                  <a:pt x="1756" y="126"/>
                  <a:pt x="1754" y="126"/>
                  <a:pt x="1753" y="126"/>
                </a:cubicBezTo>
                <a:cubicBezTo>
                  <a:pt x="1745" y="128"/>
                  <a:pt x="1757" y="122"/>
                  <a:pt x="1748" y="121"/>
                </a:cubicBezTo>
                <a:cubicBezTo>
                  <a:pt x="1740" y="123"/>
                  <a:pt x="1740" y="123"/>
                  <a:pt x="1740" y="123"/>
                </a:cubicBezTo>
                <a:cubicBezTo>
                  <a:pt x="1738" y="124"/>
                  <a:pt x="1740" y="126"/>
                  <a:pt x="1730" y="124"/>
                </a:cubicBezTo>
                <a:cubicBezTo>
                  <a:pt x="1728" y="124"/>
                  <a:pt x="1725" y="124"/>
                  <a:pt x="1722" y="124"/>
                </a:cubicBezTo>
                <a:cubicBezTo>
                  <a:pt x="1721" y="125"/>
                  <a:pt x="1722" y="127"/>
                  <a:pt x="1721" y="127"/>
                </a:cubicBezTo>
                <a:cubicBezTo>
                  <a:pt x="1719" y="128"/>
                  <a:pt x="1718" y="127"/>
                  <a:pt x="1717" y="127"/>
                </a:cubicBezTo>
                <a:cubicBezTo>
                  <a:pt x="1714" y="127"/>
                  <a:pt x="1711" y="129"/>
                  <a:pt x="1709" y="127"/>
                </a:cubicBezTo>
                <a:cubicBezTo>
                  <a:pt x="1708" y="126"/>
                  <a:pt x="1713" y="126"/>
                  <a:pt x="1713" y="124"/>
                </a:cubicBezTo>
                <a:cubicBezTo>
                  <a:pt x="1713" y="123"/>
                  <a:pt x="1713" y="124"/>
                  <a:pt x="1712" y="123"/>
                </a:cubicBezTo>
                <a:cubicBezTo>
                  <a:pt x="1712" y="122"/>
                  <a:pt x="1716" y="120"/>
                  <a:pt x="1715" y="120"/>
                </a:cubicBezTo>
                <a:cubicBezTo>
                  <a:pt x="1694" y="121"/>
                  <a:pt x="1702" y="123"/>
                  <a:pt x="1701" y="125"/>
                </a:cubicBezTo>
                <a:cubicBezTo>
                  <a:pt x="1700" y="126"/>
                  <a:pt x="1698" y="126"/>
                  <a:pt x="1697" y="126"/>
                </a:cubicBezTo>
                <a:cubicBezTo>
                  <a:pt x="1695" y="127"/>
                  <a:pt x="1693" y="126"/>
                  <a:pt x="1691" y="127"/>
                </a:cubicBezTo>
                <a:cubicBezTo>
                  <a:pt x="1685" y="129"/>
                  <a:pt x="1685" y="129"/>
                  <a:pt x="1685" y="129"/>
                </a:cubicBezTo>
                <a:cubicBezTo>
                  <a:pt x="1677" y="129"/>
                  <a:pt x="1677" y="129"/>
                  <a:pt x="1677" y="129"/>
                </a:cubicBezTo>
                <a:cubicBezTo>
                  <a:pt x="1677" y="130"/>
                  <a:pt x="1677" y="130"/>
                  <a:pt x="1677" y="130"/>
                </a:cubicBezTo>
                <a:cubicBezTo>
                  <a:pt x="1673" y="133"/>
                  <a:pt x="1673" y="133"/>
                  <a:pt x="1673" y="133"/>
                </a:cubicBezTo>
                <a:cubicBezTo>
                  <a:pt x="1671" y="137"/>
                  <a:pt x="1671" y="137"/>
                  <a:pt x="1671" y="137"/>
                </a:cubicBezTo>
                <a:cubicBezTo>
                  <a:pt x="1673" y="137"/>
                  <a:pt x="1673" y="137"/>
                  <a:pt x="1673" y="137"/>
                </a:cubicBezTo>
                <a:cubicBezTo>
                  <a:pt x="1672" y="139"/>
                  <a:pt x="1672" y="139"/>
                  <a:pt x="1672" y="139"/>
                </a:cubicBezTo>
                <a:cubicBezTo>
                  <a:pt x="1661" y="140"/>
                  <a:pt x="1661" y="140"/>
                  <a:pt x="1661" y="140"/>
                </a:cubicBezTo>
                <a:cubicBezTo>
                  <a:pt x="1660" y="139"/>
                  <a:pt x="1658" y="138"/>
                  <a:pt x="1657" y="137"/>
                </a:cubicBezTo>
                <a:cubicBezTo>
                  <a:pt x="1656" y="136"/>
                  <a:pt x="1653" y="135"/>
                  <a:pt x="1653" y="133"/>
                </a:cubicBezTo>
                <a:cubicBezTo>
                  <a:pt x="1654" y="132"/>
                  <a:pt x="1657" y="132"/>
                  <a:pt x="1659" y="132"/>
                </a:cubicBezTo>
                <a:cubicBezTo>
                  <a:pt x="1661" y="131"/>
                  <a:pt x="1665" y="133"/>
                  <a:pt x="1665" y="131"/>
                </a:cubicBezTo>
                <a:cubicBezTo>
                  <a:pt x="1664" y="128"/>
                  <a:pt x="1660" y="128"/>
                  <a:pt x="1658" y="126"/>
                </a:cubicBezTo>
                <a:cubicBezTo>
                  <a:pt x="1653" y="123"/>
                  <a:pt x="1647" y="125"/>
                  <a:pt x="1640" y="124"/>
                </a:cubicBezTo>
                <a:cubicBezTo>
                  <a:pt x="1639" y="124"/>
                  <a:pt x="1637" y="122"/>
                  <a:pt x="1636" y="122"/>
                </a:cubicBezTo>
                <a:cubicBezTo>
                  <a:pt x="1635" y="122"/>
                  <a:pt x="1636" y="123"/>
                  <a:pt x="1636" y="124"/>
                </a:cubicBezTo>
                <a:cubicBezTo>
                  <a:pt x="1636" y="124"/>
                  <a:pt x="1640" y="127"/>
                  <a:pt x="1641" y="127"/>
                </a:cubicBezTo>
                <a:cubicBezTo>
                  <a:pt x="1642" y="128"/>
                  <a:pt x="1645" y="130"/>
                  <a:pt x="1645" y="130"/>
                </a:cubicBezTo>
                <a:cubicBezTo>
                  <a:pt x="1645" y="132"/>
                  <a:pt x="1645" y="133"/>
                  <a:pt x="1645" y="135"/>
                </a:cubicBezTo>
                <a:cubicBezTo>
                  <a:pt x="1645" y="136"/>
                  <a:pt x="1643" y="137"/>
                  <a:pt x="1644" y="138"/>
                </a:cubicBezTo>
                <a:cubicBezTo>
                  <a:pt x="1646" y="139"/>
                  <a:pt x="1650" y="136"/>
                  <a:pt x="1650" y="138"/>
                </a:cubicBezTo>
                <a:cubicBezTo>
                  <a:pt x="1651" y="142"/>
                  <a:pt x="1651" y="142"/>
                  <a:pt x="1651" y="142"/>
                </a:cubicBezTo>
                <a:cubicBezTo>
                  <a:pt x="1649" y="146"/>
                  <a:pt x="1649" y="146"/>
                  <a:pt x="1649" y="146"/>
                </a:cubicBezTo>
                <a:cubicBezTo>
                  <a:pt x="1650" y="148"/>
                  <a:pt x="1650" y="148"/>
                  <a:pt x="1650" y="148"/>
                </a:cubicBezTo>
                <a:cubicBezTo>
                  <a:pt x="1644" y="146"/>
                  <a:pt x="1644" y="146"/>
                  <a:pt x="1644" y="146"/>
                </a:cubicBezTo>
                <a:cubicBezTo>
                  <a:pt x="1640" y="145"/>
                  <a:pt x="1640" y="145"/>
                  <a:pt x="1640" y="145"/>
                </a:cubicBezTo>
                <a:cubicBezTo>
                  <a:pt x="1636" y="145"/>
                  <a:pt x="1638" y="146"/>
                  <a:pt x="1634" y="143"/>
                </a:cubicBezTo>
                <a:cubicBezTo>
                  <a:pt x="1632" y="147"/>
                  <a:pt x="1633" y="146"/>
                  <a:pt x="1628" y="149"/>
                </a:cubicBezTo>
                <a:cubicBezTo>
                  <a:pt x="1628" y="149"/>
                  <a:pt x="1626" y="149"/>
                  <a:pt x="1625" y="149"/>
                </a:cubicBezTo>
                <a:cubicBezTo>
                  <a:pt x="1625" y="150"/>
                  <a:pt x="1624" y="151"/>
                  <a:pt x="1623" y="151"/>
                </a:cubicBezTo>
                <a:cubicBezTo>
                  <a:pt x="1623" y="151"/>
                  <a:pt x="1620" y="152"/>
                  <a:pt x="1620" y="152"/>
                </a:cubicBezTo>
                <a:cubicBezTo>
                  <a:pt x="1620" y="155"/>
                  <a:pt x="1620" y="155"/>
                  <a:pt x="1620" y="155"/>
                </a:cubicBezTo>
                <a:cubicBezTo>
                  <a:pt x="1622" y="157"/>
                  <a:pt x="1622" y="157"/>
                  <a:pt x="1622" y="157"/>
                </a:cubicBezTo>
                <a:cubicBezTo>
                  <a:pt x="1625" y="161"/>
                  <a:pt x="1623" y="159"/>
                  <a:pt x="1627" y="162"/>
                </a:cubicBezTo>
                <a:cubicBezTo>
                  <a:pt x="1626" y="163"/>
                  <a:pt x="1626" y="162"/>
                  <a:pt x="1624" y="161"/>
                </a:cubicBezTo>
                <a:cubicBezTo>
                  <a:pt x="1622" y="161"/>
                  <a:pt x="1623" y="161"/>
                  <a:pt x="1622" y="161"/>
                </a:cubicBezTo>
                <a:cubicBezTo>
                  <a:pt x="1617" y="162"/>
                  <a:pt x="1617" y="162"/>
                  <a:pt x="1617" y="162"/>
                </a:cubicBezTo>
                <a:cubicBezTo>
                  <a:pt x="1611" y="160"/>
                  <a:pt x="1611" y="160"/>
                  <a:pt x="1611" y="160"/>
                </a:cubicBezTo>
                <a:cubicBezTo>
                  <a:pt x="1611" y="159"/>
                  <a:pt x="1610" y="159"/>
                  <a:pt x="1610" y="159"/>
                </a:cubicBezTo>
                <a:cubicBezTo>
                  <a:pt x="1605" y="158"/>
                  <a:pt x="1605" y="158"/>
                  <a:pt x="1605" y="158"/>
                </a:cubicBezTo>
                <a:cubicBezTo>
                  <a:pt x="1605" y="157"/>
                  <a:pt x="1604" y="156"/>
                  <a:pt x="1604" y="156"/>
                </a:cubicBezTo>
                <a:cubicBezTo>
                  <a:pt x="1601" y="157"/>
                  <a:pt x="1601" y="157"/>
                  <a:pt x="1601" y="157"/>
                </a:cubicBezTo>
                <a:cubicBezTo>
                  <a:pt x="1601" y="157"/>
                  <a:pt x="1598" y="155"/>
                  <a:pt x="1599" y="157"/>
                </a:cubicBezTo>
                <a:cubicBezTo>
                  <a:pt x="1593" y="159"/>
                  <a:pt x="1593" y="159"/>
                  <a:pt x="1593" y="159"/>
                </a:cubicBezTo>
                <a:cubicBezTo>
                  <a:pt x="1599" y="163"/>
                  <a:pt x="1597" y="162"/>
                  <a:pt x="1604" y="164"/>
                </a:cubicBezTo>
                <a:cubicBezTo>
                  <a:pt x="1609" y="165"/>
                  <a:pt x="1609" y="165"/>
                  <a:pt x="1609" y="165"/>
                </a:cubicBezTo>
                <a:cubicBezTo>
                  <a:pt x="1609" y="165"/>
                  <a:pt x="1610" y="167"/>
                  <a:pt x="1609" y="167"/>
                </a:cubicBezTo>
                <a:cubicBezTo>
                  <a:pt x="1608" y="168"/>
                  <a:pt x="1604" y="169"/>
                  <a:pt x="1603" y="169"/>
                </a:cubicBezTo>
                <a:cubicBezTo>
                  <a:pt x="1603" y="169"/>
                  <a:pt x="1599" y="168"/>
                  <a:pt x="1599" y="168"/>
                </a:cubicBezTo>
                <a:cubicBezTo>
                  <a:pt x="1596" y="165"/>
                  <a:pt x="1596" y="165"/>
                  <a:pt x="1596" y="165"/>
                </a:cubicBezTo>
                <a:cubicBezTo>
                  <a:pt x="1588" y="163"/>
                  <a:pt x="1588" y="163"/>
                  <a:pt x="1588" y="163"/>
                </a:cubicBezTo>
                <a:cubicBezTo>
                  <a:pt x="1585" y="163"/>
                  <a:pt x="1585" y="163"/>
                  <a:pt x="1585" y="163"/>
                </a:cubicBezTo>
                <a:cubicBezTo>
                  <a:pt x="1586" y="160"/>
                  <a:pt x="1586" y="159"/>
                  <a:pt x="1584" y="158"/>
                </a:cubicBezTo>
                <a:cubicBezTo>
                  <a:pt x="1584" y="156"/>
                  <a:pt x="1584" y="156"/>
                  <a:pt x="1584" y="156"/>
                </a:cubicBezTo>
                <a:cubicBezTo>
                  <a:pt x="1582" y="154"/>
                  <a:pt x="1582" y="154"/>
                  <a:pt x="1582" y="154"/>
                </a:cubicBezTo>
                <a:cubicBezTo>
                  <a:pt x="1583" y="150"/>
                  <a:pt x="1583" y="150"/>
                  <a:pt x="1583" y="150"/>
                </a:cubicBezTo>
                <a:cubicBezTo>
                  <a:pt x="1580" y="146"/>
                  <a:pt x="1580" y="146"/>
                  <a:pt x="1580" y="146"/>
                </a:cubicBezTo>
                <a:cubicBezTo>
                  <a:pt x="1575" y="145"/>
                  <a:pt x="1575" y="145"/>
                  <a:pt x="1575" y="145"/>
                </a:cubicBezTo>
                <a:cubicBezTo>
                  <a:pt x="1571" y="143"/>
                  <a:pt x="1571" y="143"/>
                  <a:pt x="1571" y="143"/>
                </a:cubicBezTo>
                <a:cubicBezTo>
                  <a:pt x="1568" y="142"/>
                  <a:pt x="1568" y="142"/>
                  <a:pt x="1568" y="142"/>
                </a:cubicBezTo>
                <a:cubicBezTo>
                  <a:pt x="1564" y="140"/>
                  <a:pt x="1564" y="140"/>
                  <a:pt x="1564" y="140"/>
                </a:cubicBezTo>
                <a:cubicBezTo>
                  <a:pt x="1562" y="138"/>
                  <a:pt x="1562" y="138"/>
                  <a:pt x="1562" y="138"/>
                </a:cubicBezTo>
                <a:cubicBezTo>
                  <a:pt x="1564" y="137"/>
                  <a:pt x="1564" y="137"/>
                  <a:pt x="1564" y="137"/>
                </a:cubicBezTo>
                <a:cubicBezTo>
                  <a:pt x="1564" y="137"/>
                  <a:pt x="1567" y="140"/>
                  <a:pt x="1568" y="140"/>
                </a:cubicBezTo>
                <a:cubicBezTo>
                  <a:pt x="1568" y="140"/>
                  <a:pt x="1575" y="141"/>
                  <a:pt x="1576" y="141"/>
                </a:cubicBezTo>
                <a:cubicBezTo>
                  <a:pt x="1576" y="141"/>
                  <a:pt x="1586" y="142"/>
                  <a:pt x="1586" y="143"/>
                </a:cubicBezTo>
                <a:cubicBezTo>
                  <a:pt x="1587" y="144"/>
                  <a:pt x="1593" y="146"/>
                  <a:pt x="1593" y="146"/>
                </a:cubicBezTo>
                <a:cubicBezTo>
                  <a:pt x="1593" y="146"/>
                  <a:pt x="1603" y="147"/>
                  <a:pt x="1604" y="147"/>
                </a:cubicBezTo>
                <a:cubicBezTo>
                  <a:pt x="1605" y="147"/>
                  <a:pt x="1610" y="148"/>
                  <a:pt x="1611" y="148"/>
                </a:cubicBezTo>
                <a:cubicBezTo>
                  <a:pt x="1611" y="148"/>
                  <a:pt x="1612" y="147"/>
                  <a:pt x="1613" y="147"/>
                </a:cubicBezTo>
                <a:cubicBezTo>
                  <a:pt x="1613" y="147"/>
                  <a:pt x="1614" y="147"/>
                  <a:pt x="1615" y="147"/>
                </a:cubicBezTo>
                <a:cubicBezTo>
                  <a:pt x="1616" y="147"/>
                  <a:pt x="1619" y="146"/>
                  <a:pt x="1619" y="146"/>
                </a:cubicBezTo>
                <a:cubicBezTo>
                  <a:pt x="1625" y="143"/>
                  <a:pt x="1625" y="143"/>
                  <a:pt x="1625" y="143"/>
                </a:cubicBezTo>
                <a:cubicBezTo>
                  <a:pt x="1626" y="140"/>
                  <a:pt x="1626" y="140"/>
                  <a:pt x="1626" y="140"/>
                </a:cubicBezTo>
                <a:cubicBezTo>
                  <a:pt x="1626" y="140"/>
                  <a:pt x="1627" y="140"/>
                  <a:pt x="1627" y="140"/>
                </a:cubicBezTo>
                <a:cubicBezTo>
                  <a:pt x="1626" y="136"/>
                  <a:pt x="1626" y="136"/>
                  <a:pt x="1626" y="136"/>
                </a:cubicBezTo>
                <a:cubicBezTo>
                  <a:pt x="1626" y="136"/>
                  <a:pt x="1624" y="136"/>
                  <a:pt x="1624" y="134"/>
                </a:cubicBezTo>
                <a:cubicBezTo>
                  <a:pt x="1623" y="133"/>
                  <a:pt x="1621" y="131"/>
                  <a:pt x="1621" y="131"/>
                </a:cubicBezTo>
                <a:cubicBezTo>
                  <a:pt x="1608" y="127"/>
                  <a:pt x="1608" y="127"/>
                  <a:pt x="1608" y="127"/>
                </a:cubicBezTo>
                <a:cubicBezTo>
                  <a:pt x="1597" y="121"/>
                  <a:pt x="1597" y="121"/>
                  <a:pt x="1597" y="121"/>
                </a:cubicBezTo>
                <a:cubicBezTo>
                  <a:pt x="1594" y="121"/>
                  <a:pt x="1594" y="121"/>
                  <a:pt x="1594" y="121"/>
                </a:cubicBezTo>
                <a:cubicBezTo>
                  <a:pt x="1592" y="120"/>
                  <a:pt x="1588" y="119"/>
                  <a:pt x="1587" y="118"/>
                </a:cubicBezTo>
                <a:cubicBezTo>
                  <a:pt x="1586" y="117"/>
                  <a:pt x="1584" y="117"/>
                  <a:pt x="1583" y="117"/>
                </a:cubicBezTo>
                <a:cubicBezTo>
                  <a:pt x="1582" y="116"/>
                  <a:pt x="1581" y="118"/>
                  <a:pt x="1576" y="117"/>
                </a:cubicBezTo>
                <a:cubicBezTo>
                  <a:pt x="1570" y="116"/>
                  <a:pt x="1573" y="117"/>
                  <a:pt x="1570" y="117"/>
                </a:cubicBezTo>
                <a:cubicBezTo>
                  <a:pt x="1569" y="117"/>
                  <a:pt x="1569" y="117"/>
                  <a:pt x="1569" y="117"/>
                </a:cubicBezTo>
                <a:cubicBezTo>
                  <a:pt x="1568" y="117"/>
                  <a:pt x="1566" y="116"/>
                  <a:pt x="1566" y="115"/>
                </a:cubicBezTo>
                <a:cubicBezTo>
                  <a:pt x="1566" y="115"/>
                  <a:pt x="1563" y="116"/>
                  <a:pt x="1562" y="116"/>
                </a:cubicBezTo>
                <a:cubicBezTo>
                  <a:pt x="1560" y="114"/>
                  <a:pt x="1560" y="114"/>
                  <a:pt x="1560" y="114"/>
                </a:cubicBezTo>
                <a:cubicBezTo>
                  <a:pt x="1562" y="114"/>
                  <a:pt x="1562" y="114"/>
                  <a:pt x="1562" y="114"/>
                </a:cubicBezTo>
                <a:cubicBezTo>
                  <a:pt x="1563" y="114"/>
                  <a:pt x="1564" y="113"/>
                  <a:pt x="1564" y="112"/>
                </a:cubicBezTo>
                <a:cubicBezTo>
                  <a:pt x="1564" y="112"/>
                  <a:pt x="1562" y="112"/>
                  <a:pt x="1561" y="112"/>
                </a:cubicBezTo>
                <a:cubicBezTo>
                  <a:pt x="1559" y="112"/>
                  <a:pt x="1558" y="110"/>
                  <a:pt x="1558" y="110"/>
                </a:cubicBezTo>
                <a:cubicBezTo>
                  <a:pt x="1557" y="110"/>
                  <a:pt x="1555" y="110"/>
                  <a:pt x="1555" y="110"/>
                </a:cubicBezTo>
                <a:cubicBezTo>
                  <a:pt x="1554" y="110"/>
                  <a:pt x="1554" y="110"/>
                  <a:pt x="1554" y="110"/>
                </a:cubicBezTo>
                <a:cubicBezTo>
                  <a:pt x="1550" y="113"/>
                  <a:pt x="1550" y="113"/>
                  <a:pt x="1550" y="113"/>
                </a:cubicBezTo>
                <a:cubicBezTo>
                  <a:pt x="1546" y="112"/>
                  <a:pt x="1546" y="112"/>
                  <a:pt x="1546" y="112"/>
                </a:cubicBezTo>
                <a:cubicBezTo>
                  <a:pt x="1546" y="112"/>
                  <a:pt x="1546" y="112"/>
                  <a:pt x="1546" y="112"/>
                </a:cubicBezTo>
                <a:cubicBezTo>
                  <a:pt x="1546" y="112"/>
                  <a:pt x="1545" y="112"/>
                  <a:pt x="1545" y="112"/>
                </a:cubicBezTo>
                <a:cubicBezTo>
                  <a:pt x="1543" y="112"/>
                  <a:pt x="1543" y="112"/>
                  <a:pt x="1543" y="112"/>
                </a:cubicBezTo>
                <a:cubicBezTo>
                  <a:pt x="1540" y="112"/>
                  <a:pt x="1540" y="112"/>
                  <a:pt x="1540" y="112"/>
                </a:cubicBezTo>
                <a:cubicBezTo>
                  <a:pt x="1537" y="111"/>
                  <a:pt x="1537" y="111"/>
                  <a:pt x="1537" y="111"/>
                </a:cubicBezTo>
                <a:cubicBezTo>
                  <a:pt x="1534" y="109"/>
                  <a:pt x="1534" y="109"/>
                  <a:pt x="1534" y="109"/>
                </a:cubicBezTo>
                <a:cubicBezTo>
                  <a:pt x="1531" y="108"/>
                  <a:pt x="1531" y="108"/>
                  <a:pt x="1531" y="108"/>
                </a:cubicBezTo>
                <a:cubicBezTo>
                  <a:pt x="1536" y="108"/>
                  <a:pt x="1536" y="108"/>
                  <a:pt x="1536" y="108"/>
                </a:cubicBezTo>
                <a:cubicBezTo>
                  <a:pt x="1536" y="108"/>
                  <a:pt x="1539" y="108"/>
                  <a:pt x="1540" y="108"/>
                </a:cubicBezTo>
                <a:cubicBezTo>
                  <a:pt x="1541" y="108"/>
                  <a:pt x="1542" y="110"/>
                  <a:pt x="1543" y="109"/>
                </a:cubicBezTo>
                <a:cubicBezTo>
                  <a:pt x="1544" y="107"/>
                  <a:pt x="1545" y="107"/>
                  <a:pt x="1545" y="106"/>
                </a:cubicBezTo>
                <a:cubicBezTo>
                  <a:pt x="1544" y="105"/>
                  <a:pt x="1542" y="104"/>
                  <a:pt x="1541" y="104"/>
                </a:cubicBezTo>
                <a:cubicBezTo>
                  <a:pt x="1541" y="104"/>
                  <a:pt x="1534" y="102"/>
                  <a:pt x="1534" y="102"/>
                </a:cubicBezTo>
                <a:cubicBezTo>
                  <a:pt x="1532" y="101"/>
                  <a:pt x="1532" y="101"/>
                  <a:pt x="1532" y="101"/>
                </a:cubicBezTo>
                <a:cubicBezTo>
                  <a:pt x="1529" y="104"/>
                  <a:pt x="1530" y="103"/>
                  <a:pt x="1527" y="105"/>
                </a:cubicBezTo>
                <a:cubicBezTo>
                  <a:pt x="1525" y="104"/>
                  <a:pt x="1525" y="104"/>
                  <a:pt x="1525" y="104"/>
                </a:cubicBezTo>
                <a:cubicBezTo>
                  <a:pt x="1527" y="103"/>
                  <a:pt x="1527" y="103"/>
                  <a:pt x="1527" y="103"/>
                </a:cubicBezTo>
                <a:cubicBezTo>
                  <a:pt x="1527" y="101"/>
                  <a:pt x="1527" y="101"/>
                  <a:pt x="1527" y="101"/>
                </a:cubicBezTo>
                <a:cubicBezTo>
                  <a:pt x="1522" y="100"/>
                  <a:pt x="1522" y="100"/>
                  <a:pt x="1522" y="100"/>
                </a:cubicBezTo>
                <a:cubicBezTo>
                  <a:pt x="1520" y="101"/>
                  <a:pt x="1520" y="101"/>
                  <a:pt x="1520" y="101"/>
                </a:cubicBezTo>
                <a:cubicBezTo>
                  <a:pt x="1520" y="102"/>
                  <a:pt x="1520" y="102"/>
                  <a:pt x="1520" y="102"/>
                </a:cubicBezTo>
                <a:cubicBezTo>
                  <a:pt x="1518" y="104"/>
                  <a:pt x="1518" y="104"/>
                  <a:pt x="1518" y="104"/>
                </a:cubicBezTo>
                <a:cubicBezTo>
                  <a:pt x="1517" y="105"/>
                  <a:pt x="1516" y="105"/>
                  <a:pt x="1514" y="105"/>
                </a:cubicBezTo>
                <a:cubicBezTo>
                  <a:pt x="1515" y="102"/>
                  <a:pt x="1515" y="102"/>
                  <a:pt x="1515" y="102"/>
                </a:cubicBezTo>
                <a:cubicBezTo>
                  <a:pt x="1513" y="102"/>
                  <a:pt x="1513" y="102"/>
                  <a:pt x="1513" y="102"/>
                </a:cubicBezTo>
                <a:cubicBezTo>
                  <a:pt x="1512" y="103"/>
                  <a:pt x="1510" y="106"/>
                  <a:pt x="1508" y="107"/>
                </a:cubicBezTo>
                <a:cubicBezTo>
                  <a:pt x="1505" y="109"/>
                  <a:pt x="1505" y="109"/>
                  <a:pt x="1505" y="109"/>
                </a:cubicBezTo>
                <a:cubicBezTo>
                  <a:pt x="1505" y="109"/>
                  <a:pt x="1504" y="105"/>
                  <a:pt x="1506" y="105"/>
                </a:cubicBezTo>
                <a:cubicBezTo>
                  <a:pt x="1507" y="105"/>
                  <a:pt x="1510" y="103"/>
                  <a:pt x="1510" y="103"/>
                </a:cubicBezTo>
                <a:cubicBezTo>
                  <a:pt x="1510" y="103"/>
                  <a:pt x="1511" y="101"/>
                  <a:pt x="1511" y="101"/>
                </a:cubicBezTo>
                <a:cubicBezTo>
                  <a:pt x="1510" y="101"/>
                  <a:pt x="1506" y="101"/>
                  <a:pt x="1506" y="101"/>
                </a:cubicBezTo>
                <a:cubicBezTo>
                  <a:pt x="1504" y="103"/>
                  <a:pt x="1504" y="103"/>
                  <a:pt x="1504" y="103"/>
                </a:cubicBezTo>
                <a:cubicBezTo>
                  <a:pt x="1501" y="102"/>
                  <a:pt x="1501" y="102"/>
                  <a:pt x="1501" y="102"/>
                </a:cubicBezTo>
                <a:cubicBezTo>
                  <a:pt x="1500" y="103"/>
                  <a:pt x="1500" y="103"/>
                  <a:pt x="1500" y="103"/>
                </a:cubicBezTo>
                <a:cubicBezTo>
                  <a:pt x="1499" y="103"/>
                  <a:pt x="1499" y="105"/>
                  <a:pt x="1499" y="105"/>
                </a:cubicBezTo>
                <a:cubicBezTo>
                  <a:pt x="1496" y="104"/>
                  <a:pt x="1496" y="104"/>
                  <a:pt x="1496" y="104"/>
                </a:cubicBezTo>
                <a:cubicBezTo>
                  <a:pt x="1494" y="104"/>
                  <a:pt x="1494" y="104"/>
                  <a:pt x="1494" y="104"/>
                </a:cubicBezTo>
                <a:cubicBezTo>
                  <a:pt x="1492" y="105"/>
                  <a:pt x="1492" y="105"/>
                  <a:pt x="1492" y="105"/>
                </a:cubicBezTo>
                <a:cubicBezTo>
                  <a:pt x="1492" y="104"/>
                  <a:pt x="1492" y="104"/>
                  <a:pt x="1492" y="104"/>
                </a:cubicBezTo>
                <a:cubicBezTo>
                  <a:pt x="1493" y="104"/>
                  <a:pt x="1493" y="104"/>
                  <a:pt x="1494" y="103"/>
                </a:cubicBezTo>
                <a:cubicBezTo>
                  <a:pt x="1494" y="102"/>
                  <a:pt x="1494" y="102"/>
                  <a:pt x="1493" y="102"/>
                </a:cubicBezTo>
                <a:cubicBezTo>
                  <a:pt x="1492" y="102"/>
                  <a:pt x="1491" y="103"/>
                  <a:pt x="1491" y="103"/>
                </a:cubicBezTo>
                <a:cubicBezTo>
                  <a:pt x="1486" y="104"/>
                  <a:pt x="1486" y="104"/>
                  <a:pt x="1486" y="104"/>
                </a:cubicBezTo>
                <a:cubicBezTo>
                  <a:pt x="1485" y="103"/>
                  <a:pt x="1484" y="103"/>
                  <a:pt x="1483" y="104"/>
                </a:cubicBezTo>
                <a:cubicBezTo>
                  <a:pt x="1483" y="104"/>
                  <a:pt x="1483" y="105"/>
                  <a:pt x="1483" y="105"/>
                </a:cubicBezTo>
                <a:cubicBezTo>
                  <a:pt x="1484" y="106"/>
                  <a:pt x="1484" y="106"/>
                  <a:pt x="1485" y="105"/>
                </a:cubicBezTo>
                <a:cubicBezTo>
                  <a:pt x="1486" y="106"/>
                  <a:pt x="1486" y="106"/>
                  <a:pt x="1486" y="106"/>
                </a:cubicBezTo>
                <a:cubicBezTo>
                  <a:pt x="1487" y="106"/>
                  <a:pt x="1491" y="107"/>
                  <a:pt x="1491" y="107"/>
                </a:cubicBezTo>
                <a:cubicBezTo>
                  <a:pt x="1493" y="109"/>
                  <a:pt x="1493" y="109"/>
                  <a:pt x="1493" y="109"/>
                </a:cubicBezTo>
                <a:cubicBezTo>
                  <a:pt x="1491" y="109"/>
                  <a:pt x="1491" y="109"/>
                  <a:pt x="1491" y="109"/>
                </a:cubicBezTo>
                <a:cubicBezTo>
                  <a:pt x="1489" y="108"/>
                  <a:pt x="1489" y="108"/>
                  <a:pt x="1489" y="108"/>
                </a:cubicBezTo>
                <a:cubicBezTo>
                  <a:pt x="1487" y="107"/>
                  <a:pt x="1487" y="107"/>
                  <a:pt x="1487" y="107"/>
                </a:cubicBezTo>
                <a:cubicBezTo>
                  <a:pt x="1482" y="107"/>
                  <a:pt x="1482" y="107"/>
                  <a:pt x="1482" y="107"/>
                </a:cubicBezTo>
                <a:cubicBezTo>
                  <a:pt x="1477" y="107"/>
                  <a:pt x="1477" y="107"/>
                  <a:pt x="1477" y="107"/>
                </a:cubicBezTo>
                <a:cubicBezTo>
                  <a:pt x="1481" y="109"/>
                  <a:pt x="1481" y="109"/>
                  <a:pt x="1481" y="109"/>
                </a:cubicBezTo>
                <a:cubicBezTo>
                  <a:pt x="1482" y="110"/>
                  <a:pt x="1482" y="110"/>
                  <a:pt x="1482" y="110"/>
                </a:cubicBezTo>
                <a:cubicBezTo>
                  <a:pt x="1484" y="111"/>
                  <a:pt x="1484" y="111"/>
                  <a:pt x="1484" y="111"/>
                </a:cubicBezTo>
                <a:cubicBezTo>
                  <a:pt x="1482" y="111"/>
                  <a:pt x="1482" y="111"/>
                  <a:pt x="1482" y="111"/>
                </a:cubicBezTo>
                <a:cubicBezTo>
                  <a:pt x="1480" y="110"/>
                  <a:pt x="1480" y="110"/>
                  <a:pt x="1480" y="110"/>
                </a:cubicBezTo>
                <a:cubicBezTo>
                  <a:pt x="1478" y="111"/>
                  <a:pt x="1478" y="111"/>
                  <a:pt x="1478" y="111"/>
                </a:cubicBezTo>
                <a:cubicBezTo>
                  <a:pt x="1477" y="111"/>
                  <a:pt x="1477" y="111"/>
                  <a:pt x="1477" y="111"/>
                </a:cubicBezTo>
                <a:cubicBezTo>
                  <a:pt x="1474" y="113"/>
                  <a:pt x="1474" y="113"/>
                  <a:pt x="1474" y="113"/>
                </a:cubicBezTo>
                <a:cubicBezTo>
                  <a:pt x="1472" y="115"/>
                  <a:pt x="1473" y="113"/>
                  <a:pt x="1473" y="112"/>
                </a:cubicBezTo>
                <a:cubicBezTo>
                  <a:pt x="1473" y="112"/>
                  <a:pt x="1473" y="111"/>
                  <a:pt x="1473" y="111"/>
                </a:cubicBezTo>
                <a:cubicBezTo>
                  <a:pt x="1471" y="110"/>
                  <a:pt x="1471" y="110"/>
                  <a:pt x="1471" y="110"/>
                </a:cubicBezTo>
                <a:cubicBezTo>
                  <a:pt x="1471" y="110"/>
                  <a:pt x="1469" y="114"/>
                  <a:pt x="1468" y="113"/>
                </a:cubicBezTo>
                <a:cubicBezTo>
                  <a:pt x="1467" y="112"/>
                  <a:pt x="1467" y="112"/>
                  <a:pt x="1467" y="112"/>
                </a:cubicBezTo>
                <a:cubicBezTo>
                  <a:pt x="1467" y="112"/>
                  <a:pt x="1468" y="110"/>
                  <a:pt x="1469" y="110"/>
                </a:cubicBezTo>
                <a:cubicBezTo>
                  <a:pt x="1469" y="110"/>
                  <a:pt x="1470" y="110"/>
                  <a:pt x="1470" y="110"/>
                </a:cubicBezTo>
                <a:cubicBezTo>
                  <a:pt x="1470" y="110"/>
                  <a:pt x="1468" y="107"/>
                  <a:pt x="1468" y="107"/>
                </a:cubicBezTo>
                <a:cubicBezTo>
                  <a:pt x="1468" y="107"/>
                  <a:pt x="1466" y="106"/>
                  <a:pt x="1466" y="107"/>
                </a:cubicBezTo>
                <a:cubicBezTo>
                  <a:pt x="1466" y="108"/>
                  <a:pt x="1465" y="110"/>
                  <a:pt x="1465" y="110"/>
                </a:cubicBezTo>
                <a:cubicBezTo>
                  <a:pt x="1464" y="110"/>
                  <a:pt x="1462" y="111"/>
                  <a:pt x="1461" y="111"/>
                </a:cubicBezTo>
                <a:cubicBezTo>
                  <a:pt x="1460" y="112"/>
                  <a:pt x="1459" y="112"/>
                  <a:pt x="1458" y="113"/>
                </a:cubicBezTo>
                <a:cubicBezTo>
                  <a:pt x="1460" y="115"/>
                  <a:pt x="1460" y="115"/>
                  <a:pt x="1460" y="115"/>
                </a:cubicBezTo>
                <a:cubicBezTo>
                  <a:pt x="1460" y="116"/>
                  <a:pt x="1460" y="116"/>
                  <a:pt x="1460" y="116"/>
                </a:cubicBezTo>
                <a:cubicBezTo>
                  <a:pt x="1458" y="116"/>
                  <a:pt x="1458" y="115"/>
                  <a:pt x="1456" y="114"/>
                </a:cubicBezTo>
                <a:cubicBezTo>
                  <a:pt x="1454" y="114"/>
                  <a:pt x="1454" y="114"/>
                  <a:pt x="1454" y="114"/>
                </a:cubicBezTo>
                <a:cubicBezTo>
                  <a:pt x="1450" y="114"/>
                  <a:pt x="1450" y="114"/>
                  <a:pt x="1450" y="114"/>
                </a:cubicBezTo>
                <a:cubicBezTo>
                  <a:pt x="1450" y="115"/>
                  <a:pt x="1448" y="118"/>
                  <a:pt x="1448" y="118"/>
                </a:cubicBezTo>
                <a:cubicBezTo>
                  <a:pt x="1452" y="119"/>
                  <a:pt x="1451" y="119"/>
                  <a:pt x="1453" y="118"/>
                </a:cubicBezTo>
                <a:cubicBezTo>
                  <a:pt x="1454" y="119"/>
                  <a:pt x="1454" y="119"/>
                  <a:pt x="1454" y="119"/>
                </a:cubicBezTo>
                <a:cubicBezTo>
                  <a:pt x="1454" y="119"/>
                  <a:pt x="1450" y="122"/>
                  <a:pt x="1450" y="122"/>
                </a:cubicBezTo>
                <a:cubicBezTo>
                  <a:pt x="1449" y="123"/>
                  <a:pt x="1447" y="122"/>
                  <a:pt x="1447" y="122"/>
                </a:cubicBezTo>
                <a:cubicBezTo>
                  <a:pt x="1447" y="122"/>
                  <a:pt x="1446" y="121"/>
                  <a:pt x="1446" y="121"/>
                </a:cubicBezTo>
                <a:cubicBezTo>
                  <a:pt x="1444" y="121"/>
                  <a:pt x="1443" y="121"/>
                  <a:pt x="1442" y="122"/>
                </a:cubicBezTo>
                <a:cubicBezTo>
                  <a:pt x="1441" y="119"/>
                  <a:pt x="1441" y="119"/>
                  <a:pt x="1441" y="119"/>
                </a:cubicBezTo>
                <a:cubicBezTo>
                  <a:pt x="1443" y="119"/>
                  <a:pt x="1443" y="119"/>
                  <a:pt x="1443" y="119"/>
                </a:cubicBezTo>
                <a:cubicBezTo>
                  <a:pt x="1443" y="117"/>
                  <a:pt x="1443" y="117"/>
                  <a:pt x="1443" y="117"/>
                </a:cubicBezTo>
                <a:cubicBezTo>
                  <a:pt x="1440" y="117"/>
                  <a:pt x="1441" y="118"/>
                  <a:pt x="1439" y="120"/>
                </a:cubicBezTo>
                <a:cubicBezTo>
                  <a:pt x="1439" y="120"/>
                  <a:pt x="1437" y="120"/>
                  <a:pt x="1436" y="120"/>
                </a:cubicBezTo>
                <a:cubicBezTo>
                  <a:pt x="1435" y="122"/>
                  <a:pt x="1435" y="122"/>
                  <a:pt x="1435" y="122"/>
                </a:cubicBezTo>
                <a:cubicBezTo>
                  <a:pt x="1435" y="121"/>
                  <a:pt x="1432" y="121"/>
                  <a:pt x="1432" y="122"/>
                </a:cubicBezTo>
                <a:cubicBezTo>
                  <a:pt x="1432" y="122"/>
                  <a:pt x="1431" y="123"/>
                  <a:pt x="1431" y="123"/>
                </a:cubicBezTo>
                <a:cubicBezTo>
                  <a:pt x="1433" y="124"/>
                  <a:pt x="1433" y="123"/>
                  <a:pt x="1434" y="123"/>
                </a:cubicBezTo>
                <a:cubicBezTo>
                  <a:pt x="1436" y="124"/>
                  <a:pt x="1436" y="124"/>
                  <a:pt x="1436" y="124"/>
                </a:cubicBezTo>
                <a:cubicBezTo>
                  <a:pt x="1436" y="125"/>
                  <a:pt x="1436" y="125"/>
                  <a:pt x="1436" y="125"/>
                </a:cubicBezTo>
                <a:cubicBezTo>
                  <a:pt x="1432" y="125"/>
                  <a:pt x="1432" y="125"/>
                  <a:pt x="1432" y="125"/>
                </a:cubicBezTo>
                <a:cubicBezTo>
                  <a:pt x="1431" y="125"/>
                  <a:pt x="1430" y="127"/>
                  <a:pt x="1429" y="126"/>
                </a:cubicBezTo>
                <a:cubicBezTo>
                  <a:pt x="1428" y="126"/>
                  <a:pt x="1429" y="126"/>
                  <a:pt x="1427" y="126"/>
                </a:cubicBezTo>
                <a:cubicBezTo>
                  <a:pt x="1426" y="127"/>
                  <a:pt x="1426" y="127"/>
                  <a:pt x="1425" y="127"/>
                </a:cubicBezTo>
                <a:cubicBezTo>
                  <a:pt x="1425" y="129"/>
                  <a:pt x="1425" y="129"/>
                  <a:pt x="1425" y="129"/>
                </a:cubicBezTo>
                <a:cubicBezTo>
                  <a:pt x="1427" y="129"/>
                  <a:pt x="1427" y="129"/>
                  <a:pt x="1429" y="128"/>
                </a:cubicBezTo>
                <a:cubicBezTo>
                  <a:pt x="1429" y="128"/>
                  <a:pt x="1431" y="128"/>
                  <a:pt x="1431" y="128"/>
                </a:cubicBezTo>
                <a:cubicBezTo>
                  <a:pt x="1433" y="127"/>
                  <a:pt x="1433" y="127"/>
                  <a:pt x="1433" y="127"/>
                </a:cubicBezTo>
                <a:cubicBezTo>
                  <a:pt x="1433" y="126"/>
                  <a:pt x="1440" y="127"/>
                  <a:pt x="1440" y="127"/>
                </a:cubicBezTo>
                <a:cubicBezTo>
                  <a:pt x="1442" y="125"/>
                  <a:pt x="1442" y="125"/>
                  <a:pt x="1442" y="125"/>
                </a:cubicBezTo>
                <a:cubicBezTo>
                  <a:pt x="1443" y="125"/>
                  <a:pt x="1443" y="126"/>
                  <a:pt x="1445" y="123"/>
                </a:cubicBezTo>
                <a:cubicBezTo>
                  <a:pt x="1446" y="124"/>
                  <a:pt x="1446" y="124"/>
                  <a:pt x="1446" y="124"/>
                </a:cubicBezTo>
                <a:cubicBezTo>
                  <a:pt x="1446" y="124"/>
                  <a:pt x="1446" y="125"/>
                  <a:pt x="1445" y="126"/>
                </a:cubicBezTo>
                <a:cubicBezTo>
                  <a:pt x="1443" y="126"/>
                  <a:pt x="1443" y="126"/>
                  <a:pt x="1443" y="126"/>
                </a:cubicBezTo>
                <a:cubicBezTo>
                  <a:pt x="1441" y="128"/>
                  <a:pt x="1441" y="128"/>
                  <a:pt x="1441" y="128"/>
                </a:cubicBezTo>
                <a:cubicBezTo>
                  <a:pt x="1441" y="128"/>
                  <a:pt x="1439" y="128"/>
                  <a:pt x="1439" y="128"/>
                </a:cubicBezTo>
                <a:cubicBezTo>
                  <a:pt x="1438" y="128"/>
                  <a:pt x="1438" y="127"/>
                  <a:pt x="1438" y="130"/>
                </a:cubicBezTo>
                <a:cubicBezTo>
                  <a:pt x="1437" y="130"/>
                  <a:pt x="1434" y="130"/>
                  <a:pt x="1434" y="131"/>
                </a:cubicBezTo>
                <a:cubicBezTo>
                  <a:pt x="1434" y="131"/>
                  <a:pt x="1434" y="132"/>
                  <a:pt x="1434" y="132"/>
                </a:cubicBezTo>
                <a:cubicBezTo>
                  <a:pt x="1435" y="132"/>
                  <a:pt x="1435" y="132"/>
                  <a:pt x="1435" y="132"/>
                </a:cubicBezTo>
                <a:cubicBezTo>
                  <a:pt x="1435" y="132"/>
                  <a:pt x="1435" y="134"/>
                  <a:pt x="1435" y="134"/>
                </a:cubicBezTo>
                <a:cubicBezTo>
                  <a:pt x="1432" y="134"/>
                  <a:pt x="1433" y="134"/>
                  <a:pt x="1433" y="136"/>
                </a:cubicBezTo>
                <a:cubicBezTo>
                  <a:pt x="1430" y="137"/>
                  <a:pt x="1431" y="138"/>
                  <a:pt x="1430" y="138"/>
                </a:cubicBezTo>
                <a:cubicBezTo>
                  <a:pt x="1430" y="139"/>
                  <a:pt x="1428" y="139"/>
                  <a:pt x="1427" y="139"/>
                </a:cubicBezTo>
                <a:cubicBezTo>
                  <a:pt x="1426" y="140"/>
                  <a:pt x="1425" y="141"/>
                  <a:pt x="1423" y="142"/>
                </a:cubicBezTo>
                <a:cubicBezTo>
                  <a:pt x="1423" y="143"/>
                  <a:pt x="1423" y="143"/>
                  <a:pt x="1423" y="143"/>
                </a:cubicBezTo>
                <a:cubicBezTo>
                  <a:pt x="1424" y="143"/>
                  <a:pt x="1424" y="143"/>
                  <a:pt x="1424" y="143"/>
                </a:cubicBezTo>
                <a:cubicBezTo>
                  <a:pt x="1423" y="144"/>
                  <a:pt x="1423" y="144"/>
                  <a:pt x="1423" y="145"/>
                </a:cubicBezTo>
                <a:cubicBezTo>
                  <a:pt x="1423" y="146"/>
                  <a:pt x="1423" y="146"/>
                  <a:pt x="1423" y="146"/>
                </a:cubicBezTo>
                <a:cubicBezTo>
                  <a:pt x="1420" y="148"/>
                  <a:pt x="1420" y="148"/>
                  <a:pt x="1420" y="148"/>
                </a:cubicBezTo>
                <a:cubicBezTo>
                  <a:pt x="1420" y="148"/>
                  <a:pt x="1420" y="147"/>
                  <a:pt x="1420" y="148"/>
                </a:cubicBezTo>
                <a:cubicBezTo>
                  <a:pt x="1419" y="148"/>
                  <a:pt x="1419" y="149"/>
                  <a:pt x="1419" y="150"/>
                </a:cubicBezTo>
                <a:cubicBezTo>
                  <a:pt x="1419" y="150"/>
                  <a:pt x="1417" y="151"/>
                  <a:pt x="1417" y="152"/>
                </a:cubicBezTo>
                <a:cubicBezTo>
                  <a:pt x="1417" y="153"/>
                  <a:pt x="1417" y="152"/>
                  <a:pt x="1416" y="155"/>
                </a:cubicBezTo>
                <a:cubicBezTo>
                  <a:pt x="1420" y="155"/>
                  <a:pt x="1412" y="157"/>
                  <a:pt x="1412" y="157"/>
                </a:cubicBezTo>
                <a:cubicBezTo>
                  <a:pt x="1412" y="159"/>
                  <a:pt x="1410" y="159"/>
                  <a:pt x="1410" y="160"/>
                </a:cubicBezTo>
                <a:cubicBezTo>
                  <a:pt x="1410" y="160"/>
                  <a:pt x="1410" y="160"/>
                  <a:pt x="1410" y="160"/>
                </a:cubicBezTo>
                <a:cubicBezTo>
                  <a:pt x="1410" y="160"/>
                  <a:pt x="1411" y="160"/>
                  <a:pt x="1412" y="160"/>
                </a:cubicBezTo>
                <a:cubicBezTo>
                  <a:pt x="1412" y="163"/>
                  <a:pt x="1413" y="163"/>
                  <a:pt x="1410" y="163"/>
                </a:cubicBezTo>
                <a:cubicBezTo>
                  <a:pt x="1409" y="163"/>
                  <a:pt x="1409" y="163"/>
                  <a:pt x="1409" y="162"/>
                </a:cubicBezTo>
                <a:cubicBezTo>
                  <a:pt x="1406" y="162"/>
                  <a:pt x="1405" y="161"/>
                  <a:pt x="1404" y="163"/>
                </a:cubicBezTo>
                <a:cubicBezTo>
                  <a:pt x="1404" y="164"/>
                  <a:pt x="1404" y="165"/>
                  <a:pt x="1403" y="165"/>
                </a:cubicBezTo>
                <a:cubicBezTo>
                  <a:pt x="1402" y="166"/>
                  <a:pt x="1401" y="166"/>
                  <a:pt x="1401" y="166"/>
                </a:cubicBezTo>
                <a:cubicBezTo>
                  <a:pt x="1400" y="169"/>
                  <a:pt x="1400" y="169"/>
                  <a:pt x="1400" y="169"/>
                </a:cubicBezTo>
                <a:cubicBezTo>
                  <a:pt x="1400" y="169"/>
                  <a:pt x="1397" y="170"/>
                  <a:pt x="1397" y="170"/>
                </a:cubicBezTo>
                <a:cubicBezTo>
                  <a:pt x="1397" y="170"/>
                  <a:pt x="1399" y="173"/>
                  <a:pt x="1400" y="172"/>
                </a:cubicBezTo>
                <a:cubicBezTo>
                  <a:pt x="1401" y="172"/>
                  <a:pt x="1402" y="172"/>
                  <a:pt x="1403" y="172"/>
                </a:cubicBezTo>
                <a:cubicBezTo>
                  <a:pt x="1404" y="171"/>
                  <a:pt x="1405" y="169"/>
                  <a:pt x="1406" y="169"/>
                </a:cubicBezTo>
                <a:cubicBezTo>
                  <a:pt x="1408" y="168"/>
                  <a:pt x="1408" y="168"/>
                  <a:pt x="1409" y="169"/>
                </a:cubicBezTo>
                <a:cubicBezTo>
                  <a:pt x="1409" y="170"/>
                  <a:pt x="1406" y="170"/>
                  <a:pt x="1405" y="170"/>
                </a:cubicBezTo>
                <a:cubicBezTo>
                  <a:pt x="1405" y="171"/>
                  <a:pt x="1405" y="172"/>
                  <a:pt x="1404" y="172"/>
                </a:cubicBezTo>
                <a:cubicBezTo>
                  <a:pt x="1397" y="174"/>
                  <a:pt x="1399" y="171"/>
                  <a:pt x="1397" y="171"/>
                </a:cubicBezTo>
                <a:cubicBezTo>
                  <a:pt x="1396" y="171"/>
                  <a:pt x="1395" y="172"/>
                  <a:pt x="1394" y="172"/>
                </a:cubicBezTo>
                <a:cubicBezTo>
                  <a:pt x="1394" y="172"/>
                  <a:pt x="1393" y="171"/>
                  <a:pt x="1393" y="171"/>
                </a:cubicBezTo>
                <a:cubicBezTo>
                  <a:pt x="1392" y="171"/>
                  <a:pt x="1392" y="169"/>
                  <a:pt x="1391" y="170"/>
                </a:cubicBezTo>
                <a:cubicBezTo>
                  <a:pt x="1389" y="170"/>
                  <a:pt x="1390" y="170"/>
                  <a:pt x="1388" y="170"/>
                </a:cubicBezTo>
                <a:cubicBezTo>
                  <a:pt x="1388" y="171"/>
                  <a:pt x="1388" y="171"/>
                  <a:pt x="1388" y="171"/>
                </a:cubicBezTo>
                <a:cubicBezTo>
                  <a:pt x="1390" y="172"/>
                  <a:pt x="1390" y="171"/>
                  <a:pt x="1389" y="172"/>
                </a:cubicBezTo>
                <a:cubicBezTo>
                  <a:pt x="1388" y="173"/>
                  <a:pt x="1387" y="173"/>
                  <a:pt x="1387" y="173"/>
                </a:cubicBezTo>
                <a:cubicBezTo>
                  <a:pt x="1388" y="173"/>
                  <a:pt x="1390" y="174"/>
                  <a:pt x="1391" y="174"/>
                </a:cubicBezTo>
                <a:cubicBezTo>
                  <a:pt x="1392" y="174"/>
                  <a:pt x="1392" y="175"/>
                  <a:pt x="1392" y="175"/>
                </a:cubicBezTo>
                <a:cubicBezTo>
                  <a:pt x="1392" y="175"/>
                  <a:pt x="1389" y="176"/>
                  <a:pt x="1389" y="176"/>
                </a:cubicBezTo>
                <a:cubicBezTo>
                  <a:pt x="1388" y="175"/>
                  <a:pt x="1388" y="174"/>
                  <a:pt x="1387" y="174"/>
                </a:cubicBezTo>
                <a:cubicBezTo>
                  <a:pt x="1385" y="174"/>
                  <a:pt x="1385" y="175"/>
                  <a:pt x="1384" y="177"/>
                </a:cubicBezTo>
                <a:cubicBezTo>
                  <a:pt x="1386" y="177"/>
                  <a:pt x="1386" y="177"/>
                  <a:pt x="1386" y="177"/>
                </a:cubicBezTo>
                <a:cubicBezTo>
                  <a:pt x="1385" y="178"/>
                  <a:pt x="1385" y="178"/>
                  <a:pt x="1385" y="178"/>
                </a:cubicBezTo>
                <a:cubicBezTo>
                  <a:pt x="1384" y="178"/>
                  <a:pt x="1382" y="177"/>
                  <a:pt x="1381" y="177"/>
                </a:cubicBezTo>
                <a:cubicBezTo>
                  <a:pt x="1380" y="178"/>
                  <a:pt x="1379" y="177"/>
                  <a:pt x="1379" y="177"/>
                </a:cubicBezTo>
                <a:cubicBezTo>
                  <a:pt x="1377" y="178"/>
                  <a:pt x="1377" y="178"/>
                  <a:pt x="1377" y="178"/>
                </a:cubicBezTo>
                <a:cubicBezTo>
                  <a:pt x="1379" y="178"/>
                  <a:pt x="1378" y="178"/>
                  <a:pt x="1380" y="180"/>
                </a:cubicBezTo>
                <a:cubicBezTo>
                  <a:pt x="1382" y="180"/>
                  <a:pt x="1382" y="180"/>
                  <a:pt x="1382" y="180"/>
                </a:cubicBezTo>
                <a:cubicBezTo>
                  <a:pt x="1382" y="180"/>
                  <a:pt x="1383" y="180"/>
                  <a:pt x="1382" y="180"/>
                </a:cubicBezTo>
                <a:cubicBezTo>
                  <a:pt x="1378" y="180"/>
                  <a:pt x="1378" y="180"/>
                  <a:pt x="1378" y="180"/>
                </a:cubicBezTo>
                <a:cubicBezTo>
                  <a:pt x="1375" y="181"/>
                  <a:pt x="1375" y="181"/>
                  <a:pt x="1375" y="181"/>
                </a:cubicBezTo>
                <a:cubicBezTo>
                  <a:pt x="1373" y="180"/>
                  <a:pt x="1373" y="180"/>
                  <a:pt x="1373" y="180"/>
                </a:cubicBezTo>
                <a:cubicBezTo>
                  <a:pt x="1370" y="182"/>
                  <a:pt x="1370" y="182"/>
                  <a:pt x="1370" y="182"/>
                </a:cubicBezTo>
                <a:cubicBezTo>
                  <a:pt x="1373" y="183"/>
                  <a:pt x="1373" y="183"/>
                  <a:pt x="1373" y="183"/>
                </a:cubicBezTo>
                <a:cubicBezTo>
                  <a:pt x="1372" y="185"/>
                  <a:pt x="1369" y="183"/>
                  <a:pt x="1367" y="183"/>
                </a:cubicBezTo>
                <a:cubicBezTo>
                  <a:pt x="1367" y="184"/>
                  <a:pt x="1367" y="184"/>
                  <a:pt x="1367" y="184"/>
                </a:cubicBezTo>
                <a:cubicBezTo>
                  <a:pt x="1365" y="185"/>
                  <a:pt x="1365" y="185"/>
                  <a:pt x="1365" y="185"/>
                </a:cubicBezTo>
                <a:cubicBezTo>
                  <a:pt x="1363" y="185"/>
                  <a:pt x="1363" y="185"/>
                  <a:pt x="1363" y="185"/>
                </a:cubicBezTo>
                <a:cubicBezTo>
                  <a:pt x="1363" y="186"/>
                  <a:pt x="1363" y="187"/>
                  <a:pt x="1362" y="188"/>
                </a:cubicBezTo>
                <a:cubicBezTo>
                  <a:pt x="1361" y="188"/>
                  <a:pt x="1361" y="188"/>
                  <a:pt x="1361" y="188"/>
                </a:cubicBezTo>
                <a:cubicBezTo>
                  <a:pt x="1362" y="190"/>
                  <a:pt x="1361" y="190"/>
                  <a:pt x="1364" y="191"/>
                </a:cubicBezTo>
                <a:cubicBezTo>
                  <a:pt x="1363" y="191"/>
                  <a:pt x="1363" y="191"/>
                  <a:pt x="1363" y="191"/>
                </a:cubicBezTo>
                <a:cubicBezTo>
                  <a:pt x="1366" y="192"/>
                  <a:pt x="1366" y="192"/>
                  <a:pt x="1366" y="192"/>
                </a:cubicBezTo>
                <a:cubicBezTo>
                  <a:pt x="1366" y="192"/>
                  <a:pt x="1364" y="192"/>
                  <a:pt x="1363" y="193"/>
                </a:cubicBezTo>
                <a:cubicBezTo>
                  <a:pt x="1363" y="193"/>
                  <a:pt x="1362" y="192"/>
                  <a:pt x="1362" y="193"/>
                </a:cubicBezTo>
                <a:cubicBezTo>
                  <a:pt x="1362" y="195"/>
                  <a:pt x="1363" y="195"/>
                  <a:pt x="1364" y="197"/>
                </a:cubicBezTo>
                <a:cubicBezTo>
                  <a:pt x="1362" y="198"/>
                  <a:pt x="1362" y="198"/>
                  <a:pt x="1362" y="198"/>
                </a:cubicBezTo>
                <a:cubicBezTo>
                  <a:pt x="1362" y="199"/>
                  <a:pt x="1362" y="200"/>
                  <a:pt x="1362" y="200"/>
                </a:cubicBezTo>
                <a:cubicBezTo>
                  <a:pt x="1363" y="201"/>
                  <a:pt x="1363" y="201"/>
                  <a:pt x="1363" y="201"/>
                </a:cubicBezTo>
                <a:cubicBezTo>
                  <a:pt x="1364" y="201"/>
                  <a:pt x="1366" y="200"/>
                  <a:pt x="1367" y="200"/>
                </a:cubicBezTo>
                <a:cubicBezTo>
                  <a:pt x="1367" y="201"/>
                  <a:pt x="1367" y="202"/>
                  <a:pt x="1366" y="202"/>
                </a:cubicBezTo>
                <a:cubicBezTo>
                  <a:pt x="1364" y="202"/>
                  <a:pt x="1364" y="202"/>
                  <a:pt x="1363" y="203"/>
                </a:cubicBezTo>
                <a:cubicBezTo>
                  <a:pt x="1364" y="205"/>
                  <a:pt x="1364" y="205"/>
                  <a:pt x="1364" y="205"/>
                </a:cubicBezTo>
                <a:cubicBezTo>
                  <a:pt x="1365" y="205"/>
                  <a:pt x="1365" y="205"/>
                  <a:pt x="1367" y="204"/>
                </a:cubicBezTo>
                <a:cubicBezTo>
                  <a:pt x="1367" y="205"/>
                  <a:pt x="1367" y="205"/>
                  <a:pt x="1367" y="205"/>
                </a:cubicBezTo>
                <a:cubicBezTo>
                  <a:pt x="1366" y="206"/>
                  <a:pt x="1366" y="206"/>
                  <a:pt x="1366" y="206"/>
                </a:cubicBezTo>
                <a:cubicBezTo>
                  <a:pt x="1364" y="207"/>
                  <a:pt x="1364" y="207"/>
                  <a:pt x="1364" y="207"/>
                </a:cubicBezTo>
                <a:cubicBezTo>
                  <a:pt x="1361" y="208"/>
                  <a:pt x="1361" y="208"/>
                  <a:pt x="1361" y="208"/>
                </a:cubicBezTo>
                <a:cubicBezTo>
                  <a:pt x="1363" y="211"/>
                  <a:pt x="1362" y="212"/>
                  <a:pt x="1361" y="215"/>
                </a:cubicBezTo>
                <a:cubicBezTo>
                  <a:pt x="1363" y="216"/>
                  <a:pt x="1363" y="216"/>
                  <a:pt x="1363" y="216"/>
                </a:cubicBezTo>
                <a:cubicBezTo>
                  <a:pt x="1364" y="215"/>
                  <a:pt x="1366" y="213"/>
                  <a:pt x="1367" y="213"/>
                </a:cubicBezTo>
                <a:cubicBezTo>
                  <a:pt x="1368" y="213"/>
                  <a:pt x="1369" y="213"/>
                  <a:pt x="1370" y="213"/>
                </a:cubicBezTo>
                <a:cubicBezTo>
                  <a:pt x="1370" y="214"/>
                  <a:pt x="1370" y="215"/>
                  <a:pt x="1370" y="215"/>
                </a:cubicBezTo>
                <a:cubicBezTo>
                  <a:pt x="1368" y="215"/>
                  <a:pt x="1368" y="216"/>
                  <a:pt x="1367" y="216"/>
                </a:cubicBezTo>
                <a:cubicBezTo>
                  <a:pt x="1366" y="216"/>
                  <a:pt x="1366" y="216"/>
                  <a:pt x="1366" y="216"/>
                </a:cubicBezTo>
                <a:cubicBezTo>
                  <a:pt x="1365" y="220"/>
                  <a:pt x="1365" y="220"/>
                  <a:pt x="1365" y="220"/>
                </a:cubicBezTo>
                <a:cubicBezTo>
                  <a:pt x="1365" y="220"/>
                  <a:pt x="1366" y="222"/>
                  <a:pt x="1367" y="222"/>
                </a:cubicBezTo>
                <a:cubicBezTo>
                  <a:pt x="1369" y="223"/>
                  <a:pt x="1372" y="224"/>
                  <a:pt x="1372" y="225"/>
                </a:cubicBezTo>
                <a:cubicBezTo>
                  <a:pt x="1372" y="225"/>
                  <a:pt x="1372" y="226"/>
                  <a:pt x="1373" y="226"/>
                </a:cubicBezTo>
                <a:cubicBezTo>
                  <a:pt x="1374" y="226"/>
                  <a:pt x="1377" y="226"/>
                  <a:pt x="1377" y="226"/>
                </a:cubicBezTo>
                <a:cubicBezTo>
                  <a:pt x="1377" y="226"/>
                  <a:pt x="1379" y="227"/>
                  <a:pt x="1379" y="227"/>
                </a:cubicBezTo>
                <a:cubicBezTo>
                  <a:pt x="1379" y="227"/>
                  <a:pt x="1386" y="225"/>
                  <a:pt x="1386" y="225"/>
                </a:cubicBezTo>
                <a:cubicBezTo>
                  <a:pt x="1393" y="222"/>
                  <a:pt x="1393" y="222"/>
                  <a:pt x="1393" y="222"/>
                </a:cubicBezTo>
                <a:cubicBezTo>
                  <a:pt x="1396" y="219"/>
                  <a:pt x="1396" y="219"/>
                  <a:pt x="1396" y="219"/>
                </a:cubicBezTo>
                <a:cubicBezTo>
                  <a:pt x="1398" y="217"/>
                  <a:pt x="1398" y="217"/>
                  <a:pt x="1398" y="217"/>
                </a:cubicBezTo>
                <a:cubicBezTo>
                  <a:pt x="1401" y="217"/>
                  <a:pt x="1401" y="217"/>
                  <a:pt x="1401" y="217"/>
                </a:cubicBezTo>
                <a:cubicBezTo>
                  <a:pt x="1403" y="214"/>
                  <a:pt x="1403" y="215"/>
                  <a:pt x="1403" y="212"/>
                </a:cubicBezTo>
                <a:cubicBezTo>
                  <a:pt x="1405" y="211"/>
                  <a:pt x="1405" y="211"/>
                  <a:pt x="1405" y="211"/>
                </a:cubicBezTo>
                <a:cubicBezTo>
                  <a:pt x="1405" y="215"/>
                  <a:pt x="1405" y="215"/>
                  <a:pt x="1405" y="215"/>
                </a:cubicBezTo>
                <a:cubicBezTo>
                  <a:pt x="1409" y="216"/>
                  <a:pt x="1409" y="216"/>
                  <a:pt x="1409" y="216"/>
                </a:cubicBezTo>
                <a:cubicBezTo>
                  <a:pt x="1410" y="217"/>
                  <a:pt x="1410" y="217"/>
                  <a:pt x="1410" y="217"/>
                </a:cubicBezTo>
                <a:cubicBezTo>
                  <a:pt x="1410" y="218"/>
                  <a:pt x="1410" y="218"/>
                  <a:pt x="1410" y="219"/>
                </a:cubicBezTo>
                <a:cubicBezTo>
                  <a:pt x="1411" y="220"/>
                  <a:pt x="1411" y="221"/>
                  <a:pt x="1411" y="222"/>
                </a:cubicBezTo>
                <a:cubicBezTo>
                  <a:pt x="1412" y="223"/>
                  <a:pt x="1414" y="222"/>
                  <a:pt x="1414" y="223"/>
                </a:cubicBezTo>
                <a:cubicBezTo>
                  <a:pt x="1414" y="224"/>
                  <a:pt x="1413" y="224"/>
                  <a:pt x="1412" y="225"/>
                </a:cubicBezTo>
                <a:cubicBezTo>
                  <a:pt x="1417" y="227"/>
                  <a:pt x="1415" y="226"/>
                  <a:pt x="1414" y="228"/>
                </a:cubicBezTo>
                <a:cubicBezTo>
                  <a:pt x="1414" y="228"/>
                  <a:pt x="1413" y="230"/>
                  <a:pt x="1414" y="230"/>
                </a:cubicBezTo>
                <a:cubicBezTo>
                  <a:pt x="1414" y="230"/>
                  <a:pt x="1416" y="232"/>
                  <a:pt x="1416" y="232"/>
                </a:cubicBezTo>
                <a:cubicBezTo>
                  <a:pt x="1416" y="232"/>
                  <a:pt x="1416" y="232"/>
                  <a:pt x="1416" y="233"/>
                </a:cubicBezTo>
                <a:cubicBezTo>
                  <a:pt x="1417" y="234"/>
                  <a:pt x="1418" y="235"/>
                  <a:pt x="1418" y="235"/>
                </a:cubicBezTo>
                <a:cubicBezTo>
                  <a:pt x="1420" y="234"/>
                  <a:pt x="1419" y="239"/>
                  <a:pt x="1421" y="239"/>
                </a:cubicBezTo>
                <a:cubicBezTo>
                  <a:pt x="1422" y="239"/>
                  <a:pt x="1422" y="240"/>
                  <a:pt x="1423" y="241"/>
                </a:cubicBezTo>
                <a:cubicBezTo>
                  <a:pt x="1425" y="243"/>
                  <a:pt x="1425" y="243"/>
                  <a:pt x="1425" y="243"/>
                </a:cubicBezTo>
                <a:cubicBezTo>
                  <a:pt x="1423" y="243"/>
                  <a:pt x="1423" y="244"/>
                  <a:pt x="1421" y="244"/>
                </a:cubicBezTo>
                <a:cubicBezTo>
                  <a:pt x="1422" y="245"/>
                  <a:pt x="1422" y="245"/>
                  <a:pt x="1422" y="245"/>
                </a:cubicBezTo>
                <a:cubicBezTo>
                  <a:pt x="1420" y="246"/>
                  <a:pt x="1420" y="246"/>
                  <a:pt x="1420" y="246"/>
                </a:cubicBezTo>
                <a:cubicBezTo>
                  <a:pt x="1419" y="247"/>
                  <a:pt x="1423" y="248"/>
                  <a:pt x="1424" y="248"/>
                </a:cubicBezTo>
                <a:cubicBezTo>
                  <a:pt x="1424" y="249"/>
                  <a:pt x="1424" y="251"/>
                  <a:pt x="1424" y="252"/>
                </a:cubicBezTo>
                <a:cubicBezTo>
                  <a:pt x="1425" y="252"/>
                  <a:pt x="1424" y="253"/>
                  <a:pt x="1424" y="253"/>
                </a:cubicBezTo>
                <a:cubicBezTo>
                  <a:pt x="1425" y="254"/>
                  <a:pt x="1425" y="254"/>
                  <a:pt x="1425" y="254"/>
                </a:cubicBezTo>
                <a:cubicBezTo>
                  <a:pt x="1427" y="254"/>
                  <a:pt x="1428" y="255"/>
                  <a:pt x="1429" y="255"/>
                </a:cubicBezTo>
                <a:cubicBezTo>
                  <a:pt x="1430" y="254"/>
                  <a:pt x="1430" y="254"/>
                  <a:pt x="1430" y="254"/>
                </a:cubicBezTo>
                <a:cubicBezTo>
                  <a:pt x="1431" y="254"/>
                  <a:pt x="1429" y="254"/>
                  <a:pt x="1431" y="254"/>
                </a:cubicBezTo>
                <a:cubicBezTo>
                  <a:pt x="1433" y="254"/>
                  <a:pt x="1435" y="255"/>
                  <a:pt x="1435" y="255"/>
                </a:cubicBezTo>
                <a:cubicBezTo>
                  <a:pt x="1437" y="253"/>
                  <a:pt x="1437" y="253"/>
                  <a:pt x="1437" y="253"/>
                </a:cubicBezTo>
                <a:cubicBezTo>
                  <a:pt x="1436" y="252"/>
                  <a:pt x="1436" y="252"/>
                  <a:pt x="1436" y="252"/>
                </a:cubicBezTo>
                <a:cubicBezTo>
                  <a:pt x="1436" y="251"/>
                  <a:pt x="1436" y="250"/>
                  <a:pt x="1436" y="249"/>
                </a:cubicBezTo>
                <a:cubicBezTo>
                  <a:pt x="1439" y="246"/>
                  <a:pt x="1439" y="246"/>
                  <a:pt x="1439" y="246"/>
                </a:cubicBezTo>
                <a:cubicBezTo>
                  <a:pt x="1447" y="246"/>
                  <a:pt x="1447" y="246"/>
                  <a:pt x="1447" y="246"/>
                </a:cubicBezTo>
                <a:cubicBezTo>
                  <a:pt x="1448" y="247"/>
                  <a:pt x="1448" y="247"/>
                  <a:pt x="1448" y="247"/>
                </a:cubicBezTo>
                <a:cubicBezTo>
                  <a:pt x="1448" y="246"/>
                  <a:pt x="1449" y="245"/>
                  <a:pt x="1450" y="245"/>
                </a:cubicBezTo>
                <a:cubicBezTo>
                  <a:pt x="1452" y="240"/>
                  <a:pt x="1452" y="240"/>
                  <a:pt x="1452" y="240"/>
                </a:cubicBezTo>
                <a:cubicBezTo>
                  <a:pt x="1452" y="244"/>
                  <a:pt x="1452" y="242"/>
                  <a:pt x="1452" y="244"/>
                </a:cubicBezTo>
                <a:cubicBezTo>
                  <a:pt x="1452" y="245"/>
                  <a:pt x="1452" y="245"/>
                  <a:pt x="1452" y="245"/>
                </a:cubicBezTo>
                <a:cubicBezTo>
                  <a:pt x="1451" y="247"/>
                  <a:pt x="1453" y="246"/>
                  <a:pt x="1453" y="245"/>
                </a:cubicBezTo>
                <a:cubicBezTo>
                  <a:pt x="1453" y="243"/>
                  <a:pt x="1453" y="243"/>
                  <a:pt x="1454" y="242"/>
                </a:cubicBezTo>
                <a:cubicBezTo>
                  <a:pt x="1457" y="238"/>
                  <a:pt x="1456" y="238"/>
                  <a:pt x="1457" y="236"/>
                </a:cubicBezTo>
                <a:cubicBezTo>
                  <a:pt x="1457" y="235"/>
                  <a:pt x="1458" y="234"/>
                  <a:pt x="1458" y="234"/>
                </a:cubicBezTo>
                <a:cubicBezTo>
                  <a:pt x="1456" y="236"/>
                  <a:pt x="1454" y="239"/>
                  <a:pt x="1452" y="240"/>
                </a:cubicBezTo>
                <a:cubicBezTo>
                  <a:pt x="1452" y="239"/>
                  <a:pt x="1452" y="239"/>
                  <a:pt x="1452" y="239"/>
                </a:cubicBezTo>
                <a:cubicBezTo>
                  <a:pt x="1453" y="237"/>
                  <a:pt x="1453" y="237"/>
                  <a:pt x="1453" y="237"/>
                </a:cubicBezTo>
                <a:cubicBezTo>
                  <a:pt x="1453" y="236"/>
                  <a:pt x="1452" y="236"/>
                  <a:pt x="1453" y="235"/>
                </a:cubicBezTo>
                <a:cubicBezTo>
                  <a:pt x="1453" y="235"/>
                  <a:pt x="1454" y="233"/>
                  <a:pt x="1454" y="233"/>
                </a:cubicBezTo>
                <a:cubicBezTo>
                  <a:pt x="1451" y="232"/>
                  <a:pt x="1454" y="229"/>
                  <a:pt x="1454" y="227"/>
                </a:cubicBezTo>
                <a:cubicBezTo>
                  <a:pt x="1454" y="225"/>
                  <a:pt x="1454" y="225"/>
                  <a:pt x="1454" y="225"/>
                </a:cubicBezTo>
                <a:cubicBezTo>
                  <a:pt x="1452" y="223"/>
                  <a:pt x="1451" y="223"/>
                  <a:pt x="1454" y="223"/>
                </a:cubicBezTo>
                <a:cubicBezTo>
                  <a:pt x="1454" y="222"/>
                  <a:pt x="1454" y="222"/>
                  <a:pt x="1454" y="222"/>
                </a:cubicBezTo>
                <a:cubicBezTo>
                  <a:pt x="1452" y="221"/>
                  <a:pt x="1452" y="221"/>
                  <a:pt x="1452" y="221"/>
                </a:cubicBezTo>
                <a:cubicBezTo>
                  <a:pt x="1454" y="221"/>
                  <a:pt x="1454" y="221"/>
                  <a:pt x="1456" y="222"/>
                </a:cubicBezTo>
                <a:cubicBezTo>
                  <a:pt x="1456" y="220"/>
                  <a:pt x="1456" y="220"/>
                  <a:pt x="1456" y="220"/>
                </a:cubicBezTo>
                <a:cubicBezTo>
                  <a:pt x="1459" y="219"/>
                  <a:pt x="1458" y="219"/>
                  <a:pt x="1460" y="218"/>
                </a:cubicBezTo>
                <a:cubicBezTo>
                  <a:pt x="1461" y="217"/>
                  <a:pt x="1461" y="217"/>
                  <a:pt x="1461" y="217"/>
                </a:cubicBezTo>
                <a:cubicBezTo>
                  <a:pt x="1461" y="219"/>
                  <a:pt x="1461" y="219"/>
                  <a:pt x="1461" y="219"/>
                </a:cubicBezTo>
                <a:cubicBezTo>
                  <a:pt x="1461" y="219"/>
                  <a:pt x="1463" y="220"/>
                  <a:pt x="1463" y="220"/>
                </a:cubicBezTo>
                <a:cubicBezTo>
                  <a:pt x="1463" y="219"/>
                  <a:pt x="1463" y="217"/>
                  <a:pt x="1463" y="217"/>
                </a:cubicBezTo>
                <a:cubicBezTo>
                  <a:pt x="1465" y="216"/>
                  <a:pt x="1465" y="216"/>
                  <a:pt x="1465" y="216"/>
                </a:cubicBezTo>
                <a:cubicBezTo>
                  <a:pt x="1465" y="216"/>
                  <a:pt x="1466" y="215"/>
                  <a:pt x="1466" y="215"/>
                </a:cubicBezTo>
                <a:cubicBezTo>
                  <a:pt x="1466" y="215"/>
                  <a:pt x="1466" y="213"/>
                  <a:pt x="1466" y="213"/>
                </a:cubicBezTo>
                <a:cubicBezTo>
                  <a:pt x="1467" y="212"/>
                  <a:pt x="1467" y="212"/>
                  <a:pt x="1469" y="211"/>
                </a:cubicBezTo>
                <a:cubicBezTo>
                  <a:pt x="1470" y="210"/>
                  <a:pt x="1470" y="210"/>
                  <a:pt x="1470" y="210"/>
                </a:cubicBezTo>
                <a:cubicBezTo>
                  <a:pt x="1470" y="210"/>
                  <a:pt x="1471" y="210"/>
                  <a:pt x="1470" y="209"/>
                </a:cubicBezTo>
                <a:cubicBezTo>
                  <a:pt x="1469" y="207"/>
                  <a:pt x="1469" y="207"/>
                  <a:pt x="1467" y="206"/>
                </a:cubicBezTo>
                <a:cubicBezTo>
                  <a:pt x="1465" y="205"/>
                  <a:pt x="1463" y="201"/>
                  <a:pt x="1460" y="202"/>
                </a:cubicBezTo>
                <a:cubicBezTo>
                  <a:pt x="1459" y="202"/>
                  <a:pt x="1458" y="200"/>
                  <a:pt x="1456" y="200"/>
                </a:cubicBezTo>
                <a:cubicBezTo>
                  <a:pt x="1454" y="200"/>
                  <a:pt x="1455" y="197"/>
                  <a:pt x="1455" y="196"/>
                </a:cubicBezTo>
                <a:cubicBezTo>
                  <a:pt x="1455" y="192"/>
                  <a:pt x="1455" y="196"/>
                  <a:pt x="1455" y="191"/>
                </a:cubicBezTo>
                <a:cubicBezTo>
                  <a:pt x="1457" y="191"/>
                  <a:pt x="1457" y="191"/>
                  <a:pt x="1457" y="191"/>
                </a:cubicBezTo>
                <a:cubicBezTo>
                  <a:pt x="1457" y="187"/>
                  <a:pt x="1456" y="189"/>
                  <a:pt x="1458" y="186"/>
                </a:cubicBezTo>
                <a:cubicBezTo>
                  <a:pt x="1456" y="184"/>
                  <a:pt x="1456" y="184"/>
                  <a:pt x="1456" y="184"/>
                </a:cubicBezTo>
                <a:cubicBezTo>
                  <a:pt x="1456" y="184"/>
                  <a:pt x="1456" y="183"/>
                  <a:pt x="1456" y="183"/>
                </a:cubicBezTo>
                <a:cubicBezTo>
                  <a:pt x="1457" y="183"/>
                  <a:pt x="1458" y="182"/>
                  <a:pt x="1458" y="182"/>
                </a:cubicBezTo>
                <a:cubicBezTo>
                  <a:pt x="1459" y="182"/>
                  <a:pt x="1460" y="179"/>
                  <a:pt x="1460" y="179"/>
                </a:cubicBezTo>
                <a:cubicBezTo>
                  <a:pt x="1460" y="179"/>
                  <a:pt x="1464" y="179"/>
                  <a:pt x="1464" y="178"/>
                </a:cubicBezTo>
                <a:cubicBezTo>
                  <a:pt x="1464" y="178"/>
                  <a:pt x="1464" y="176"/>
                  <a:pt x="1464" y="176"/>
                </a:cubicBezTo>
                <a:cubicBezTo>
                  <a:pt x="1467" y="175"/>
                  <a:pt x="1467" y="174"/>
                  <a:pt x="1469" y="175"/>
                </a:cubicBezTo>
                <a:cubicBezTo>
                  <a:pt x="1469" y="173"/>
                  <a:pt x="1469" y="173"/>
                  <a:pt x="1471" y="173"/>
                </a:cubicBezTo>
                <a:cubicBezTo>
                  <a:pt x="1471" y="172"/>
                  <a:pt x="1472" y="173"/>
                  <a:pt x="1473" y="173"/>
                </a:cubicBezTo>
                <a:cubicBezTo>
                  <a:pt x="1474" y="173"/>
                  <a:pt x="1475" y="171"/>
                  <a:pt x="1476" y="171"/>
                </a:cubicBezTo>
                <a:cubicBezTo>
                  <a:pt x="1476" y="170"/>
                  <a:pt x="1479" y="170"/>
                  <a:pt x="1479" y="169"/>
                </a:cubicBezTo>
                <a:cubicBezTo>
                  <a:pt x="1479" y="169"/>
                  <a:pt x="1483" y="167"/>
                  <a:pt x="1483" y="167"/>
                </a:cubicBezTo>
                <a:cubicBezTo>
                  <a:pt x="1484" y="166"/>
                  <a:pt x="1482" y="166"/>
                  <a:pt x="1486" y="164"/>
                </a:cubicBezTo>
                <a:cubicBezTo>
                  <a:pt x="1485" y="162"/>
                  <a:pt x="1485" y="162"/>
                  <a:pt x="1485" y="162"/>
                </a:cubicBezTo>
                <a:cubicBezTo>
                  <a:pt x="1481" y="159"/>
                  <a:pt x="1481" y="159"/>
                  <a:pt x="1481" y="159"/>
                </a:cubicBezTo>
                <a:cubicBezTo>
                  <a:pt x="1484" y="157"/>
                  <a:pt x="1484" y="157"/>
                  <a:pt x="1484" y="157"/>
                </a:cubicBezTo>
                <a:cubicBezTo>
                  <a:pt x="1485" y="157"/>
                  <a:pt x="1485" y="157"/>
                  <a:pt x="1485" y="154"/>
                </a:cubicBezTo>
                <a:cubicBezTo>
                  <a:pt x="1488" y="154"/>
                  <a:pt x="1487" y="154"/>
                  <a:pt x="1489" y="152"/>
                </a:cubicBezTo>
                <a:cubicBezTo>
                  <a:pt x="1491" y="151"/>
                  <a:pt x="1490" y="151"/>
                  <a:pt x="1491" y="149"/>
                </a:cubicBezTo>
                <a:cubicBezTo>
                  <a:pt x="1493" y="149"/>
                  <a:pt x="1491" y="151"/>
                  <a:pt x="1495" y="150"/>
                </a:cubicBezTo>
                <a:cubicBezTo>
                  <a:pt x="1495" y="150"/>
                  <a:pt x="1497" y="151"/>
                  <a:pt x="1497" y="151"/>
                </a:cubicBezTo>
                <a:cubicBezTo>
                  <a:pt x="1497" y="151"/>
                  <a:pt x="1500" y="149"/>
                  <a:pt x="1501" y="150"/>
                </a:cubicBezTo>
                <a:cubicBezTo>
                  <a:pt x="1502" y="151"/>
                  <a:pt x="1505" y="151"/>
                  <a:pt x="1505" y="151"/>
                </a:cubicBezTo>
                <a:cubicBezTo>
                  <a:pt x="1505" y="150"/>
                  <a:pt x="1505" y="150"/>
                  <a:pt x="1505" y="150"/>
                </a:cubicBezTo>
                <a:cubicBezTo>
                  <a:pt x="1502" y="149"/>
                  <a:pt x="1502" y="149"/>
                  <a:pt x="1502" y="149"/>
                </a:cubicBezTo>
                <a:cubicBezTo>
                  <a:pt x="1501" y="147"/>
                  <a:pt x="1501" y="146"/>
                  <a:pt x="1500" y="145"/>
                </a:cubicBezTo>
                <a:cubicBezTo>
                  <a:pt x="1501" y="146"/>
                  <a:pt x="1501" y="147"/>
                  <a:pt x="1502" y="149"/>
                </a:cubicBezTo>
                <a:cubicBezTo>
                  <a:pt x="1503" y="149"/>
                  <a:pt x="1503" y="149"/>
                  <a:pt x="1504" y="150"/>
                </a:cubicBezTo>
                <a:cubicBezTo>
                  <a:pt x="1508" y="151"/>
                  <a:pt x="1508" y="151"/>
                  <a:pt x="1511" y="152"/>
                </a:cubicBezTo>
                <a:cubicBezTo>
                  <a:pt x="1513" y="155"/>
                  <a:pt x="1513" y="155"/>
                  <a:pt x="1513" y="158"/>
                </a:cubicBezTo>
                <a:cubicBezTo>
                  <a:pt x="1513" y="159"/>
                  <a:pt x="1509" y="160"/>
                  <a:pt x="1508" y="160"/>
                </a:cubicBezTo>
                <a:cubicBezTo>
                  <a:pt x="1507" y="160"/>
                  <a:pt x="1505" y="162"/>
                  <a:pt x="1505" y="162"/>
                </a:cubicBezTo>
                <a:cubicBezTo>
                  <a:pt x="1504" y="163"/>
                  <a:pt x="1503" y="164"/>
                  <a:pt x="1502" y="165"/>
                </a:cubicBezTo>
                <a:cubicBezTo>
                  <a:pt x="1501" y="166"/>
                  <a:pt x="1501" y="170"/>
                  <a:pt x="1496" y="170"/>
                </a:cubicBezTo>
                <a:cubicBezTo>
                  <a:pt x="1495" y="170"/>
                  <a:pt x="1494" y="172"/>
                  <a:pt x="1494" y="173"/>
                </a:cubicBezTo>
                <a:cubicBezTo>
                  <a:pt x="1494" y="174"/>
                  <a:pt x="1489" y="175"/>
                  <a:pt x="1489" y="176"/>
                </a:cubicBezTo>
                <a:cubicBezTo>
                  <a:pt x="1489" y="176"/>
                  <a:pt x="1486" y="178"/>
                  <a:pt x="1486" y="179"/>
                </a:cubicBezTo>
                <a:cubicBezTo>
                  <a:pt x="1486" y="179"/>
                  <a:pt x="1485" y="182"/>
                  <a:pt x="1485" y="182"/>
                </a:cubicBezTo>
                <a:cubicBezTo>
                  <a:pt x="1485" y="183"/>
                  <a:pt x="1486" y="183"/>
                  <a:pt x="1486" y="184"/>
                </a:cubicBezTo>
                <a:cubicBezTo>
                  <a:pt x="1486" y="185"/>
                  <a:pt x="1487" y="186"/>
                  <a:pt x="1487" y="188"/>
                </a:cubicBezTo>
                <a:cubicBezTo>
                  <a:pt x="1487" y="189"/>
                  <a:pt x="1488" y="190"/>
                  <a:pt x="1488" y="192"/>
                </a:cubicBezTo>
                <a:cubicBezTo>
                  <a:pt x="1488" y="193"/>
                  <a:pt x="1488" y="194"/>
                  <a:pt x="1488" y="195"/>
                </a:cubicBezTo>
                <a:cubicBezTo>
                  <a:pt x="1488" y="197"/>
                  <a:pt x="1488" y="198"/>
                  <a:pt x="1489" y="201"/>
                </a:cubicBezTo>
                <a:cubicBezTo>
                  <a:pt x="1490" y="202"/>
                  <a:pt x="1492" y="202"/>
                  <a:pt x="1493" y="203"/>
                </a:cubicBezTo>
                <a:cubicBezTo>
                  <a:pt x="1494" y="203"/>
                  <a:pt x="1494" y="203"/>
                  <a:pt x="1495" y="203"/>
                </a:cubicBezTo>
                <a:cubicBezTo>
                  <a:pt x="1495" y="204"/>
                  <a:pt x="1496" y="205"/>
                  <a:pt x="1496" y="206"/>
                </a:cubicBezTo>
                <a:cubicBezTo>
                  <a:pt x="1497" y="206"/>
                  <a:pt x="1498" y="206"/>
                  <a:pt x="1498" y="205"/>
                </a:cubicBezTo>
                <a:cubicBezTo>
                  <a:pt x="1498" y="205"/>
                  <a:pt x="1500" y="207"/>
                  <a:pt x="1501" y="208"/>
                </a:cubicBezTo>
                <a:cubicBezTo>
                  <a:pt x="1502" y="209"/>
                  <a:pt x="1503" y="208"/>
                  <a:pt x="1503" y="208"/>
                </a:cubicBezTo>
                <a:cubicBezTo>
                  <a:pt x="1503" y="208"/>
                  <a:pt x="1505" y="208"/>
                  <a:pt x="1507" y="208"/>
                </a:cubicBezTo>
                <a:cubicBezTo>
                  <a:pt x="1513" y="207"/>
                  <a:pt x="1512" y="207"/>
                  <a:pt x="1514" y="206"/>
                </a:cubicBezTo>
                <a:cubicBezTo>
                  <a:pt x="1518" y="204"/>
                  <a:pt x="1520" y="205"/>
                  <a:pt x="1521" y="205"/>
                </a:cubicBezTo>
                <a:cubicBezTo>
                  <a:pt x="1521" y="205"/>
                  <a:pt x="1525" y="203"/>
                  <a:pt x="1527" y="202"/>
                </a:cubicBezTo>
                <a:cubicBezTo>
                  <a:pt x="1528" y="202"/>
                  <a:pt x="1532" y="202"/>
                  <a:pt x="1532" y="202"/>
                </a:cubicBezTo>
                <a:cubicBezTo>
                  <a:pt x="1537" y="202"/>
                  <a:pt x="1534" y="203"/>
                  <a:pt x="1538" y="202"/>
                </a:cubicBezTo>
                <a:cubicBezTo>
                  <a:pt x="1538" y="202"/>
                  <a:pt x="1538" y="202"/>
                  <a:pt x="1538" y="202"/>
                </a:cubicBezTo>
                <a:cubicBezTo>
                  <a:pt x="1542" y="203"/>
                  <a:pt x="1542" y="200"/>
                  <a:pt x="1545" y="200"/>
                </a:cubicBezTo>
                <a:cubicBezTo>
                  <a:pt x="1546" y="202"/>
                  <a:pt x="1545" y="207"/>
                  <a:pt x="1551" y="205"/>
                </a:cubicBezTo>
                <a:cubicBezTo>
                  <a:pt x="1553" y="205"/>
                  <a:pt x="1555" y="205"/>
                  <a:pt x="1555" y="205"/>
                </a:cubicBezTo>
                <a:cubicBezTo>
                  <a:pt x="1556" y="206"/>
                  <a:pt x="1558" y="206"/>
                  <a:pt x="1557" y="207"/>
                </a:cubicBezTo>
                <a:cubicBezTo>
                  <a:pt x="1557" y="208"/>
                  <a:pt x="1556" y="209"/>
                  <a:pt x="1555" y="209"/>
                </a:cubicBezTo>
                <a:cubicBezTo>
                  <a:pt x="1550" y="208"/>
                  <a:pt x="1550" y="208"/>
                  <a:pt x="1550" y="208"/>
                </a:cubicBezTo>
                <a:cubicBezTo>
                  <a:pt x="1550" y="208"/>
                  <a:pt x="1549" y="207"/>
                  <a:pt x="1548" y="208"/>
                </a:cubicBezTo>
                <a:cubicBezTo>
                  <a:pt x="1547" y="209"/>
                  <a:pt x="1545" y="209"/>
                  <a:pt x="1545" y="209"/>
                </a:cubicBezTo>
                <a:cubicBezTo>
                  <a:pt x="1543" y="209"/>
                  <a:pt x="1543" y="209"/>
                  <a:pt x="1543" y="209"/>
                </a:cubicBezTo>
                <a:cubicBezTo>
                  <a:pt x="1541" y="209"/>
                  <a:pt x="1541" y="209"/>
                  <a:pt x="1541" y="209"/>
                </a:cubicBezTo>
                <a:cubicBezTo>
                  <a:pt x="1541" y="211"/>
                  <a:pt x="1541" y="212"/>
                  <a:pt x="1541" y="213"/>
                </a:cubicBezTo>
                <a:cubicBezTo>
                  <a:pt x="1538" y="213"/>
                  <a:pt x="1538" y="213"/>
                  <a:pt x="1538" y="213"/>
                </a:cubicBezTo>
                <a:cubicBezTo>
                  <a:pt x="1535" y="212"/>
                  <a:pt x="1535" y="212"/>
                  <a:pt x="1535" y="212"/>
                </a:cubicBezTo>
                <a:cubicBezTo>
                  <a:pt x="1535" y="212"/>
                  <a:pt x="1535" y="213"/>
                  <a:pt x="1532" y="213"/>
                </a:cubicBezTo>
                <a:cubicBezTo>
                  <a:pt x="1531" y="211"/>
                  <a:pt x="1531" y="212"/>
                  <a:pt x="1528" y="211"/>
                </a:cubicBezTo>
                <a:cubicBezTo>
                  <a:pt x="1524" y="211"/>
                  <a:pt x="1525" y="210"/>
                  <a:pt x="1520" y="211"/>
                </a:cubicBezTo>
                <a:cubicBezTo>
                  <a:pt x="1515" y="213"/>
                  <a:pt x="1519" y="212"/>
                  <a:pt x="1515" y="212"/>
                </a:cubicBezTo>
                <a:cubicBezTo>
                  <a:pt x="1513" y="212"/>
                  <a:pt x="1513" y="212"/>
                  <a:pt x="1513" y="212"/>
                </a:cubicBezTo>
                <a:cubicBezTo>
                  <a:pt x="1512" y="213"/>
                  <a:pt x="1512" y="213"/>
                  <a:pt x="1512" y="213"/>
                </a:cubicBezTo>
                <a:cubicBezTo>
                  <a:pt x="1509" y="214"/>
                  <a:pt x="1509" y="214"/>
                  <a:pt x="1509" y="214"/>
                </a:cubicBezTo>
                <a:cubicBezTo>
                  <a:pt x="1508" y="214"/>
                  <a:pt x="1505" y="216"/>
                  <a:pt x="1505" y="217"/>
                </a:cubicBezTo>
                <a:cubicBezTo>
                  <a:pt x="1505" y="220"/>
                  <a:pt x="1506" y="220"/>
                  <a:pt x="1509" y="220"/>
                </a:cubicBezTo>
                <a:cubicBezTo>
                  <a:pt x="1508" y="220"/>
                  <a:pt x="1507" y="220"/>
                  <a:pt x="1507" y="220"/>
                </a:cubicBezTo>
                <a:cubicBezTo>
                  <a:pt x="1506" y="220"/>
                  <a:pt x="1506" y="221"/>
                  <a:pt x="1506" y="221"/>
                </a:cubicBezTo>
                <a:cubicBezTo>
                  <a:pt x="1507" y="222"/>
                  <a:pt x="1509" y="222"/>
                  <a:pt x="1509" y="223"/>
                </a:cubicBezTo>
                <a:cubicBezTo>
                  <a:pt x="1510" y="223"/>
                  <a:pt x="1509" y="225"/>
                  <a:pt x="1510" y="225"/>
                </a:cubicBezTo>
                <a:cubicBezTo>
                  <a:pt x="1511" y="226"/>
                  <a:pt x="1515" y="223"/>
                  <a:pt x="1516" y="224"/>
                </a:cubicBezTo>
                <a:cubicBezTo>
                  <a:pt x="1516" y="225"/>
                  <a:pt x="1514" y="227"/>
                  <a:pt x="1513" y="228"/>
                </a:cubicBezTo>
                <a:cubicBezTo>
                  <a:pt x="1513" y="229"/>
                  <a:pt x="1513" y="230"/>
                  <a:pt x="1513" y="230"/>
                </a:cubicBezTo>
                <a:cubicBezTo>
                  <a:pt x="1514" y="230"/>
                  <a:pt x="1514" y="228"/>
                  <a:pt x="1515" y="228"/>
                </a:cubicBezTo>
                <a:cubicBezTo>
                  <a:pt x="1517" y="228"/>
                  <a:pt x="1517" y="228"/>
                  <a:pt x="1517" y="228"/>
                </a:cubicBezTo>
                <a:cubicBezTo>
                  <a:pt x="1516" y="228"/>
                  <a:pt x="1515" y="229"/>
                  <a:pt x="1515" y="229"/>
                </a:cubicBezTo>
                <a:cubicBezTo>
                  <a:pt x="1514" y="230"/>
                  <a:pt x="1515" y="232"/>
                  <a:pt x="1514" y="232"/>
                </a:cubicBezTo>
                <a:cubicBezTo>
                  <a:pt x="1514" y="233"/>
                  <a:pt x="1516" y="232"/>
                  <a:pt x="1516" y="234"/>
                </a:cubicBezTo>
                <a:cubicBezTo>
                  <a:pt x="1516" y="235"/>
                  <a:pt x="1516" y="236"/>
                  <a:pt x="1515" y="236"/>
                </a:cubicBezTo>
                <a:cubicBezTo>
                  <a:pt x="1515" y="237"/>
                  <a:pt x="1514" y="239"/>
                  <a:pt x="1512" y="238"/>
                </a:cubicBezTo>
                <a:cubicBezTo>
                  <a:pt x="1512" y="238"/>
                  <a:pt x="1512" y="238"/>
                  <a:pt x="1511" y="239"/>
                </a:cubicBezTo>
                <a:cubicBezTo>
                  <a:pt x="1510" y="239"/>
                  <a:pt x="1509" y="239"/>
                  <a:pt x="1509" y="238"/>
                </a:cubicBezTo>
                <a:cubicBezTo>
                  <a:pt x="1508" y="237"/>
                  <a:pt x="1507" y="237"/>
                  <a:pt x="1507" y="237"/>
                </a:cubicBezTo>
                <a:cubicBezTo>
                  <a:pt x="1506" y="236"/>
                  <a:pt x="1505" y="235"/>
                  <a:pt x="1505" y="235"/>
                </a:cubicBezTo>
                <a:cubicBezTo>
                  <a:pt x="1504" y="234"/>
                  <a:pt x="1503" y="235"/>
                  <a:pt x="1502" y="232"/>
                </a:cubicBezTo>
                <a:cubicBezTo>
                  <a:pt x="1501" y="232"/>
                  <a:pt x="1501" y="231"/>
                  <a:pt x="1501" y="230"/>
                </a:cubicBezTo>
                <a:cubicBezTo>
                  <a:pt x="1501" y="230"/>
                  <a:pt x="1499" y="229"/>
                  <a:pt x="1499" y="229"/>
                </a:cubicBezTo>
                <a:cubicBezTo>
                  <a:pt x="1499" y="229"/>
                  <a:pt x="1498" y="230"/>
                  <a:pt x="1498" y="230"/>
                </a:cubicBezTo>
                <a:cubicBezTo>
                  <a:pt x="1498" y="230"/>
                  <a:pt x="1497" y="232"/>
                  <a:pt x="1497" y="231"/>
                </a:cubicBezTo>
                <a:cubicBezTo>
                  <a:pt x="1496" y="231"/>
                  <a:pt x="1495" y="231"/>
                  <a:pt x="1495" y="231"/>
                </a:cubicBezTo>
                <a:cubicBezTo>
                  <a:pt x="1493" y="232"/>
                  <a:pt x="1493" y="232"/>
                  <a:pt x="1493" y="232"/>
                </a:cubicBezTo>
                <a:cubicBezTo>
                  <a:pt x="1493" y="232"/>
                  <a:pt x="1493" y="233"/>
                  <a:pt x="1493" y="233"/>
                </a:cubicBezTo>
                <a:cubicBezTo>
                  <a:pt x="1492" y="236"/>
                  <a:pt x="1492" y="236"/>
                  <a:pt x="1492" y="236"/>
                </a:cubicBezTo>
                <a:cubicBezTo>
                  <a:pt x="1490" y="239"/>
                  <a:pt x="1490" y="239"/>
                  <a:pt x="1490" y="239"/>
                </a:cubicBezTo>
                <a:cubicBezTo>
                  <a:pt x="1489" y="245"/>
                  <a:pt x="1489" y="245"/>
                  <a:pt x="1489" y="245"/>
                </a:cubicBezTo>
                <a:cubicBezTo>
                  <a:pt x="1490" y="247"/>
                  <a:pt x="1490" y="247"/>
                  <a:pt x="1490" y="247"/>
                </a:cubicBezTo>
                <a:cubicBezTo>
                  <a:pt x="1490" y="247"/>
                  <a:pt x="1489" y="247"/>
                  <a:pt x="1489" y="247"/>
                </a:cubicBezTo>
                <a:cubicBezTo>
                  <a:pt x="1490" y="250"/>
                  <a:pt x="1490" y="250"/>
                  <a:pt x="1490" y="250"/>
                </a:cubicBezTo>
                <a:cubicBezTo>
                  <a:pt x="1491" y="253"/>
                  <a:pt x="1491" y="251"/>
                  <a:pt x="1490" y="255"/>
                </a:cubicBezTo>
                <a:cubicBezTo>
                  <a:pt x="1491" y="256"/>
                  <a:pt x="1491" y="256"/>
                  <a:pt x="1492" y="256"/>
                </a:cubicBezTo>
                <a:cubicBezTo>
                  <a:pt x="1492" y="256"/>
                  <a:pt x="1492" y="256"/>
                  <a:pt x="1492" y="256"/>
                </a:cubicBezTo>
                <a:cubicBezTo>
                  <a:pt x="1491" y="257"/>
                  <a:pt x="1491" y="257"/>
                  <a:pt x="1491" y="257"/>
                </a:cubicBezTo>
                <a:cubicBezTo>
                  <a:pt x="1490" y="260"/>
                  <a:pt x="1491" y="259"/>
                  <a:pt x="1490" y="259"/>
                </a:cubicBezTo>
                <a:cubicBezTo>
                  <a:pt x="1489" y="260"/>
                  <a:pt x="1487" y="259"/>
                  <a:pt x="1486" y="259"/>
                </a:cubicBezTo>
                <a:cubicBezTo>
                  <a:pt x="1486" y="259"/>
                  <a:pt x="1482" y="259"/>
                  <a:pt x="1482" y="260"/>
                </a:cubicBezTo>
                <a:cubicBezTo>
                  <a:pt x="1482" y="260"/>
                  <a:pt x="1482" y="261"/>
                  <a:pt x="1482" y="262"/>
                </a:cubicBezTo>
                <a:cubicBezTo>
                  <a:pt x="1482" y="262"/>
                  <a:pt x="1482" y="262"/>
                  <a:pt x="1482" y="262"/>
                </a:cubicBezTo>
                <a:cubicBezTo>
                  <a:pt x="1483" y="262"/>
                  <a:pt x="1483" y="262"/>
                  <a:pt x="1484" y="263"/>
                </a:cubicBezTo>
                <a:cubicBezTo>
                  <a:pt x="1481" y="265"/>
                  <a:pt x="1481" y="265"/>
                  <a:pt x="1481" y="265"/>
                </a:cubicBezTo>
                <a:cubicBezTo>
                  <a:pt x="1481" y="265"/>
                  <a:pt x="1481" y="265"/>
                  <a:pt x="1481" y="265"/>
                </a:cubicBezTo>
                <a:cubicBezTo>
                  <a:pt x="1475" y="265"/>
                  <a:pt x="1475" y="265"/>
                  <a:pt x="1475" y="265"/>
                </a:cubicBezTo>
                <a:cubicBezTo>
                  <a:pt x="1474" y="265"/>
                  <a:pt x="1473" y="265"/>
                  <a:pt x="1472" y="265"/>
                </a:cubicBezTo>
                <a:cubicBezTo>
                  <a:pt x="1470" y="263"/>
                  <a:pt x="1470" y="263"/>
                  <a:pt x="1470" y="263"/>
                </a:cubicBezTo>
                <a:cubicBezTo>
                  <a:pt x="1467" y="260"/>
                  <a:pt x="1471" y="262"/>
                  <a:pt x="1472" y="262"/>
                </a:cubicBezTo>
                <a:cubicBezTo>
                  <a:pt x="1472" y="262"/>
                  <a:pt x="1472" y="262"/>
                  <a:pt x="1472" y="262"/>
                </a:cubicBezTo>
                <a:cubicBezTo>
                  <a:pt x="1469" y="260"/>
                  <a:pt x="1469" y="260"/>
                  <a:pt x="1469" y="260"/>
                </a:cubicBezTo>
                <a:cubicBezTo>
                  <a:pt x="1467" y="260"/>
                  <a:pt x="1465" y="260"/>
                  <a:pt x="1464" y="260"/>
                </a:cubicBezTo>
                <a:cubicBezTo>
                  <a:pt x="1464" y="260"/>
                  <a:pt x="1462" y="260"/>
                  <a:pt x="1461" y="260"/>
                </a:cubicBezTo>
                <a:cubicBezTo>
                  <a:pt x="1460" y="260"/>
                  <a:pt x="1458" y="262"/>
                  <a:pt x="1458" y="263"/>
                </a:cubicBezTo>
                <a:cubicBezTo>
                  <a:pt x="1457" y="263"/>
                  <a:pt x="1455" y="263"/>
                  <a:pt x="1455" y="263"/>
                </a:cubicBezTo>
                <a:cubicBezTo>
                  <a:pt x="1454" y="263"/>
                  <a:pt x="1450" y="266"/>
                  <a:pt x="1450" y="267"/>
                </a:cubicBezTo>
                <a:cubicBezTo>
                  <a:pt x="1450" y="267"/>
                  <a:pt x="1441" y="268"/>
                  <a:pt x="1441" y="268"/>
                </a:cubicBezTo>
                <a:cubicBezTo>
                  <a:pt x="1440" y="268"/>
                  <a:pt x="1437" y="271"/>
                  <a:pt x="1436" y="271"/>
                </a:cubicBezTo>
                <a:cubicBezTo>
                  <a:pt x="1436" y="271"/>
                  <a:pt x="1436" y="271"/>
                  <a:pt x="1436" y="272"/>
                </a:cubicBezTo>
                <a:cubicBezTo>
                  <a:pt x="1436" y="272"/>
                  <a:pt x="1434" y="271"/>
                  <a:pt x="1434" y="271"/>
                </a:cubicBezTo>
                <a:cubicBezTo>
                  <a:pt x="1433" y="270"/>
                  <a:pt x="1432" y="269"/>
                  <a:pt x="1431" y="268"/>
                </a:cubicBezTo>
                <a:cubicBezTo>
                  <a:pt x="1431" y="269"/>
                  <a:pt x="1431" y="269"/>
                  <a:pt x="1431" y="269"/>
                </a:cubicBezTo>
                <a:cubicBezTo>
                  <a:pt x="1428" y="267"/>
                  <a:pt x="1428" y="267"/>
                  <a:pt x="1428" y="267"/>
                </a:cubicBezTo>
                <a:cubicBezTo>
                  <a:pt x="1428" y="266"/>
                  <a:pt x="1428" y="266"/>
                  <a:pt x="1430" y="266"/>
                </a:cubicBezTo>
                <a:cubicBezTo>
                  <a:pt x="1431" y="263"/>
                  <a:pt x="1431" y="263"/>
                  <a:pt x="1431" y="263"/>
                </a:cubicBezTo>
                <a:cubicBezTo>
                  <a:pt x="1429" y="263"/>
                  <a:pt x="1429" y="263"/>
                  <a:pt x="1428" y="262"/>
                </a:cubicBezTo>
                <a:cubicBezTo>
                  <a:pt x="1427" y="262"/>
                  <a:pt x="1426" y="262"/>
                  <a:pt x="1426" y="263"/>
                </a:cubicBezTo>
                <a:cubicBezTo>
                  <a:pt x="1426" y="264"/>
                  <a:pt x="1427" y="264"/>
                  <a:pt x="1427" y="265"/>
                </a:cubicBezTo>
                <a:cubicBezTo>
                  <a:pt x="1427" y="266"/>
                  <a:pt x="1425" y="264"/>
                  <a:pt x="1424" y="264"/>
                </a:cubicBezTo>
                <a:cubicBezTo>
                  <a:pt x="1421" y="264"/>
                  <a:pt x="1421" y="264"/>
                  <a:pt x="1421" y="264"/>
                </a:cubicBezTo>
                <a:cubicBezTo>
                  <a:pt x="1419" y="265"/>
                  <a:pt x="1419" y="265"/>
                  <a:pt x="1419" y="265"/>
                </a:cubicBezTo>
                <a:cubicBezTo>
                  <a:pt x="1419" y="267"/>
                  <a:pt x="1419" y="267"/>
                  <a:pt x="1419" y="267"/>
                </a:cubicBezTo>
                <a:cubicBezTo>
                  <a:pt x="1419" y="267"/>
                  <a:pt x="1415" y="267"/>
                  <a:pt x="1415" y="267"/>
                </a:cubicBezTo>
                <a:cubicBezTo>
                  <a:pt x="1414" y="267"/>
                  <a:pt x="1413" y="268"/>
                  <a:pt x="1413" y="268"/>
                </a:cubicBezTo>
                <a:cubicBezTo>
                  <a:pt x="1412" y="268"/>
                  <a:pt x="1411" y="270"/>
                  <a:pt x="1410" y="269"/>
                </a:cubicBezTo>
                <a:cubicBezTo>
                  <a:pt x="1410" y="269"/>
                  <a:pt x="1408" y="268"/>
                  <a:pt x="1408" y="268"/>
                </a:cubicBezTo>
                <a:cubicBezTo>
                  <a:pt x="1409" y="268"/>
                  <a:pt x="1409" y="267"/>
                  <a:pt x="1409" y="267"/>
                </a:cubicBezTo>
                <a:cubicBezTo>
                  <a:pt x="1409" y="267"/>
                  <a:pt x="1410" y="266"/>
                  <a:pt x="1411" y="264"/>
                </a:cubicBezTo>
                <a:cubicBezTo>
                  <a:pt x="1410" y="264"/>
                  <a:pt x="1410" y="264"/>
                  <a:pt x="1410" y="264"/>
                </a:cubicBezTo>
                <a:cubicBezTo>
                  <a:pt x="1408" y="265"/>
                  <a:pt x="1408" y="265"/>
                  <a:pt x="1407" y="267"/>
                </a:cubicBezTo>
                <a:cubicBezTo>
                  <a:pt x="1405" y="265"/>
                  <a:pt x="1405" y="265"/>
                  <a:pt x="1405" y="265"/>
                </a:cubicBezTo>
                <a:cubicBezTo>
                  <a:pt x="1403" y="265"/>
                  <a:pt x="1403" y="266"/>
                  <a:pt x="1402" y="266"/>
                </a:cubicBezTo>
                <a:cubicBezTo>
                  <a:pt x="1402" y="266"/>
                  <a:pt x="1402" y="266"/>
                  <a:pt x="1402" y="265"/>
                </a:cubicBezTo>
                <a:cubicBezTo>
                  <a:pt x="1402" y="265"/>
                  <a:pt x="1402" y="264"/>
                  <a:pt x="1402" y="264"/>
                </a:cubicBezTo>
                <a:cubicBezTo>
                  <a:pt x="1401" y="265"/>
                  <a:pt x="1399" y="264"/>
                  <a:pt x="1399" y="263"/>
                </a:cubicBezTo>
                <a:cubicBezTo>
                  <a:pt x="1400" y="262"/>
                  <a:pt x="1400" y="262"/>
                  <a:pt x="1400" y="262"/>
                </a:cubicBezTo>
                <a:cubicBezTo>
                  <a:pt x="1400" y="261"/>
                  <a:pt x="1400" y="261"/>
                  <a:pt x="1400" y="261"/>
                </a:cubicBezTo>
                <a:cubicBezTo>
                  <a:pt x="1397" y="260"/>
                  <a:pt x="1397" y="260"/>
                  <a:pt x="1397" y="260"/>
                </a:cubicBezTo>
                <a:cubicBezTo>
                  <a:pt x="1400" y="261"/>
                  <a:pt x="1400" y="261"/>
                  <a:pt x="1400" y="261"/>
                </a:cubicBezTo>
                <a:cubicBezTo>
                  <a:pt x="1401" y="259"/>
                  <a:pt x="1401" y="259"/>
                  <a:pt x="1401" y="259"/>
                </a:cubicBezTo>
                <a:cubicBezTo>
                  <a:pt x="1400" y="258"/>
                  <a:pt x="1400" y="258"/>
                  <a:pt x="1400" y="258"/>
                </a:cubicBezTo>
                <a:cubicBezTo>
                  <a:pt x="1397" y="257"/>
                  <a:pt x="1397" y="257"/>
                  <a:pt x="1397" y="257"/>
                </a:cubicBezTo>
                <a:cubicBezTo>
                  <a:pt x="1397" y="255"/>
                  <a:pt x="1397" y="255"/>
                  <a:pt x="1397" y="255"/>
                </a:cubicBezTo>
                <a:cubicBezTo>
                  <a:pt x="1398" y="255"/>
                  <a:pt x="1400" y="255"/>
                  <a:pt x="1399" y="256"/>
                </a:cubicBezTo>
                <a:cubicBezTo>
                  <a:pt x="1401" y="258"/>
                  <a:pt x="1401" y="258"/>
                  <a:pt x="1401" y="258"/>
                </a:cubicBezTo>
                <a:cubicBezTo>
                  <a:pt x="1401" y="258"/>
                  <a:pt x="1403" y="258"/>
                  <a:pt x="1404" y="258"/>
                </a:cubicBezTo>
                <a:cubicBezTo>
                  <a:pt x="1404" y="258"/>
                  <a:pt x="1405" y="257"/>
                  <a:pt x="1406" y="257"/>
                </a:cubicBezTo>
                <a:cubicBezTo>
                  <a:pt x="1406" y="258"/>
                  <a:pt x="1406" y="258"/>
                  <a:pt x="1406" y="258"/>
                </a:cubicBezTo>
                <a:cubicBezTo>
                  <a:pt x="1404" y="260"/>
                  <a:pt x="1405" y="259"/>
                  <a:pt x="1405" y="261"/>
                </a:cubicBezTo>
                <a:cubicBezTo>
                  <a:pt x="1406" y="261"/>
                  <a:pt x="1406" y="261"/>
                  <a:pt x="1406" y="261"/>
                </a:cubicBezTo>
                <a:cubicBezTo>
                  <a:pt x="1408" y="259"/>
                  <a:pt x="1409" y="259"/>
                  <a:pt x="1409" y="256"/>
                </a:cubicBezTo>
                <a:cubicBezTo>
                  <a:pt x="1409" y="255"/>
                  <a:pt x="1407" y="256"/>
                  <a:pt x="1406" y="254"/>
                </a:cubicBezTo>
                <a:cubicBezTo>
                  <a:pt x="1408" y="254"/>
                  <a:pt x="1408" y="254"/>
                  <a:pt x="1408" y="254"/>
                </a:cubicBezTo>
                <a:cubicBezTo>
                  <a:pt x="1406" y="252"/>
                  <a:pt x="1406" y="252"/>
                  <a:pt x="1406" y="252"/>
                </a:cubicBezTo>
                <a:cubicBezTo>
                  <a:pt x="1405" y="252"/>
                  <a:pt x="1404" y="252"/>
                  <a:pt x="1403" y="252"/>
                </a:cubicBezTo>
                <a:cubicBezTo>
                  <a:pt x="1403" y="252"/>
                  <a:pt x="1402" y="252"/>
                  <a:pt x="1402" y="252"/>
                </a:cubicBezTo>
                <a:cubicBezTo>
                  <a:pt x="1402" y="253"/>
                  <a:pt x="1400" y="252"/>
                  <a:pt x="1400" y="252"/>
                </a:cubicBezTo>
                <a:cubicBezTo>
                  <a:pt x="1399" y="252"/>
                  <a:pt x="1400" y="252"/>
                  <a:pt x="1400" y="252"/>
                </a:cubicBezTo>
                <a:cubicBezTo>
                  <a:pt x="1400" y="250"/>
                  <a:pt x="1400" y="250"/>
                  <a:pt x="1400" y="250"/>
                </a:cubicBezTo>
                <a:cubicBezTo>
                  <a:pt x="1403" y="249"/>
                  <a:pt x="1401" y="250"/>
                  <a:pt x="1402" y="246"/>
                </a:cubicBezTo>
                <a:cubicBezTo>
                  <a:pt x="1402" y="246"/>
                  <a:pt x="1403" y="247"/>
                  <a:pt x="1403" y="246"/>
                </a:cubicBezTo>
                <a:cubicBezTo>
                  <a:pt x="1404" y="246"/>
                  <a:pt x="1404" y="247"/>
                  <a:pt x="1405" y="247"/>
                </a:cubicBezTo>
                <a:cubicBezTo>
                  <a:pt x="1406" y="247"/>
                  <a:pt x="1406" y="247"/>
                  <a:pt x="1406" y="247"/>
                </a:cubicBezTo>
                <a:cubicBezTo>
                  <a:pt x="1407" y="246"/>
                  <a:pt x="1408" y="244"/>
                  <a:pt x="1407" y="243"/>
                </a:cubicBezTo>
                <a:cubicBezTo>
                  <a:pt x="1407" y="242"/>
                  <a:pt x="1406" y="242"/>
                  <a:pt x="1405" y="242"/>
                </a:cubicBezTo>
                <a:cubicBezTo>
                  <a:pt x="1404" y="242"/>
                  <a:pt x="1403" y="245"/>
                  <a:pt x="1403" y="245"/>
                </a:cubicBezTo>
                <a:cubicBezTo>
                  <a:pt x="1402" y="244"/>
                  <a:pt x="1402" y="244"/>
                  <a:pt x="1402" y="244"/>
                </a:cubicBezTo>
                <a:cubicBezTo>
                  <a:pt x="1403" y="242"/>
                  <a:pt x="1403" y="244"/>
                  <a:pt x="1403" y="241"/>
                </a:cubicBezTo>
                <a:cubicBezTo>
                  <a:pt x="1403" y="240"/>
                  <a:pt x="1402" y="238"/>
                  <a:pt x="1402" y="238"/>
                </a:cubicBezTo>
                <a:cubicBezTo>
                  <a:pt x="1403" y="238"/>
                  <a:pt x="1404" y="237"/>
                  <a:pt x="1403" y="236"/>
                </a:cubicBezTo>
                <a:cubicBezTo>
                  <a:pt x="1403" y="236"/>
                  <a:pt x="1404" y="235"/>
                  <a:pt x="1404" y="235"/>
                </a:cubicBezTo>
                <a:cubicBezTo>
                  <a:pt x="1405" y="235"/>
                  <a:pt x="1404" y="233"/>
                  <a:pt x="1404" y="233"/>
                </a:cubicBezTo>
                <a:cubicBezTo>
                  <a:pt x="1403" y="232"/>
                  <a:pt x="1403" y="232"/>
                  <a:pt x="1403" y="232"/>
                </a:cubicBezTo>
                <a:cubicBezTo>
                  <a:pt x="1405" y="230"/>
                  <a:pt x="1405" y="230"/>
                  <a:pt x="1405" y="230"/>
                </a:cubicBezTo>
                <a:cubicBezTo>
                  <a:pt x="1405" y="230"/>
                  <a:pt x="1404" y="230"/>
                  <a:pt x="1403" y="231"/>
                </a:cubicBezTo>
                <a:cubicBezTo>
                  <a:pt x="1402" y="231"/>
                  <a:pt x="1402" y="231"/>
                  <a:pt x="1402" y="231"/>
                </a:cubicBezTo>
                <a:cubicBezTo>
                  <a:pt x="1401" y="232"/>
                  <a:pt x="1401" y="231"/>
                  <a:pt x="1400" y="231"/>
                </a:cubicBezTo>
                <a:cubicBezTo>
                  <a:pt x="1399" y="232"/>
                  <a:pt x="1399" y="232"/>
                  <a:pt x="1399" y="233"/>
                </a:cubicBezTo>
                <a:cubicBezTo>
                  <a:pt x="1398" y="234"/>
                  <a:pt x="1397" y="235"/>
                  <a:pt x="1396" y="235"/>
                </a:cubicBezTo>
                <a:cubicBezTo>
                  <a:pt x="1395" y="235"/>
                  <a:pt x="1395" y="236"/>
                  <a:pt x="1395" y="237"/>
                </a:cubicBezTo>
                <a:cubicBezTo>
                  <a:pt x="1395" y="237"/>
                  <a:pt x="1393" y="238"/>
                  <a:pt x="1393" y="238"/>
                </a:cubicBezTo>
                <a:cubicBezTo>
                  <a:pt x="1393" y="240"/>
                  <a:pt x="1393" y="240"/>
                  <a:pt x="1393" y="240"/>
                </a:cubicBezTo>
                <a:cubicBezTo>
                  <a:pt x="1391" y="240"/>
                  <a:pt x="1392" y="240"/>
                  <a:pt x="1390" y="240"/>
                </a:cubicBezTo>
                <a:cubicBezTo>
                  <a:pt x="1389" y="239"/>
                  <a:pt x="1391" y="239"/>
                  <a:pt x="1393" y="238"/>
                </a:cubicBezTo>
                <a:cubicBezTo>
                  <a:pt x="1393" y="236"/>
                  <a:pt x="1393" y="236"/>
                  <a:pt x="1393" y="236"/>
                </a:cubicBezTo>
                <a:cubicBezTo>
                  <a:pt x="1389" y="237"/>
                  <a:pt x="1389" y="237"/>
                  <a:pt x="1389" y="237"/>
                </a:cubicBezTo>
                <a:cubicBezTo>
                  <a:pt x="1388" y="237"/>
                  <a:pt x="1387" y="240"/>
                  <a:pt x="1386" y="242"/>
                </a:cubicBezTo>
                <a:cubicBezTo>
                  <a:pt x="1386" y="243"/>
                  <a:pt x="1386" y="243"/>
                  <a:pt x="1386" y="243"/>
                </a:cubicBezTo>
                <a:cubicBezTo>
                  <a:pt x="1386" y="244"/>
                  <a:pt x="1386" y="243"/>
                  <a:pt x="1386" y="247"/>
                </a:cubicBezTo>
                <a:cubicBezTo>
                  <a:pt x="1386" y="247"/>
                  <a:pt x="1387" y="249"/>
                  <a:pt x="1387" y="249"/>
                </a:cubicBezTo>
                <a:cubicBezTo>
                  <a:pt x="1387" y="249"/>
                  <a:pt x="1386" y="250"/>
                  <a:pt x="1386" y="250"/>
                </a:cubicBezTo>
                <a:cubicBezTo>
                  <a:pt x="1386" y="253"/>
                  <a:pt x="1386" y="253"/>
                  <a:pt x="1386" y="253"/>
                </a:cubicBezTo>
                <a:cubicBezTo>
                  <a:pt x="1387" y="253"/>
                  <a:pt x="1387" y="253"/>
                  <a:pt x="1387" y="253"/>
                </a:cubicBezTo>
                <a:cubicBezTo>
                  <a:pt x="1389" y="254"/>
                  <a:pt x="1389" y="254"/>
                  <a:pt x="1389" y="254"/>
                </a:cubicBezTo>
                <a:cubicBezTo>
                  <a:pt x="1389" y="254"/>
                  <a:pt x="1389" y="254"/>
                  <a:pt x="1390" y="255"/>
                </a:cubicBezTo>
                <a:cubicBezTo>
                  <a:pt x="1390" y="255"/>
                  <a:pt x="1385" y="260"/>
                  <a:pt x="1387" y="260"/>
                </a:cubicBezTo>
                <a:cubicBezTo>
                  <a:pt x="1388" y="260"/>
                  <a:pt x="1387" y="260"/>
                  <a:pt x="1390" y="260"/>
                </a:cubicBezTo>
                <a:cubicBezTo>
                  <a:pt x="1389" y="261"/>
                  <a:pt x="1389" y="261"/>
                  <a:pt x="1389" y="261"/>
                </a:cubicBezTo>
                <a:cubicBezTo>
                  <a:pt x="1391" y="262"/>
                  <a:pt x="1391" y="262"/>
                  <a:pt x="1392" y="264"/>
                </a:cubicBezTo>
                <a:cubicBezTo>
                  <a:pt x="1390" y="264"/>
                  <a:pt x="1390" y="264"/>
                  <a:pt x="1390" y="264"/>
                </a:cubicBezTo>
                <a:cubicBezTo>
                  <a:pt x="1390" y="264"/>
                  <a:pt x="1389" y="265"/>
                  <a:pt x="1389" y="266"/>
                </a:cubicBezTo>
                <a:cubicBezTo>
                  <a:pt x="1389" y="266"/>
                  <a:pt x="1390" y="266"/>
                  <a:pt x="1390" y="266"/>
                </a:cubicBezTo>
                <a:cubicBezTo>
                  <a:pt x="1390" y="266"/>
                  <a:pt x="1390" y="267"/>
                  <a:pt x="1390" y="267"/>
                </a:cubicBezTo>
                <a:cubicBezTo>
                  <a:pt x="1392" y="268"/>
                  <a:pt x="1393" y="267"/>
                  <a:pt x="1392" y="269"/>
                </a:cubicBezTo>
                <a:cubicBezTo>
                  <a:pt x="1391" y="269"/>
                  <a:pt x="1392" y="269"/>
                  <a:pt x="1392" y="269"/>
                </a:cubicBezTo>
                <a:cubicBezTo>
                  <a:pt x="1392" y="269"/>
                  <a:pt x="1393" y="271"/>
                  <a:pt x="1392" y="271"/>
                </a:cubicBezTo>
                <a:cubicBezTo>
                  <a:pt x="1392" y="271"/>
                  <a:pt x="1391" y="270"/>
                  <a:pt x="1390" y="270"/>
                </a:cubicBezTo>
                <a:cubicBezTo>
                  <a:pt x="1390" y="270"/>
                  <a:pt x="1390" y="271"/>
                  <a:pt x="1390" y="271"/>
                </a:cubicBezTo>
                <a:cubicBezTo>
                  <a:pt x="1388" y="272"/>
                  <a:pt x="1388" y="271"/>
                  <a:pt x="1389" y="273"/>
                </a:cubicBezTo>
                <a:cubicBezTo>
                  <a:pt x="1389" y="273"/>
                  <a:pt x="1389" y="275"/>
                  <a:pt x="1389" y="275"/>
                </a:cubicBezTo>
                <a:cubicBezTo>
                  <a:pt x="1389" y="275"/>
                  <a:pt x="1388" y="276"/>
                  <a:pt x="1388" y="274"/>
                </a:cubicBezTo>
                <a:cubicBezTo>
                  <a:pt x="1388" y="273"/>
                  <a:pt x="1387" y="273"/>
                  <a:pt x="1387" y="274"/>
                </a:cubicBezTo>
                <a:cubicBezTo>
                  <a:pt x="1387" y="275"/>
                  <a:pt x="1386" y="275"/>
                  <a:pt x="1386" y="275"/>
                </a:cubicBezTo>
                <a:cubicBezTo>
                  <a:pt x="1384" y="274"/>
                  <a:pt x="1384" y="274"/>
                  <a:pt x="1384" y="273"/>
                </a:cubicBezTo>
                <a:cubicBezTo>
                  <a:pt x="1384" y="273"/>
                  <a:pt x="1383" y="272"/>
                  <a:pt x="1383" y="272"/>
                </a:cubicBezTo>
                <a:cubicBezTo>
                  <a:pt x="1382" y="272"/>
                  <a:pt x="1382" y="271"/>
                  <a:pt x="1381" y="271"/>
                </a:cubicBezTo>
                <a:cubicBezTo>
                  <a:pt x="1381" y="271"/>
                  <a:pt x="1379" y="272"/>
                  <a:pt x="1378" y="272"/>
                </a:cubicBezTo>
                <a:cubicBezTo>
                  <a:pt x="1377" y="272"/>
                  <a:pt x="1376" y="274"/>
                  <a:pt x="1376" y="275"/>
                </a:cubicBezTo>
                <a:cubicBezTo>
                  <a:pt x="1376" y="275"/>
                  <a:pt x="1376" y="275"/>
                  <a:pt x="1376" y="275"/>
                </a:cubicBezTo>
                <a:cubicBezTo>
                  <a:pt x="1375" y="275"/>
                  <a:pt x="1374" y="275"/>
                  <a:pt x="1373" y="275"/>
                </a:cubicBezTo>
                <a:cubicBezTo>
                  <a:pt x="1372" y="274"/>
                  <a:pt x="1371" y="275"/>
                  <a:pt x="1369" y="275"/>
                </a:cubicBezTo>
                <a:cubicBezTo>
                  <a:pt x="1367" y="275"/>
                  <a:pt x="1367" y="274"/>
                  <a:pt x="1364" y="274"/>
                </a:cubicBezTo>
                <a:cubicBezTo>
                  <a:pt x="1363" y="274"/>
                  <a:pt x="1361" y="274"/>
                  <a:pt x="1361" y="275"/>
                </a:cubicBezTo>
                <a:cubicBezTo>
                  <a:pt x="1361" y="276"/>
                  <a:pt x="1366" y="275"/>
                  <a:pt x="1363" y="277"/>
                </a:cubicBezTo>
                <a:cubicBezTo>
                  <a:pt x="1363" y="278"/>
                  <a:pt x="1360" y="278"/>
                  <a:pt x="1362" y="280"/>
                </a:cubicBezTo>
                <a:cubicBezTo>
                  <a:pt x="1363" y="281"/>
                  <a:pt x="1364" y="281"/>
                  <a:pt x="1364" y="281"/>
                </a:cubicBezTo>
                <a:cubicBezTo>
                  <a:pt x="1365" y="282"/>
                  <a:pt x="1365" y="283"/>
                  <a:pt x="1366" y="283"/>
                </a:cubicBezTo>
                <a:cubicBezTo>
                  <a:pt x="1366" y="283"/>
                  <a:pt x="1365" y="284"/>
                  <a:pt x="1365" y="285"/>
                </a:cubicBezTo>
                <a:cubicBezTo>
                  <a:pt x="1364" y="285"/>
                  <a:pt x="1361" y="285"/>
                  <a:pt x="1361" y="285"/>
                </a:cubicBezTo>
                <a:cubicBezTo>
                  <a:pt x="1360" y="285"/>
                  <a:pt x="1360" y="284"/>
                  <a:pt x="1359" y="284"/>
                </a:cubicBezTo>
                <a:cubicBezTo>
                  <a:pt x="1360" y="282"/>
                  <a:pt x="1360" y="282"/>
                  <a:pt x="1360" y="279"/>
                </a:cubicBezTo>
                <a:cubicBezTo>
                  <a:pt x="1359" y="279"/>
                  <a:pt x="1359" y="280"/>
                  <a:pt x="1358" y="279"/>
                </a:cubicBezTo>
                <a:cubicBezTo>
                  <a:pt x="1358" y="279"/>
                  <a:pt x="1359" y="277"/>
                  <a:pt x="1358" y="277"/>
                </a:cubicBezTo>
                <a:cubicBezTo>
                  <a:pt x="1357" y="277"/>
                  <a:pt x="1355" y="280"/>
                  <a:pt x="1355" y="282"/>
                </a:cubicBezTo>
                <a:cubicBezTo>
                  <a:pt x="1355" y="283"/>
                  <a:pt x="1357" y="284"/>
                  <a:pt x="1355" y="286"/>
                </a:cubicBezTo>
                <a:cubicBezTo>
                  <a:pt x="1351" y="290"/>
                  <a:pt x="1351" y="290"/>
                  <a:pt x="1351" y="290"/>
                </a:cubicBezTo>
                <a:cubicBezTo>
                  <a:pt x="1351" y="292"/>
                  <a:pt x="1351" y="292"/>
                  <a:pt x="1351" y="292"/>
                </a:cubicBezTo>
                <a:cubicBezTo>
                  <a:pt x="1353" y="293"/>
                  <a:pt x="1353" y="293"/>
                  <a:pt x="1353" y="293"/>
                </a:cubicBezTo>
                <a:cubicBezTo>
                  <a:pt x="1353" y="294"/>
                  <a:pt x="1353" y="294"/>
                  <a:pt x="1353" y="294"/>
                </a:cubicBezTo>
                <a:cubicBezTo>
                  <a:pt x="1353" y="294"/>
                  <a:pt x="1352" y="297"/>
                  <a:pt x="1352" y="297"/>
                </a:cubicBezTo>
                <a:cubicBezTo>
                  <a:pt x="1352" y="297"/>
                  <a:pt x="1357" y="296"/>
                  <a:pt x="1357" y="296"/>
                </a:cubicBezTo>
                <a:cubicBezTo>
                  <a:pt x="1358" y="296"/>
                  <a:pt x="1363" y="298"/>
                  <a:pt x="1364" y="299"/>
                </a:cubicBezTo>
                <a:cubicBezTo>
                  <a:pt x="1364" y="299"/>
                  <a:pt x="1367" y="300"/>
                  <a:pt x="1367" y="300"/>
                </a:cubicBezTo>
                <a:cubicBezTo>
                  <a:pt x="1369" y="299"/>
                  <a:pt x="1369" y="299"/>
                  <a:pt x="1369" y="299"/>
                </a:cubicBezTo>
                <a:cubicBezTo>
                  <a:pt x="1370" y="298"/>
                  <a:pt x="1370" y="298"/>
                  <a:pt x="1370" y="298"/>
                </a:cubicBezTo>
                <a:cubicBezTo>
                  <a:pt x="1369" y="299"/>
                  <a:pt x="1369" y="300"/>
                  <a:pt x="1368" y="301"/>
                </a:cubicBezTo>
                <a:cubicBezTo>
                  <a:pt x="1368" y="300"/>
                  <a:pt x="1369" y="300"/>
                  <a:pt x="1369" y="299"/>
                </a:cubicBezTo>
                <a:cubicBezTo>
                  <a:pt x="1367" y="300"/>
                  <a:pt x="1367" y="300"/>
                  <a:pt x="1367" y="300"/>
                </a:cubicBezTo>
                <a:cubicBezTo>
                  <a:pt x="1362" y="299"/>
                  <a:pt x="1362" y="298"/>
                  <a:pt x="1359" y="297"/>
                </a:cubicBezTo>
                <a:cubicBezTo>
                  <a:pt x="1357" y="296"/>
                  <a:pt x="1357" y="296"/>
                  <a:pt x="1357" y="296"/>
                </a:cubicBezTo>
                <a:cubicBezTo>
                  <a:pt x="1352" y="297"/>
                  <a:pt x="1352" y="297"/>
                  <a:pt x="1352" y="297"/>
                </a:cubicBezTo>
                <a:cubicBezTo>
                  <a:pt x="1352" y="297"/>
                  <a:pt x="1352" y="297"/>
                  <a:pt x="1352" y="297"/>
                </a:cubicBezTo>
                <a:cubicBezTo>
                  <a:pt x="1352" y="297"/>
                  <a:pt x="1352" y="297"/>
                  <a:pt x="1352" y="297"/>
                </a:cubicBezTo>
                <a:cubicBezTo>
                  <a:pt x="1352" y="297"/>
                  <a:pt x="1352" y="297"/>
                  <a:pt x="1352" y="297"/>
                </a:cubicBezTo>
                <a:cubicBezTo>
                  <a:pt x="1350" y="298"/>
                  <a:pt x="1350" y="298"/>
                  <a:pt x="1350" y="298"/>
                </a:cubicBezTo>
                <a:cubicBezTo>
                  <a:pt x="1349" y="298"/>
                  <a:pt x="1347" y="298"/>
                  <a:pt x="1347" y="298"/>
                </a:cubicBezTo>
                <a:cubicBezTo>
                  <a:pt x="1341" y="298"/>
                  <a:pt x="1341" y="298"/>
                  <a:pt x="1341" y="298"/>
                </a:cubicBezTo>
                <a:cubicBezTo>
                  <a:pt x="1339" y="300"/>
                  <a:pt x="1339" y="300"/>
                  <a:pt x="1339" y="300"/>
                </a:cubicBezTo>
                <a:cubicBezTo>
                  <a:pt x="1339" y="301"/>
                  <a:pt x="1339" y="301"/>
                  <a:pt x="1339" y="301"/>
                </a:cubicBezTo>
                <a:cubicBezTo>
                  <a:pt x="1339" y="301"/>
                  <a:pt x="1339" y="301"/>
                  <a:pt x="1339" y="301"/>
                </a:cubicBezTo>
                <a:cubicBezTo>
                  <a:pt x="1335" y="300"/>
                  <a:pt x="1335" y="301"/>
                  <a:pt x="1334" y="301"/>
                </a:cubicBezTo>
                <a:cubicBezTo>
                  <a:pt x="1331" y="301"/>
                  <a:pt x="1331" y="301"/>
                  <a:pt x="1331" y="301"/>
                </a:cubicBezTo>
                <a:cubicBezTo>
                  <a:pt x="1329" y="302"/>
                  <a:pt x="1329" y="302"/>
                  <a:pt x="1329" y="302"/>
                </a:cubicBezTo>
                <a:cubicBezTo>
                  <a:pt x="1328" y="306"/>
                  <a:pt x="1328" y="304"/>
                  <a:pt x="1329" y="308"/>
                </a:cubicBezTo>
                <a:cubicBezTo>
                  <a:pt x="1328" y="310"/>
                  <a:pt x="1328" y="310"/>
                  <a:pt x="1328" y="310"/>
                </a:cubicBezTo>
                <a:cubicBezTo>
                  <a:pt x="1327" y="311"/>
                  <a:pt x="1327" y="311"/>
                  <a:pt x="1327" y="311"/>
                </a:cubicBezTo>
                <a:cubicBezTo>
                  <a:pt x="1326" y="311"/>
                  <a:pt x="1324" y="311"/>
                  <a:pt x="1321" y="313"/>
                </a:cubicBezTo>
                <a:cubicBezTo>
                  <a:pt x="1318" y="315"/>
                  <a:pt x="1318" y="315"/>
                  <a:pt x="1318" y="315"/>
                </a:cubicBezTo>
                <a:cubicBezTo>
                  <a:pt x="1317" y="316"/>
                  <a:pt x="1317" y="316"/>
                  <a:pt x="1317" y="316"/>
                </a:cubicBezTo>
                <a:cubicBezTo>
                  <a:pt x="1320" y="317"/>
                  <a:pt x="1320" y="317"/>
                  <a:pt x="1320" y="317"/>
                </a:cubicBezTo>
                <a:cubicBezTo>
                  <a:pt x="1317" y="318"/>
                  <a:pt x="1317" y="318"/>
                  <a:pt x="1314" y="319"/>
                </a:cubicBezTo>
                <a:cubicBezTo>
                  <a:pt x="1313" y="318"/>
                  <a:pt x="1313" y="318"/>
                  <a:pt x="1313" y="318"/>
                </a:cubicBezTo>
                <a:cubicBezTo>
                  <a:pt x="1307" y="318"/>
                  <a:pt x="1307" y="318"/>
                  <a:pt x="1307" y="318"/>
                </a:cubicBezTo>
                <a:cubicBezTo>
                  <a:pt x="1305" y="318"/>
                  <a:pt x="1305" y="318"/>
                  <a:pt x="1305" y="318"/>
                </a:cubicBezTo>
                <a:cubicBezTo>
                  <a:pt x="1305" y="316"/>
                  <a:pt x="1305" y="317"/>
                  <a:pt x="1305" y="315"/>
                </a:cubicBezTo>
                <a:cubicBezTo>
                  <a:pt x="1305" y="314"/>
                  <a:pt x="1305" y="314"/>
                  <a:pt x="1305" y="314"/>
                </a:cubicBezTo>
                <a:cubicBezTo>
                  <a:pt x="1299" y="315"/>
                  <a:pt x="1299" y="315"/>
                  <a:pt x="1299" y="315"/>
                </a:cubicBezTo>
                <a:cubicBezTo>
                  <a:pt x="1301" y="317"/>
                  <a:pt x="1301" y="317"/>
                  <a:pt x="1301" y="317"/>
                </a:cubicBezTo>
                <a:cubicBezTo>
                  <a:pt x="1302" y="320"/>
                  <a:pt x="1302" y="318"/>
                  <a:pt x="1302" y="321"/>
                </a:cubicBezTo>
                <a:cubicBezTo>
                  <a:pt x="1302" y="324"/>
                  <a:pt x="1302" y="323"/>
                  <a:pt x="1303" y="325"/>
                </a:cubicBezTo>
                <a:cubicBezTo>
                  <a:pt x="1303" y="325"/>
                  <a:pt x="1301" y="326"/>
                  <a:pt x="1301" y="326"/>
                </a:cubicBezTo>
                <a:cubicBezTo>
                  <a:pt x="1300" y="326"/>
                  <a:pt x="1298" y="326"/>
                  <a:pt x="1298" y="326"/>
                </a:cubicBezTo>
                <a:cubicBezTo>
                  <a:pt x="1298" y="326"/>
                  <a:pt x="1298" y="325"/>
                  <a:pt x="1297" y="326"/>
                </a:cubicBezTo>
                <a:cubicBezTo>
                  <a:pt x="1296" y="327"/>
                  <a:pt x="1295" y="326"/>
                  <a:pt x="1294" y="326"/>
                </a:cubicBezTo>
                <a:cubicBezTo>
                  <a:pt x="1291" y="327"/>
                  <a:pt x="1291" y="327"/>
                  <a:pt x="1291" y="327"/>
                </a:cubicBezTo>
                <a:cubicBezTo>
                  <a:pt x="1290" y="324"/>
                  <a:pt x="1290" y="324"/>
                  <a:pt x="1290" y="324"/>
                </a:cubicBezTo>
                <a:cubicBezTo>
                  <a:pt x="1286" y="323"/>
                  <a:pt x="1286" y="323"/>
                  <a:pt x="1286" y="323"/>
                </a:cubicBezTo>
                <a:cubicBezTo>
                  <a:pt x="1284" y="325"/>
                  <a:pt x="1285" y="325"/>
                  <a:pt x="1283" y="325"/>
                </a:cubicBezTo>
                <a:cubicBezTo>
                  <a:pt x="1281" y="325"/>
                  <a:pt x="1281" y="325"/>
                  <a:pt x="1281" y="325"/>
                </a:cubicBezTo>
                <a:cubicBezTo>
                  <a:pt x="1279" y="326"/>
                  <a:pt x="1279" y="326"/>
                  <a:pt x="1279" y="326"/>
                </a:cubicBezTo>
                <a:cubicBezTo>
                  <a:pt x="1276" y="326"/>
                  <a:pt x="1276" y="326"/>
                  <a:pt x="1276" y="326"/>
                </a:cubicBezTo>
                <a:cubicBezTo>
                  <a:pt x="1275" y="327"/>
                  <a:pt x="1276" y="327"/>
                  <a:pt x="1274" y="328"/>
                </a:cubicBezTo>
                <a:cubicBezTo>
                  <a:pt x="1275" y="329"/>
                  <a:pt x="1276" y="329"/>
                  <a:pt x="1278" y="329"/>
                </a:cubicBezTo>
                <a:cubicBezTo>
                  <a:pt x="1279" y="330"/>
                  <a:pt x="1279" y="330"/>
                  <a:pt x="1279" y="330"/>
                </a:cubicBezTo>
                <a:cubicBezTo>
                  <a:pt x="1279" y="331"/>
                  <a:pt x="1279" y="331"/>
                  <a:pt x="1279" y="331"/>
                </a:cubicBezTo>
                <a:cubicBezTo>
                  <a:pt x="1277" y="332"/>
                  <a:pt x="1277" y="332"/>
                  <a:pt x="1277" y="332"/>
                </a:cubicBezTo>
                <a:cubicBezTo>
                  <a:pt x="1276" y="332"/>
                  <a:pt x="1276" y="332"/>
                  <a:pt x="1276" y="333"/>
                </a:cubicBezTo>
                <a:cubicBezTo>
                  <a:pt x="1279" y="334"/>
                  <a:pt x="1279" y="334"/>
                  <a:pt x="1281" y="334"/>
                </a:cubicBezTo>
                <a:cubicBezTo>
                  <a:pt x="1283" y="335"/>
                  <a:pt x="1286" y="335"/>
                  <a:pt x="1289" y="336"/>
                </a:cubicBezTo>
                <a:cubicBezTo>
                  <a:pt x="1289" y="337"/>
                  <a:pt x="1289" y="337"/>
                  <a:pt x="1289" y="337"/>
                </a:cubicBezTo>
                <a:cubicBezTo>
                  <a:pt x="1291" y="337"/>
                  <a:pt x="1290" y="337"/>
                  <a:pt x="1291" y="338"/>
                </a:cubicBezTo>
                <a:cubicBezTo>
                  <a:pt x="1293" y="338"/>
                  <a:pt x="1292" y="337"/>
                  <a:pt x="1295" y="339"/>
                </a:cubicBezTo>
                <a:cubicBezTo>
                  <a:pt x="1293" y="340"/>
                  <a:pt x="1293" y="340"/>
                  <a:pt x="1293" y="340"/>
                </a:cubicBezTo>
                <a:cubicBezTo>
                  <a:pt x="1294" y="340"/>
                  <a:pt x="1295" y="341"/>
                  <a:pt x="1296" y="341"/>
                </a:cubicBezTo>
                <a:cubicBezTo>
                  <a:pt x="1296" y="342"/>
                  <a:pt x="1296" y="342"/>
                  <a:pt x="1296" y="342"/>
                </a:cubicBezTo>
                <a:cubicBezTo>
                  <a:pt x="1297" y="343"/>
                  <a:pt x="1297" y="343"/>
                  <a:pt x="1297" y="343"/>
                </a:cubicBezTo>
                <a:cubicBezTo>
                  <a:pt x="1297" y="344"/>
                  <a:pt x="1296" y="343"/>
                  <a:pt x="1296" y="343"/>
                </a:cubicBezTo>
                <a:cubicBezTo>
                  <a:pt x="1295" y="344"/>
                  <a:pt x="1295" y="344"/>
                  <a:pt x="1295" y="344"/>
                </a:cubicBezTo>
                <a:cubicBezTo>
                  <a:pt x="1297" y="347"/>
                  <a:pt x="1297" y="346"/>
                  <a:pt x="1299" y="349"/>
                </a:cubicBezTo>
                <a:cubicBezTo>
                  <a:pt x="1300" y="349"/>
                  <a:pt x="1300" y="349"/>
                  <a:pt x="1300" y="349"/>
                </a:cubicBezTo>
                <a:cubicBezTo>
                  <a:pt x="1302" y="350"/>
                  <a:pt x="1302" y="350"/>
                  <a:pt x="1302" y="350"/>
                </a:cubicBezTo>
                <a:cubicBezTo>
                  <a:pt x="1304" y="351"/>
                  <a:pt x="1304" y="351"/>
                  <a:pt x="1304" y="351"/>
                </a:cubicBezTo>
                <a:cubicBezTo>
                  <a:pt x="1304" y="352"/>
                  <a:pt x="1304" y="352"/>
                  <a:pt x="1304" y="352"/>
                </a:cubicBezTo>
                <a:cubicBezTo>
                  <a:pt x="1300" y="351"/>
                  <a:pt x="1300" y="351"/>
                  <a:pt x="1300" y="351"/>
                </a:cubicBezTo>
                <a:cubicBezTo>
                  <a:pt x="1304" y="352"/>
                  <a:pt x="1304" y="352"/>
                  <a:pt x="1304" y="352"/>
                </a:cubicBezTo>
                <a:cubicBezTo>
                  <a:pt x="1305" y="353"/>
                  <a:pt x="1305" y="353"/>
                  <a:pt x="1305" y="353"/>
                </a:cubicBezTo>
                <a:cubicBezTo>
                  <a:pt x="1304" y="354"/>
                  <a:pt x="1304" y="354"/>
                  <a:pt x="1304" y="355"/>
                </a:cubicBezTo>
                <a:cubicBezTo>
                  <a:pt x="1304" y="355"/>
                  <a:pt x="1304" y="355"/>
                  <a:pt x="1304" y="355"/>
                </a:cubicBezTo>
                <a:cubicBezTo>
                  <a:pt x="1303" y="355"/>
                  <a:pt x="1302" y="354"/>
                  <a:pt x="1302" y="354"/>
                </a:cubicBezTo>
                <a:cubicBezTo>
                  <a:pt x="1302" y="354"/>
                  <a:pt x="1302" y="355"/>
                  <a:pt x="1302" y="355"/>
                </a:cubicBezTo>
                <a:cubicBezTo>
                  <a:pt x="1304" y="357"/>
                  <a:pt x="1303" y="356"/>
                  <a:pt x="1306" y="359"/>
                </a:cubicBezTo>
                <a:cubicBezTo>
                  <a:pt x="1307" y="359"/>
                  <a:pt x="1307" y="360"/>
                  <a:pt x="1307" y="360"/>
                </a:cubicBezTo>
                <a:cubicBezTo>
                  <a:pt x="1306" y="361"/>
                  <a:pt x="1306" y="360"/>
                  <a:pt x="1304" y="359"/>
                </a:cubicBezTo>
                <a:cubicBezTo>
                  <a:pt x="1303" y="360"/>
                  <a:pt x="1303" y="360"/>
                  <a:pt x="1303" y="360"/>
                </a:cubicBezTo>
                <a:cubicBezTo>
                  <a:pt x="1303" y="366"/>
                  <a:pt x="1303" y="366"/>
                  <a:pt x="1303" y="366"/>
                </a:cubicBezTo>
                <a:cubicBezTo>
                  <a:pt x="1302" y="367"/>
                  <a:pt x="1302" y="367"/>
                  <a:pt x="1302" y="367"/>
                </a:cubicBezTo>
                <a:cubicBezTo>
                  <a:pt x="1304" y="368"/>
                  <a:pt x="1304" y="368"/>
                  <a:pt x="1304" y="368"/>
                </a:cubicBezTo>
                <a:cubicBezTo>
                  <a:pt x="1304" y="369"/>
                  <a:pt x="1304" y="369"/>
                  <a:pt x="1304" y="369"/>
                </a:cubicBezTo>
                <a:cubicBezTo>
                  <a:pt x="1301" y="370"/>
                  <a:pt x="1303" y="369"/>
                  <a:pt x="1302" y="372"/>
                </a:cubicBezTo>
                <a:cubicBezTo>
                  <a:pt x="1300" y="376"/>
                  <a:pt x="1300" y="376"/>
                  <a:pt x="1300" y="376"/>
                </a:cubicBezTo>
                <a:cubicBezTo>
                  <a:pt x="1300" y="376"/>
                  <a:pt x="1301" y="377"/>
                  <a:pt x="1301" y="378"/>
                </a:cubicBezTo>
                <a:cubicBezTo>
                  <a:pt x="1300" y="378"/>
                  <a:pt x="1298" y="381"/>
                  <a:pt x="1298" y="381"/>
                </a:cubicBezTo>
                <a:cubicBezTo>
                  <a:pt x="1298" y="382"/>
                  <a:pt x="1298" y="382"/>
                  <a:pt x="1298" y="382"/>
                </a:cubicBezTo>
                <a:cubicBezTo>
                  <a:pt x="1296" y="383"/>
                  <a:pt x="1295" y="383"/>
                  <a:pt x="1293" y="383"/>
                </a:cubicBezTo>
                <a:cubicBezTo>
                  <a:pt x="1293" y="383"/>
                  <a:pt x="1290" y="382"/>
                  <a:pt x="1288" y="382"/>
                </a:cubicBezTo>
                <a:cubicBezTo>
                  <a:pt x="1288" y="382"/>
                  <a:pt x="1285" y="383"/>
                  <a:pt x="1284" y="383"/>
                </a:cubicBezTo>
                <a:cubicBezTo>
                  <a:pt x="1284" y="383"/>
                  <a:pt x="1280" y="381"/>
                  <a:pt x="1280" y="381"/>
                </a:cubicBezTo>
                <a:cubicBezTo>
                  <a:pt x="1280" y="381"/>
                  <a:pt x="1277" y="382"/>
                  <a:pt x="1277" y="382"/>
                </a:cubicBezTo>
                <a:cubicBezTo>
                  <a:pt x="1277" y="382"/>
                  <a:pt x="1268" y="381"/>
                  <a:pt x="1268" y="381"/>
                </a:cubicBezTo>
                <a:cubicBezTo>
                  <a:pt x="1266" y="381"/>
                  <a:pt x="1262" y="380"/>
                  <a:pt x="1260" y="380"/>
                </a:cubicBezTo>
                <a:cubicBezTo>
                  <a:pt x="1258" y="380"/>
                  <a:pt x="1255" y="381"/>
                  <a:pt x="1253" y="381"/>
                </a:cubicBezTo>
                <a:cubicBezTo>
                  <a:pt x="1251" y="381"/>
                  <a:pt x="1246" y="379"/>
                  <a:pt x="1243" y="379"/>
                </a:cubicBezTo>
                <a:cubicBezTo>
                  <a:pt x="1239" y="379"/>
                  <a:pt x="1240" y="381"/>
                  <a:pt x="1239" y="382"/>
                </a:cubicBezTo>
                <a:cubicBezTo>
                  <a:pt x="1239" y="383"/>
                  <a:pt x="1239" y="383"/>
                  <a:pt x="1239" y="383"/>
                </a:cubicBezTo>
                <a:cubicBezTo>
                  <a:pt x="1234" y="383"/>
                  <a:pt x="1235" y="383"/>
                  <a:pt x="1231" y="385"/>
                </a:cubicBezTo>
                <a:cubicBezTo>
                  <a:pt x="1231" y="385"/>
                  <a:pt x="1231" y="387"/>
                  <a:pt x="1231" y="387"/>
                </a:cubicBezTo>
                <a:cubicBezTo>
                  <a:pt x="1231" y="388"/>
                  <a:pt x="1232" y="389"/>
                  <a:pt x="1232" y="389"/>
                </a:cubicBezTo>
                <a:cubicBezTo>
                  <a:pt x="1236" y="389"/>
                  <a:pt x="1236" y="389"/>
                  <a:pt x="1236" y="389"/>
                </a:cubicBezTo>
                <a:cubicBezTo>
                  <a:pt x="1234" y="392"/>
                  <a:pt x="1234" y="391"/>
                  <a:pt x="1234" y="394"/>
                </a:cubicBezTo>
                <a:cubicBezTo>
                  <a:pt x="1237" y="394"/>
                  <a:pt x="1237" y="394"/>
                  <a:pt x="1237" y="394"/>
                </a:cubicBezTo>
                <a:cubicBezTo>
                  <a:pt x="1233" y="396"/>
                  <a:pt x="1233" y="396"/>
                  <a:pt x="1233" y="396"/>
                </a:cubicBezTo>
                <a:cubicBezTo>
                  <a:pt x="1233" y="398"/>
                  <a:pt x="1233" y="398"/>
                  <a:pt x="1233" y="398"/>
                </a:cubicBezTo>
                <a:cubicBezTo>
                  <a:pt x="1235" y="397"/>
                  <a:pt x="1235" y="397"/>
                  <a:pt x="1235" y="397"/>
                </a:cubicBezTo>
                <a:cubicBezTo>
                  <a:pt x="1233" y="398"/>
                  <a:pt x="1233" y="398"/>
                  <a:pt x="1233" y="398"/>
                </a:cubicBezTo>
                <a:cubicBezTo>
                  <a:pt x="1233" y="401"/>
                  <a:pt x="1233" y="401"/>
                  <a:pt x="1233" y="401"/>
                </a:cubicBezTo>
                <a:cubicBezTo>
                  <a:pt x="1233" y="402"/>
                  <a:pt x="1234" y="407"/>
                  <a:pt x="1234" y="409"/>
                </a:cubicBezTo>
                <a:cubicBezTo>
                  <a:pt x="1233" y="413"/>
                  <a:pt x="1233" y="413"/>
                  <a:pt x="1233" y="413"/>
                </a:cubicBezTo>
                <a:cubicBezTo>
                  <a:pt x="1232" y="417"/>
                  <a:pt x="1232" y="417"/>
                  <a:pt x="1231" y="419"/>
                </a:cubicBezTo>
                <a:cubicBezTo>
                  <a:pt x="1230" y="421"/>
                  <a:pt x="1230" y="424"/>
                  <a:pt x="1229" y="425"/>
                </a:cubicBezTo>
                <a:cubicBezTo>
                  <a:pt x="1229" y="425"/>
                  <a:pt x="1227" y="425"/>
                  <a:pt x="1227" y="426"/>
                </a:cubicBezTo>
                <a:cubicBezTo>
                  <a:pt x="1226" y="427"/>
                  <a:pt x="1227" y="428"/>
                  <a:pt x="1227" y="430"/>
                </a:cubicBezTo>
                <a:cubicBezTo>
                  <a:pt x="1226" y="431"/>
                  <a:pt x="1225" y="431"/>
                  <a:pt x="1225" y="433"/>
                </a:cubicBezTo>
                <a:cubicBezTo>
                  <a:pt x="1225" y="434"/>
                  <a:pt x="1227" y="434"/>
                  <a:pt x="1227" y="434"/>
                </a:cubicBezTo>
                <a:cubicBezTo>
                  <a:pt x="1228" y="435"/>
                  <a:pt x="1227" y="436"/>
                  <a:pt x="1228" y="437"/>
                </a:cubicBezTo>
                <a:cubicBezTo>
                  <a:pt x="1228" y="437"/>
                  <a:pt x="1230" y="436"/>
                  <a:pt x="1231" y="437"/>
                </a:cubicBezTo>
                <a:cubicBezTo>
                  <a:pt x="1231" y="437"/>
                  <a:pt x="1230" y="438"/>
                  <a:pt x="1230" y="439"/>
                </a:cubicBezTo>
                <a:cubicBezTo>
                  <a:pt x="1230" y="440"/>
                  <a:pt x="1230" y="441"/>
                  <a:pt x="1230" y="442"/>
                </a:cubicBezTo>
                <a:cubicBezTo>
                  <a:pt x="1230" y="443"/>
                  <a:pt x="1230" y="444"/>
                  <a:pt x="1230" y="445"/>
                </a:cubicBezTo>
                <a:cubicBezTo>
                  <a:pt x="1229" y="445"/>
                  <a:pt x="1230" y="446"/>
                  <a:pt x="1230" y="447"/>
                </a:cubicBezTo>
                <a:cubicBezTo>
                  <a:pt x="1230" y="448"/>
                  <a:pt x="1228" y="450"/>
                  <a:pt x="1228" y="451"/>
                </a:cubicBezTo>
                <a:cubicBezTo>
                  <a:pt x="1228" y="452"/>
                  <a:pt x="1231" y="451"/>
                  <a:pt x="1231" y="451"/>
                </a:cubicBezTo>
                <a:cubicBezTo>
                  <a:pt x="1234" y="450"/>
                  <a:pt x="1234" y="451"/>
                  <a:pt x="1235" y="452"/>
                </a:cubicBezTo>
                <a:cubicBezTo>
                  <a:pt x="1236" y="452"/>
                  <a:pt x="1241" y="451"/>
                  <a:pt x="1241" y="451"/>
                </a:cubicBezTo>
                <a:cubicBezTo>
                  <a:pt x="1243" y="449"/>
                  <a:pt x="1243" y="449"/>
                  <a:pt x="1243" y="449"/>
                </a:cubicBezTo>
                <a:cubicBezTo>
                  <a:pt x="1242" y="445"/>
                  <a:pt x="1242" y="445"/>
                  <a:pt x="1242" y="445"/>
                </a:cubicBezTo>
                <a:cubicBezTo>
                  <a:pt x="1243" y="450"/>
                  <a:pt x="1243" y="450"/>
                  <a:pt x="1243" y="450"/>
                </a:cubicBezTo>
                <a:cubicBezTo>
                  <a:pt x="1245" y="450"/>
                  <a:pt x="1246" y="450"/>
                  <a:pt x="1248" y="450"/>
                </a:cubicBezTo>
                <a:cubicBezTo>
                  <a:pt x="1248" y="450"/>
                  <a:pt x="1251" y="453"/>
                  <a:pt x="1251" y="453"/>
                </a:cubicBezTo>
                <a:cubicBezTo>
                  <a:pt x="1251" y="453"/>
                  <a:pt x="1251" y="455"/>
                  <a:pt x="1251" y="455"/>
                </a:cubicBezTo>
                <a:cubicBezTo>
                  <a:pt x="1250" y="455"/>
                  <a:pt x="1253" y="457"/>
                  <a:pt x="1253" y="457"/>
                </a:cubicBezTo>
                <a:cubicBezTo>
                  <a:pt x="1253" y="458"/>
                  <a:pt x="1253" y="459"/>
                  <a:pt x="1254" y="461"/>
                </a:cubicBezTo>
                <a:cubicBezTo>
                  <a:pt x="1255" y="462"/>
                  <a:pt x="1257" y="463"/>
                  <a:pt x="1258" y="463"/>
                </a:cubicBezTo>
                <a:cubicBezTo>
                  <a:pt x="1259" y="462"/>
                  <a:pt x="1260" y="461"/>
                  <a:pt x="1261" y="460"/>
                </a:cubicBezTo>
                <a:cubicBezTo>
                  <a:pt x="1262" y="460"/>
                  <a:pt x="1262" y="459"/>
                  <a:pt x="1262" y="459"/>
                </a:cubicBezTo>
                <a:cubicBezTo>
                  <a:pt x="1264" y="458"/>
                  <a:pt x="1266" y="459"/>
                  <a:pt x="1267" y="458"/>
                </a:cubicBezTo>
                <a:cubicBezTo>
                  <a:pt x="1268" y="458"/>
                  <a:pt x="1269" y="457"/>
                  <a:pt x="1270" y="456"/>
                </a:cubicBezTo>
                <a:cubicBezTo>
                  <a:pt x="1270" y="456"/>
                  <a:pt x="1272" y="456"/>
                  <a:pt x="1274" y="456"/>
                </a:cubicBezTo>
                <a:cubicBezTo>
                  <a:pt x="1276" y="456"/>
                  <a:pt x="1278" y="455"/>
                  <a:pt x="1280" y="455"/>
                </a:cubicBezTo>
                <a:cubicBezTo>
                  <a:pt x="1280" y="455"/>
                  <a:pt x="1283" y="456"/>
                  <a:pt x="1285" y="456"/>
                </a:cubicBezTo>
                <a:cubicBezTo>
                  <a:pt x="1286" y="456"/>
                  <a:pt x="1287" y="455"/>
                  <a:pt x="1288" y="455"/>
                </a:cubicBezTo>
                <a:cubicBezTo>
                  <a:pt x="1289" y="455"/>
                  <a:pt x="1290" y="456"/>
                  <a:pt x="1291" y="456"/>
                </a:cubicBezTo>
                <a:cubicBezTo>
                  <a:pt x="1291" y="455"/>
                  <a:pt x="1292" y="454"/>
                  <a:pt x="1293" y="454"/>
                </a:cubicBezTo>
                <a:cubicBezTo>
                  <a:pt x="1293" y="454"/>
                  <a:pt x="1293" y="452"/>
                  <a:pt x="1293" y="451"/>
                </a:cubicBezTo>
                <a:cubicBezTo>
                  <a:pt x="1293" y="451"/>
                  <a:pt x="1295" y="449"/>
                  <a:pt x="1295" y="449"/>
                </a:cubicBezTo>
                <a:cubicBezTo>
                  <a:pt x="1296" y="449"/>
                  <a:pt x="1296" y="448"/>
                  <a:pt x="1297" y="447"/>
                </a:cubicBezTo>
                <a:cubicBezTo>
                  <a:pt x="1302" y="446"/>
                  <a:pt x="1302" y="446"/>
                  <a:pt x="1302" y="446"/>
                </a:cubicBezTo>
                <a:cubicBezTo>
                  <a:pt x="1302" y="445"/>
                  <a:pt x="1302" y="445"/>
                  <a:pt x="1302" y="444"/>
                </a:cubicBezTo>
                <a:cubicBezTo>
                  <a:pt x="1303" y="443"/>
                  <a:pt x="1304" y="442"/>
                  <a:pt x="1305" y="440"/>
                </a:cubicBezTo>
                <a:cubicBezTo>
                  <a:pt x="1306" y="439"/>
                  <a:pt x="1306" y="438"/>
                  <a:pt x="1306" y="437"/>
                </a:cubicBezTo>
                <a:cubicBezTo>
                  <a:pt x="1309" y="434"/>
                  <a:pt x="1311" y="435"/>
                  <a:pt x="1312" y="434"/>
                </a:cubicBezTo>
                <a:cubicBezTo>
                  <a:pt x="1313" y="433"/>
                  <a:pt x="1313" y="432"/>
                  <a:pt x="1312" y="432"/>
                </a:cubicBezTo>
                <a:cubicBezTo>
                  <a:pt x="1312" y="432"/>
                  <a:pt x="1310" y="433"/>
                  <a:pt x="1309" y="430"/>
                </a:cubicBezTo>
                <a:cubicBezTo>
                  <a:pt x="1308" y="427"/>
                  <a:pt x="1309" y="424"/>
                  <a:pt x="1310" y="422"/>
                </a:cubicBezTo>
                <a:cubicBezTo>
                  <a:pt x="1311" y="418"/>
                  <a:pt x="1313" y="416"/>
                  <a:pt x="1316" y="414"/>
                </a:cubicBezTo>
                <a:cubicBezTo>
                  <a:pt x="1316" y="414"/>
                  <a:pt x="1320" y="414"/>
                  <a:pt x="1320" y="413"/>
                </a:cubicBezTo>
                <a:cubicBezTo>
                  <a:pt x="1320" y="412"/>
                  <a:pt x="1318" y="412"/>
                  <a:pt x="1318" y="411"/>
                </a:cubicBezTo>
                <a:cubicBezTo>
                  <a:pt x="1318" y="409"/>
                  <a:pt x="1320" y="409"/>
                  <a:pt x="1321" y="408"/>
                </a:cubicBezTo>
                <a:cubicBezTo>
                  <a:pt x="1322" y="408"/>
                  <a:pt x="1323" y="407"/>
                  <a:pt x="1324" y="407"/>
                </a:cubicBezTo>
                <a:cubicBezTo>
                  <a:pt x="1329" y="405"/>
                  <a:pt x="1329" y="407"/>
                  <a:pt x="1330" y="406"/>
                </a:cubicBezTo>
                <a:cubicBezTo>
                  <a:pt x="1331" y="405"/>
                  <a:pt x="1331" y="403"/>
                  <a:pt x="1331" y="402"/>
                </a:cubicBezTo>
                <a:cubicBezTo>
                  <a:pt x="1332" y="402"/>
                  <a:pt x="1333" y="402"/>
                  <a:pt x="1333" y="402"/>
                </a:cubicBezTo>
                <a:cubicBezTo>
                  <a:pt x="1334" y="402"/>
                  <a:pt x="1336" y="401"/>
                  <a:pt x="1337" y="400"/>
                </a:cubicBezTo>
                <a:cubicBezTo>
                  <a:pt x="1338" y="400"/>
                  <a:pt x="1340" y="399"/>
                  <a:pt x="1340" y="399"/>
                </a:cubicBezTo>
                <a:cubicBezTo>
                  <a:pt x="1339" y="395"/>
                  <a:pt x="1339" y="395"/>
                  <a:pt x="1339" y="395"/>
                </a:cubicBezTo>
                <a:cubicBezTo>
                  <a:pt x="1340" y="395"/>
                  <a:pt x="1342" y="396"/>
                  <a:pt x="1342" y="394"/>
                </a:cubicBezTo>
                <a:cubicBezTo>
                  <a:pt x="1342" y="394"/>
                  <a:pt x="1341" y="393"/>
                  <a:pt x="1340" y="393"/>
                </a:cubicBezTo>
                <a:cubicBezTo>
                  <a:pt x="1339" y="389"/>
                  <a:pt x="1339" y="389"/>
                  <a:pt x="1339" y="389"/>
                </a:cubicBezTo>
                <a:cubicBezTo>
                  <a:pt x="1339" y="389"/>
                  <a:pt x="1341" y="384"/>
                  <a:pt x="1342" y="384"/>
                </a:cubicBezTo>
                <a:cubicBezTo>
                  <a:pt x="1346" y="384"/>
                  <a:pt x="1344" y="384"/>
                  <a:pt x="1346" y="382"/>
                </a:cubicBezTo>
                <a:cubicBezTo>
                  <a:pt x="1349" y="380"/>
                  <a:pt x="1349" y="380"/>
                  <a:pt x="1349" y="380"/>
                </a:cubicBezTo>
                <a:cubicBezTo>
                  <a:pt x="1350" y="382"/>
                  <a:pt x="1350" y="382"/>
                  <a:pt x="1350" y="382"/>
                </a:cubicBezTo>
                <a:cubicBezTo>
                  <a:pt x="1353" y="382"/>
                  <a:pt x="1353" y="382"/>
                  <a:pt x="1353" y="382"/>
                </a:cubicBezTo>
                <a:cubicBezTo>
                  <a:pt x="1354" y="383"/>
                  <a:pt x="1354" y="383"/>
                  <a:pt x="1354" y="383"/>
                </a:cubicBezTo>
                <a:cubicBezTo>
                  <a:pt x="1356" y="382"/>
                  <a:pt x="1356" y="382"/>
                  <a:pt x="1358" y="382"/>
                </a:cubicBezTo>
                <a:cubicBezTo>
                  <a:pt x="1359" y="384"/>
                  <a:pt x="1359" y="384"/>
                  <a:pt x="1361" y="385"/>
                </a:cubicBezTo>
                <a:cubicBezTo>
                  <a:pt x="1365" y="385"/>
                  <a:pt x="1364" y="384"/>
                  <a:pt x="1366" y="387"/>
                </a:cubicBezTo>
                <a:cubicBezTo>
                  <a:pt x="1368" y="384"/>
                  <a:pt x="1368" y="384"/>
                  <a:pt x="1368" y="384"/>
                </a:cubicBezTo>
                <a:cubicBezTo>
                  <a:pt x="1372" y="384"/>
                  <a:pt x="1372" y="384"/>
                  <a:pt x="1372" y="384"/>
                </a:cubicBezTo>
                <a:cubicBezTo>
                  <a:pt x="1378" y="378"/>
                  <a:pt x="1378" y="378"/>
                  <a:pt x="1378" y="378"/>
                </a:cubicBezTo>
                <a:cubicBezTo>
                  <a:pt x="1380" y="379"/>
                  <a:pt x="1380" y="379"/>
                  <a:pt x="1380" y="379"/>
                </a:cubicBezTo>
                <a:cubicBezTo>
                  <a:pt x="1381" y="379"/>
                  <a:pt x="1381" y="379"/>
                  <a:pt x="1381" y="379"/>
                </a:cubicBezTo>
                <a:cubicBezTo>
                  <a:pt x="1386" y="376"/>
                  <a:pt x="1386" y="376"/>
                  <a:pt x="1386" y="376"/>
                </a:cubicBezTo>
                <a:cubicBezTo>
                  <a:pt x="1386" y="374"/>
                  <a:pt x="1386" y="374"/>
                  <a:pt x="1386" y="374"/>
                </a:cubicBezTo>
                <a:cubicBezTo>
                  <a:pt x="1387" y="373"/>
                  <a:pt x="1390" y="372"/>
                  <a:pt x="1391" y="372"/>
                </a:cubicBezTo>
                <a:cubicBezTo>
                  <a:pt x="1393" y="372"/>
                  <a:pt x="1393" y="372"/>
                  <a:pt x="1393" y="372"/>
                </a:cubicBezTo>
                <a:cubicBezTo>
                  <a:pt x="1397" y="374"/>
                  <a:pt x="1397" y="374"/>
                  <a:pt x="1397" y="374"/>
                </a:cubicBezTo>
                <a:cubicBezTo>
                  <a:pt x="1401" y="377"/>
                  <a:pt x="1401" y="377"/>
                  <a:pt x="1401" y="377"/>
                </a:cubicBezTo>
                <a:cubicBezTo>
                  <a:pt x="1403" y="377"/>
                  <a:pt x="1403" y="377"/>
                  <a:pt x="1403" y="377"/>
                </a:cubicBezTo>
                <a:cubicBezTo>
                  <a:pt x="1404" y="383"/>
                  <a:pt x="1404" y="383"/>
                  <a:pt x="1404" y="383"/>
                </a:cubicBezTo>
                <a:cubicBezTo>
                  <a:pt x="1405" y="384"/>
                  <a:pt x="1406" y="384"/>
                  <a:pt x="1406" y="386"/>
                </a:cubicBezTo>
                <a:cubicBezTo>
                  <a:pt x="1405" y="387"/>
                  <a:pt x="1405" y="387"/>
                  <a:pt x="1405" y="387"/>
                </a:cubicBezTo>
                <a:cubicBezTo>
                  <a:pt x="1408" y="389"/>
                  <a:pt x="1408" y="389"/>
                  <a:pt x="1408" y="389"/>
                </a:cubicBezTo>
                <a:cubicBezTo>
                  <a:pt x="1409" y="391"/>
                  <a:pt x="1409" y="391"/>
                  <a:pt x="1409" y="391"/>
                </a:cubicBezTo>
                <a:cubicBezTo>
                  <a:pt x="1412" y="392"/>
                  <a:pt x="1412" y="392"/>
                  <a:pt x="1412" y="392"/>
                </a:cubicBezTo>
                <a:cubicBezTo>
                  <a:pt x="1419" y="399"/>
                  <a:pt x="1419" y="399"/>
                  <a:pt x="1419" y="399"/>
                </a:cubicBezTo>
                <a:cubicBezTo>
                  <a:pt x="1422" y="401"/>
                  <a:pt x="1422" y="401"/>
                  <a:pt x="1425" y="403"/>
                </a:cubicBezTo>
                <a:cubicBezTo>
                  <a:pt x="1427" y="404"/>
                  <a:pt x="1427" y="404"/>
                  <a:pt x="1428" y="406"/>
                </a:cubicBezTo>
                <a:cubicBezTo>
                  <a:pt x="1430" y="406"/>
                  <a:pt x="1430" y="406"/>
                  <a:pt x="1430" y="406"/>
                </a:cubicBezTo>
                <a:cubicBezTo>
                  <a:pt x="1431" y="406"/>
                  <a:pt x="1434" y="407"/>
                  <a:pt x="1435" y="407"/>
                </a:cubicBezTo>
                <a:cubicBezTo>
                  <a:pt x="1436" y="408"/>
                  <a:pt x="1437" y="411"/>
                  <a:pt x="1437" y="412"/>
                </a:cubicBezTo>
                <a:cubicBezTo>
                  <a:pt x="1439" y="411"/>
                  <a:pt x="1439" y="411"/>
                  <a:pt x="1439" y="411"/>
                </a:cubicBezTo>
                <a:cubicBezTo>
                  <a:pt x="1441" y="413"/>
                  <a:pt x="1441" y="413"/>
                  <a:pt x="1441" y="413"/>
                </a:cubicBezTo>
                <a:cubicBezTo>
                  <a:pt x="1440" y="414"/>
                  <a:pt x="1440" y="414"/>
                  <a:pt x="1440" y="414"/>
                </a:cubicBezTo>
                <a:cubicBezTo>
                  <a:pt x="1442" y="414"/>
                  <a:pt x="1442" y="414"/>
                  <a:pt x="1444" y="413"/>
                </a:cubicBezTo>
                <a:cubicBezTo>
                  <a:pt x="1445" y="416"/>
                  <a:pt x="1445" y="416"/>
                  <a:pt x="1445" y="416"/>
                </a:cubicBezTo>
                <a:cubicBezTo>
                  <a:pt x="1446" y="417"/>
                  <a:pt x="1445" y="418"/>
                  <a:pt x="1445" y="418"/>
                </a:cubicBezTo>
                <a:cubicBezTo>
                  <a:pt x="1446" y="419"/>
                  <a:pt x="1447" y="419"/>
                  <a:pt x="1448" y="419"/>
                </a:cubicBezTo>
                <a:cubicBezTo>
                  <a:pt x="1448" y="419"/>
                  <a:pt x="1449" y="419"/>
                  <a:pt x="1449" y="419"/>
                </a:cubicBezTo>
                <a:cubicBezTo>
                  <a:pt x="1449" y="419"/>
                  <a:pt x="1450" y="419"/>
                  <a:pt x="1451" y="419"/>
                </a:cubicBezTo>
                <a:cubicBezTo>
                  <a:pt x="1452" y="420"/>
                  <a:pt x="1454" y="424"/>
                  <a:pt x="1454" y="425"/>
                </a:cubicBezTo>
                <a:cubicBezTo>
                  <a:pt x="1455" y="427"/>
                  <a:pt x="1457" y="430"/>
                  <a:pt x="1457" y="431"/>
                </a:cubicBezTo>
                <a:cubicBezTo>
                  <a:pt x="1458" y="433"/>
                  <a:pt x="1456" y="433"/>
                  <a:pt x="1455" y="434"/>
                </a:cubicBezTo>
                <a:cubicBezTo>
                  <a:pt x="1455" y="435"/>
                  <a:pt x="1455" y="436"/>
                  <a:pt x="1454" y="436"/>
                </a:cubicBezTo>
                <a:cubicBezTo>
                  <a:pt x="1454" y="439"/>
                  <a:pt x="1453" y="437"/>
                  <a:pt x="1452" y="438"/>
                </a:cubicBezTo>
                <a:cubicBezTo>
                  <a:pt x="1452" y="439"/>
                  <a:pt x="1452" y="439"/>
                  <a:pt x="1452" y="439"/>
                </a:cubicBezTo>
                <a:cubicBezTo>
                  <a:pt x="1452" y="440"/>
                  <a:pt x="1451" y="440"/>
                  <a:pt x="1451" y="441"/>
                </a:cubicBezTo>
                <a:cubicBezTo>
                  <a:pt x="1451" y="442"/>
                  <a:pt x="1451" y="442"/>
                  <a:pt x="1452" y="442"/>
                </a:cubicBezTo>
                <a:cubicBezTo>
                  <a:pt x="1453" y="443"/>
                  <a:pt x="1453" y="442"/>
                  <a:pt x="1454" y="442"/>
                </a:cubicBezTo>
                <a:cubicBezTo>
                  <a:pt x="1458" y="442"/>
                  <a:pt x="1457" y="441"/>
                  <a:pt x="1459" y="439"/>
                </a:cubicBezTo>
                <a:cubicBezTo>
                  <a:pt x="1459" y="439"/>
                  <a:pt x="1460" y="438"/>
                  <a:pt x="1461" y="438"/>
                </a:cubicBezTo>
                <a:cubicBezTo>
                  <a:pt x="1461" y="437"/>
                  <a:pt x="1460" y="435"/>
                  <a:pt x="1461" y="434"/>
                </a:cubicBezTo>
                <a:cubicBezTo>
                  <a:pt x="1461" y="433"/>
                  <a:pt x="1463" y="432"/>
                  <a:pt x="1464" y="431"/>
                </a:cubicBezTo>
                <a:cubicBezTo>
                  <a:pt x="1465" y="432"/>
                  <a:pt x="1465" y="432"/>
                  <a:pt x="1465" y="432"/>
                </a:cubicBezTo>
                <a:cubicBezTo>
                  <a:pt x="1465" y="426"/>
                  <a:pt x="1465" y="426"/>
                  <a:pt x="1465" y="426"/>
                </a:cubicBezTo>
                <a:cubicBezTo>
                  <a:pt x="1462" y="424"/>
                  <a:pt x="1462" y="424"/>
                  <a:pt x="1462" y="424"/>
                </a:cubicBezTo>
                <a:cubicBezTo>
                  <a:pt x="1460" y="423"/>
                  <a:pt x="1459" y="424"/>
                  <a:pt x="1460" y="422"/>
                </a:cubicBezTo>
                <a:cubicBezTo>
                  <a:pt x="1460" y="419"/>
                  <a:pt x="1462" y="416"/>
                  <a:pt x="1464" y="414"/>
                </a:cubicBezTo>
                <a:cubicBezTo>
                  <a:pt x="1466" y="415"/>
                  <a:pt x="1467" y="416"/>
                  <a:pt x="1467" y="416"/>
                </a:cubicBezTo>
                <a:cubicBezTo>
                  <a:pt x="1472" y="417"/>
                  <a:pt x="1472" y="417"/>
                  <a:pt x="1472" y="417"/>
                </a:cubicBezTo>
                <a:cubicBezTo>
                  <a:pt x="1474" y="421"/>
                  <a:pt x="1473" y="420"/>
                  <a:pt x="1476" y="422"/>
                </a:cubicBezTo>
                <a:cubicBezTo>
                  <a:pt x="1477" y="421"/>
                  <a:pt x="1477" y="421"/>
                  <a:pt x="1477" y="421"/>
                </a:cubicBezTo>
                <a:cubicBezTo>
                  <a:pt x="1478" y="419"/>
                  <a:pt x="1478" y="419"/>
                  <a:pt x="1478" y="419"/>
                </a:cubicBezTo>
                <a:cubicBezTo>
                  <a:pt x="1477" y="416"/>
                  <a:pt x="1477" y="416"/>
                  <a:pt x="1477" y="416"/>
                </a:cubicBezTo>
                <a:cubicBezTo>
                  <a:pt x="1474" y="414"/>
                  <a:pt x="1474" y="414"/>
                  <a:pt x="1474" y="414"/>
                </a:cubicBezTo>
                <a:cubicBezTo>
                  <a:pt x="1470" y="411"/>
                  <a:pt x="1470" y="411"/>
                  <a:pt x="1470" y="411"/>
                </a:cubicBezTo>
                <a:cubicBezTo>
                  <a:pt x="1467" y="410"/>
                  <a:pt x="1467" y="410"/>
                  <a:pt x="1467" y="410"/>
                </a:cubicBezTo>
                <a:cubicBezTo>
                  <a:pt x="1465" y="408"/>
                  <a:pt x="1465" y="408"/>
                  <a:pt x="1465" y="408"/>
                </a:cubicBezTo>
                <a:cubicBezTo>
                  <a:pt x="1460" y="407"/>
                  <a:pt x="1460" y="407"/>
                  <a:pt x="1460" y="407"/>
                </a:cubicBezTo>
                <a:cubicBezTo>
                  <a:pt x="1456" y="405"/>
                  <a:pt x="1456" y="405"/>
                  <a:pt x="1456" y="405"/>
                </a:cubicBezTo>
                <a:cubicBezTo>
                  <a:pt x="1452" y="403"/>
                  <a:pt x="1456" y="402"/>
                  <a:pt x="1456" y="401"/>
                </a:cubicBezTo>
                <a:cubicBezTo>
                  <a:pt x="1458" y="397"/>
                  <a:pt x="1452" y="399"/>
                  <a:pt x="1450" y="399"/>
                </a:cubicBezTo>
                <a:cubicBezTo>
                  <a:pt x="1443" y="399"/>
                  <a:pt x="1443" y="396"/>
                  <a:pt x="1441" y="394"/>
                </a:cubicBezTo>
                <a:cubicBezTo>
                  <a:pt x="1440" y="394"/>
                  <a:pt x="1439" y="393"/>
                  <a:pt x="1438" y="392"/>
                </a:cubicBezTo>
                <a:cubicBezTo>
                  <a:pt x="1435" y="389"/>
                  <a:pt x="1435" y="385"/>
                  <a:pt x="1434" y="381"/>
                </a:cubicBezTo>
                <a:cubicBezTo>
                  <a:pt x="1431" y="380"/>
                  <a:pt x="1430" y="380"/>
                  <a:pt x="1428" y="378"/>
                </a:cubicBezTo>
                <a:cubicBezTo>
                  <a:pt x="1422" y="373"/>
                  <a:pt x="1422" y="373"/>
                  <a:pt x="1422" y="373"/>
                </a:cubicBezTo>
                <a:cubicBezTo>
                  <a:pt x="1421" y="368"/>
                  <a:pt x="1421" y="368"/>
                  <a:pt x="1421" y="368"/>
                </a:cubicBezTo>
                <a:cubicBezTo>
                  <a:pt x="1422" y="367"/>
                  <a:pt x="1422" y="367"/>
                  <a:pt x="1422" y="367"/>
                </a:cubicBezTo>
                <a:cubicBezTo>
                  <a:pt x="1424" y="367"/>
                  <a:pt x="1424" y="367"/>
                  <a:pt x="1424" y="367"/>
                </a:cubicBezTo>
                <a:cubicBezTo>
                  <a:pt x="1422" y="364"/>
                  <a:pt x="1422" y="364"/>
                  <a:pt x="1422" y="364"/>
                </a:cubicBezTo>
                <a:cubicBezTo>
                  <a:pt x="1421" y="363"/>
                  <a:pt x="1421" y="363"/>
                  <a:pt x="1421" y="363"/>
                </a:cubicBezTo>
                <a:cubicBezTo>
                  <a:pt x="1421" y="363"/>
                  <a:pt x="1420" y="360"/>
                  <a:pt x="1422" y="360"/>
                </a:cubicBezTo>
                <a:cubicBezTo>
                  <a:pt x="1423" y="359"/>
                  <a:pt x="1424" y="360"/>
                  <a:pt x="1425" y="360"/>
                </a:cubicBezTo>
                <a:cubicBezTo>
                  <a:pt x="1425" y="360"/>
                  <a:pt x="1425" y="359"/>
                  <a:pt x="1426" y="359"/>
                </a:cubicBezTo>
                <a:cubicBezTo>
                  <a:pt x="1426" y="359"/>
                  <a:pt x="1427" y="359"/>
                  <a:pt x="1427" y="359"/>
                </a:cubicBezTo>
                <a:cubicBezTo>
                  <a:pt x="1428" y="357"/>
                  <a:pt x="1428" y="357"/>
                  <a:pt x="1428" y="357"/>
                </a:cubicBezTo>
                <a:cubicBezTo>
                  <a:pt x="1430" y="358"/>
                  <a:pt x="1430" y="358"/>
                  <a:pt x="1432" y="357"/>
                </a:cubicBezTo>
                <a:cubicBezTo>
                  <a:pt x="1432" y="356"/>
                  <a:pt x="1432" y="356"/>
                  <a:pt x="1432" y="356"/>
                </a:cubicBezTo>
                <a:cubicBezTo>
                  <a:pt x="1432" y="357"/>
                  <a:pt x="1434" y="358"/>
                  <a:pt x="1435" y="361"/>
                </a:cubicBezTo>
                <a:cubicBezTo>
                  <a:pt x="1435" y="361"/>
                  <a:pt x="1435" y="361"/>
                  <a:pt x="1435" y="361"/>
                </a:cubicBezTo>
                <a:cubicBezTo>
                  <a:pt x="1434" y="362"/>
                  <a:pt x="1434" y="361"/>
                  <a:pt x="1433" y="361"/>
                </a:cubicBezTo>
                <a:cubicBezTo>
                  <a:pt x="1433" y="361"/>
                  <a:pt x="1432" y="360"/>
                  <a:pt x="1432" y="361"/>
                </a:cubicBezTo>
                <a:cubicBezTo>
                  <a:pt x="1431" y="362"/>
                  <a:pt x="1432" y="363"/>
                  <a:pt x="1433" y="364"/>
                </a:cubicBezTo>
                <a:cubicBezTo>
                  <a:pt x="1433" y="365"/>
                  <a:pt x="1433" y="365"/>
                  <a:pt x="1434" y="365"/>
                </a:cubicBezTo>
                <a:cubicBezTo>
                  <a:pt x="1434" y="367"/>
                  <a:pt x="1435" y="368"/>
                  <a:pt x="1435" y="368"/>
                </a:cubicBezTo>
                <a:cubicBezTo>
                  <a:pt x="1437" y="366"/>
                  <a:pt x="1436" y="366"/>
                  <a:pt x="1437" y="366"/>
                </a:cubicBezTo>
                <a:cubicBezTo>
                  <a:pt x="1437" y="366"/>
                  <a:pt x="1438" y="365"/>
                  <a:pt x="1438" y="366"/>
                </a:cubicBezTo>
                <a:cubicBezTo>
                  <a:pt x="1439" y="367"/>
                  <a:pt x="1439" y="367"/>
                  <a:pt x="1439" y="367"/>
                </a:cubicBezTo>
                <a:cubicBezTo>
                  <a:pt x="1440" y="367"/>
                  <a:pt x="1440" y="364"/>
                  <a:pt x="1441" y="364"/>
                </a:cubicBezTo>
                <a:cubicBezTo>
                  <a:pt x="1441" y="364"/>
                  <a:pt x="1442" y="365"/>
                  <a:pt x="1442" y="365"/>
                </a:cubicBezTo>
                <a:cubicBezTo>
                  <a:pt x="1442" y="365"/>
                  <a:pt x="1443" y="365"/>
                  <a:pt x="1443" y="365"/>
                </a:cubicBezTo>
                <a:cubicBezTo>
                  <a:pt x="1444" y="365"/>
                  <a:pt x="1444" y="365"/>
                  <a:pt x="1444" y="365"/>
                </a:cubicBezTo>
                <a:cubicBezTo>
                  <a:pt x="1443" y="369"/>
                  <a:pt x="1445" y="369"/>
                  <a:pt x="1442" y="369"/>
                </a:cubicBezTo>
                <a:cubicBezTo>
                  <a:pt x="1442" y="370"/>
                  <a:pt x="1442" y="370"/>
                  <a:pt x="1442" y="370"/>
                </a:cubicBezTo>
                <a:cubicBezTo>
                  <a:pt x="1443" y="370"/>
                  <a:pt x="1446" y="371"/>
                  <a:pt x="1446" y="372"/>
                </a:cubicBezTo>
                <a:cubicBezTo>
                  <a:pt x="1446" y="372"/>
                  <a:pt x="1447" y="372"/>
                  <a:pt x="1447" y="372"/>
                </a:cubicBezTo>
                <a:cubicBezTo>
                  <a:pt x="1446" y="373"/>
                  <a:pt x="1446" y="373"/>
                  <a:pt x="1446" y="373"/>
                </a:cubicBezTo>
                <a:cubicBezTo>
                  <a:pt x="1446" y="373"/>
                  <a:pt x="1446" y="374"/>
                  <a:pt x="1446" y="375"/>
                </a:cubicBezTo>
                <a:cubicBezTo>
                  <a:pt x="1447" y="375"/>
                  <a:pt x="1448" y="377"/>
                  <a:pt x="1448" y="377"/>
                </a:cubicBezTo>
                <a:cubicBezTo>
                  <a:pt x="1448" y="377"/>
                  <a:pt x="1454" y="381"/>
                  <a:pt x="1455" y="381"/>
                </a:cubicBezTo>
                <a:cubicBezTo>
                  <a:pt x="1457" y="381"/>
                  <a:pt x="1459" y="379"/>
                  <a:pt x="1461" y="382"/>
                </a:cubicBezTo>
                <a:cubicBezTo>
                  <a:pt x="1462" y="383"/>
                  <a:pt x="1464" y="384"/>
                  <a:pt x="1466" y="386"/>
                </a:cubicBezTo>
                <a:cubicBezTo>
                  <a:pt x="1466" y="386"/>
                  <a:pt x="1467" y="387"/>
                  <a:pt x="1468" y="387"/>
                </a:cubicBezTo>
                <a:cubicBezTo>
                  <a:pt x="1469" y="386"/>
                  <a:pt x="1469" y="386"/>
                  <a:pt x="1469" y="386"/>
                </a:cubicBezTo>
                <a:cubicBezTo>
                  <a:pt x="1469" y="386"/>
                  <a:pt x="1469" y="386"/>
                  <a:pt x="1469" y="386"/>
                </a:cubicBezTo>
                <a:cubicBezTo>
                  <a:pt x="1469" y="387"/>
                  <a:pt x="1469" y="388"/>
                  <a:pt x="1470" y="388"/>
                </a:cubicBezTo>
                <a:cubicBezTo>
                  <a:pt x="1471" y="389"/>
                  <a:pt x="1473" y="390"/>
                  <a:pt x="1473" y="390"/>
                </a:cubicBezTo>
                <a:cubicBezTo>
                  <a:pt x="1473" y="390"/>
                  <a:pt x="1473" y="391"/>
                  <a:pt x="1473" y="391"/>
                </a:cubicBezTo>
                <a:cubicBezTo>
                  <a:pt x="1474" y="391"/>
                  <a:pt x="1474" y="391"/>
                  <a:pt x="1475" y="391"/>
                </a:cubicBezTo>
                <a:cubicBezTo>
                  <a:pt x="1475" y="391"/>
                  <a:pt x="1476" y="392"/>
                  <a:pt x="1477" y="392"/>
                </a:cubicBezTo>
                <a:cubicBezTo>
                  <a:pt x="1477" y="393"/>
                  <a:pt x="1477" y="394"/>
                  <a:pt x="1478" y="394"/>
                </a:cubicBezTo>
                <a:cubicBezTo>
                  <a:pt x="1480" y="396"/>
                  <a:pt x="1480" y="396"/>
                  <a:pt x="1480" y="396"/>
                </a:cubicBezTo>
                <a:cubicBezTo>
                  <a:pt x="1482" y="398"/>
                  <a:pt x="1482" y="398"/>
                  <a:pt x="1482" y="398"/>
                </a:cubicBezTo>
                <a:cubicBezTo>
                  <a:pt x="1484" y="400"/>
                  <a:pt x="1484" y="400"/>
                  <a:pt x="1484" y="400"/>
                </a:cubicBezTo>
                <a:cubicBezTo>
                  <a:pt x="1485" y="400"/>
                  <a:pt x="1485" y="400"/>
                  <a:pt x="1485" y="400"/>
                </a:cubicBezTo>
                <a:cubicBezTo>
                  <a:pt x="1485" y="398"/>
                  <a:pt x="1484" y="397"/>
                  <a:pt x="1484" y="396"/>
                </a:cubicBezTo>
                <a:cubicBezTo>
                  <a:pt x="1484" y="397"/>
                  <a:pt x="1485" y="398"/>
                  <a:pt x="1485" y="400"/>
                </a:cubicBezTo>
                <a:cubicBezTo>
                  <a:pt x="1486" y="402"/>
                  <a:pt x="1486" y="402"/>
                  <a:pt x="1486" y="402"/>
                </a:cubicBezTo>
                <a:cubicBezTo>
                  <a:pt x="1485" y="407"/>
                  <a:pt x="1485" y="407"/>
                  <a:pt x="1485" y="407"/>
                </a:cubicBezTo>
                <a:cubicBezTo>
                  <a:pt x="1484" y="411"/>
                  <a:pt x="1486" y="408"/>
                  <a:pt x="1483" y="412"/>
                </a:cubicBezTo>
                <a:cubicBezTo>
                  <a:pt x="1483" y="413"/>
                  <a:pt x="1485" y="416"/>
                  <a:pt x="1486" y="417"/>
                </a:cubicBezTo>
                <a:cubicBezTo>
                  <a:pt x="1489" y="419"/>
                  <a:pt x="1488" y="418"/>
                  <a:pt x="1490" y="422"/>
                </a:cubicBezTo>
                <a:cubicBezTo>
                  <a:pt x="1487" y="423"/>
                  <a:pt x="1487" y="423"/>
                  <a:pt x="1487" y="423"/>
                </a:cubicBezTo>
                <a:cubicBezTo>
                  <a:pt x="1489" y="425"/>
                  <a:pt x="1489" y="425"/>
                  <a:pt x="1491" y="427"/>
                </a:cubicBezTo>
                <a:cubicBezTo>
                  <a:pt x="1491" y="424"/>
                  <a:pt x="1491" y="425"/>
                  <a:pt x="1489" y="423"/>
                </a:cubicBezTo>
                <a:cubicBezTo>
                  <a:pt x="1492" y="422"/>
                  <a:pt x="1491" y="422"/>
                  <a:pt x="1493" y="423"/>
                </a:cubicBezTo>
                <a:cubicBezTo>
                  <a:pt x="1493" y="423"/>
                  <a:pt x="1493" y="423"/>
                  <a:pt x="1493" y="423"/>
                </a:cubicBezTo>
                <a:cubicBezTo>
                  <a:pt x="1491" y="423"/>
                  <a:pt x="1491" y="423"/>
                  <a:pt x="1491" y="423"/>
                </a:cubicBezTo>
                <a:cubicBezTo>
                  <a:pt x="1495" y="428"/>
                  <a:pt x="1495" y="428"/>
                  <a:pt x="1495" y="428"/>
                </a:cubicBezTo>
                <a:cubicBezTo>
                  <a:pt x="1498" y="429"/>
                  <a:pt x="1500" y="430"/>
                  <a:pt x="1503" y="431"/>
                </a:cubicBezTo>
                <a:cubicBezTo>
                  <a:pt x="1503" y="431"/>
                  <a:pt x="1503" y="431"/>
                  <a:pt x="1502" y="431"/>
                </a:cubicBezTo>
                <a:cubicBezTo>
                  <a:pt x="1501" y="432"/>
                  <a:pt x="1500" y="432"/>
                  <a:pt x="1498" y="432"/>
                </a:cubicBezTo>
                <a:cubicBezTo>
                  <a:pt x="1498" y="432"/>
                  <a:pt x="1496" y="435"/>
                  <a:pt x="1497" y="435"/>
                </a:cubicBezTo>
                <a:cubicBezTo>
                  <a:pt x="1499" y="435"/>
                  <a:pt x="1499" y="434"/>
                  <a:pt x="1499" y="433"/>
                </a:cubicBezTo>
                <a:cubicBezTo>
                  <a:pt x="1502" y="437"/>
                  <a:pt x="1502" y="437"/>
                  <a:pt x="1502" y="437"/>
                </a:cubicBezTo>
                <a:cubicBezTo>
                  <a:pt x="1506" y="438"/>
                  <a:pt x="1506" y="438"/>
                  <a:pt x="1506" y="438"/>
                </a:cubicBezTo>
                <a:cubicBezTo>
                  <a:pt x="1509" y="438"/>
                  <a:pt x="1513" y="437"/>
                  <a:pt x="1516" y="438"/>
                </a:cubicBezTo>
                <a:cubicBezTo>
                  <a:pt x="1520" y="439"/>
                  <a:pt x="1520" y="439"/>
                  <a:pt x="1520" y="439"/>
                </a:cubicBezTo>
                <a:cubicBezTo>
                  <a:pt x="1521" y="441"/>
                  <a:pt x="1521" y="441"/>
                  <a:pt x="1521" y="441"/>
                </a:cubicBezTo>
                <a:cubicBezTo>
                  <a:pt x="1520" y="441"/>
                  <a:pt x="1518" y="441"/>
                  <a:pt x="1517" y="443"/>
                </a:cubicBezTo>
                <a:cubicBezTo>
                  <a:pt x="1514" y="441"/>
                  <a:pt x="1511" y="439"/>
                  <a:pt x="1508" y="438"/>
                </a:cubicBezTo>
                <a:cubicBezTo>
                  <a:pt x="1506" y="440"/>
                  <a:pt x="1507" y="440"/>
                  <a:pt x="1504" y="440"/>
                </a:cubicBezTo>
                <a:cubicBezTo>
                  <a:pt x="1504" y="443"/>
                  <a:pt x="1504" y="443"/>
                  <a:pt x="1504" y="443"/>
                </a:cubicBezTo>
                <a:cubicBezTo>
                  <a:pt x="1503" y="443"/>
                  <a:pt x="1503" y="443"/>
                  <a:pt x="1503" y="443"/>
                </a:cubicBezTo>
                <a:cubicBezTo>
                  <a:pt x="1506" y="446"/>
                  <a:pt x="1508" y="446"/>
                  <a:pt x="1507" y="451"/>
                </a:cubicBezTo>
                <a:cubicBezTo>
                  <a:pt x="1507" y="452"/>
                  <a:pt x="1507" y="452"/>
                  <a:pt x="1507" y="453"/>
                </a:cubicBezTo>
                <a:cubicBezTo>
                  <a:pt x="1507" y="452"/>
                  <a:pt x="1507" y="452"/>
                  <a:pt x="1507" y="452"/>
                </a:cubicBezTo>
                <a:cubicBezTo>
                  <a:pt x="1507" y="453"/>
                  <a:pt x="1506" y="453"/>
                  <a:pt x="1506" y="454"/>
                </a:cubicBezTo>
                <a:cubicBezTo>
                  <a:pt x="1507" y="455"/>
                  <a:pt x="1507" y="455"/>
                  <a:pt x="1507" y="455"/>
                </a:cubicBezTo>
                <a:cubicBezTo>
                  <a:pt x="1507" y="454"/>
                  <a:pt x="1507" y="454"/>
                  <a:pt x="1508" y="454"/>
                </a:cubicBezTo>
                <a:cubicBezTo>
                  <a:pt x="1508" y="454"/>
                  <a:pt x="1508" y="454"/>
                  <a:pt x="1508" y="454"/>
                </a:cubicBezTo>
                <a:cubicBezTo>
                  <a:pt x="1508" y="454"/>
                  <a:pt x="1508" y="455"/>
                  <a:pt x="1508" y="455"/>
                </a:cubicBezTo>
                <a:cubicBezTo>
                  <a:pt x="1510" y="456"/>
                  <a:pt x="1510" y="456"/>
                  <a:pt x="1510" y="456"/>
                </a:cubicBezTo>
                <a:cubicBezTo>
                  <a:pt x="1510" y="454"/>
                  <a:pt x="1511" y="450"/>
                  <a:pt x="1513" y="454"/>
                </a:cubicBezTo>
                <a:cubicBezTo>
                  <a:pt x="1513" y="456"/>
                  <a:pt x="1514" y="462"/>
                  <a:pt x="1515" y="459"/>
                </a:cubicBezTo>
                <a:cubicBezTo>
                  <a:pt x="1515" y="458"/>
                  <a:pt x="1516" y="454"/>
                  <a:pt x="1517" y="454"/>
                </a:cubicBezTo>
                <a:cubicBezTo>
                  <a:pt x="1520" y="454"/>
                  <a:pt x="1517" y="459"/>
                  <a:pt x="1520" y="459"/>
                </a:cubicBezTo>
                <a:cubicBezTo>
                  <a:pt x="1523" y="459"/>
                  <a:pt x="1521" y="459"/>
                  <a:pt x="1521" y="456"/>
                </a:cubicBezTo>
                <a:cubicBezTo>
                  <a:pt x="1521" y="455"/>
                  <a:pt x="1522" y="456"/>
                  <a:pt x="1521" y="454"/>
                </a:cubicBezTo>
                <a:cubicBezTo>
                  <a:pt x="1520" y="452"/>
                  <a:pt x="1521" y="453"/>
                  <a:pt x="1520" y="452"/>
                </a:cubicBezTo>
                <a:cubicBezTo>
                  <a:pt x="1520" y="452"/>
                  <a:pt x="1515" y="448"/>
                  <a:pt x="1517" y="447"/>
                </a:cubicBezTo>
                <a:cubicBezTo>
                  <a:pt x="1518" y="446"/>
                  <a:pt x="1523" y="450"/>
                  <a:pt x="1523" y="448"/>
                </a:cubicBezTo>
                <a:cubicBezTo>
                  <a:pt x="1523" y="445"/>
                  <a:pt x="1522" y="444"/>
                  <a:pt x="1519" y="442"/>
                </a:cubicBezTo>
                <a:cubicBezTo>
                  <a:pt x="1519" y="442"/>
                  <a:pt x="1520" y="442"/>
                  <a:pt x="1521" y="441"/>
                </a:cubicBezTo>
                <a:cubicBezTo>
                  <a:pt x="1522" y="441"/>
                  <a:pt x="1523" y="441"/>
                  <a:pt x="1525" y="443"/>
                </a:cubicBezTo>
                <a:cubicBezTo>
                  <a:pt x="1526" y="445"/>
                  <a:pt x="1526" y="445"/>
                  <a:pt x="1528" y="445"/>
                </a:cubicBezTo>
                <a:cubicBezTo>
                  <a:pt x="1528" y="444"/>
                  <a:pt x="1529" y="439"/>
                  <a:pt x="1528" y="438"/>
                </a:cubicBezTo>
                <a:cubicBezTo>
                  <a:pt x="1525" y="438"/>
                  <a:pt x="1522" y="438"/>
                  <a:pt x="1522" y="435"/>
                </a:cubicBezTo>
                <a:cubicBezTo>
                  <a:pt x="1520" y="435"/>
                  <a:pt x="1520" y="435"/>
                  <a:pt x="1520" y="435"/>
                </a:cubicBezTo>
                <a:cubicBezTo>
                  <a:pt x="1519" y="431"/>
                  <a:pt x="1516" y="435"/>
                  <a:pt x="1515" y="432"/>
                </a:cubicBezTo>
                <a:cubicBezTo>
                  <a:pt x="1515" y="432"/>
                  <a:pt x="1515" y="432"/>
                  <a:pt x="1516" y="432"/>
                </a:cubicBezTo>
                <a:cubicBezTo>
                  <a:pt x="1519" y="432"/>
                  <a:pt x="1519" y="430"/>
                  <a:pt x="1518" y="428"/>
                </a:cubicBezTo>
                <a:cubicBezTo>
                  <a:pt x="1518" y="426"/>
                  <a:pt x="1518" y="423"/>
                  <a:pt x="1518" y="423"/>
                </a:cubicBezTo>
                <a:cubicBezTo>
                  <a:pt x="1514" y="423"/>
                  <a:pt x="1514" y="417"/>
                  <a:pt x="1515" y="414"/>
                </a:cubicBezTo>
                <a:cubicBezTo>
                  <a:pt x="1517" y="413"/>
                  <a:pt x="1517" y="413"/>
                  <a:pt x="1517" y="413"/>
                </a:cubicBezTo>
                <a:cubicBezTo>
                  <a:pt x="1517" y="413"/>
                  <a:pt x="1517" y="415"/>
                  <a:pt x="1517" y="416"/>
                </a:cubicBezTo>
                <a:cubicBezTo>
                  <a:pt x="1520" y="417"/>
                  <a:pt x="1521" y="417"/>
                  <a:pt x="1521" y="421"/>
                </a:cubicBezTo>
                <a:cubicBezTo>
                  <a:pt x="1521" y="421"/>
                  <a:pt x="1523" y="421"/>
                  <a:pt x="1524" y="421"/>
                </a:cubicBezTo>
                <a:cubicBezTo>
                  <a:pt x="1526" y="421"/>
                  <a:pt x="1522" y="418"/>
                  <a:pt x="1522" y="418"/>
                </a:cubicBezTo>
                <a:cubicBezTo>
                  <a:pt x="1522" y="417"/>
                  <a:pt x="1522" y="417"/>
                  <a:pt x="1522" y="417"/>
                </a:cubicBezTo>
                <a:cubicBezTo>
                  <a:pt x="1523" y="418"/>
                  <a:pt x="1524" y="418"/>
                  <a:pt x="1525" y="419"/>
                </a:cubicBezTo>
                <a:cubicBezTo>
                  <a:pt x="1525" y="419"/>
                  <a:pt x="1525" y="421"/>
                  <a:pt x="1525" y="421"/>
                </a:cubicBezTo>
                <a:cubicBezTo>
                  <a:pt x="1526" y="421"/>
                  <a:pt x="1526" y="422"/>
                  <a:pt x="1526" y="421"/>
                </a:cubicBezTo>
                <a:cubicBezTo>
                  <a:pt x="1526" y="420"/>
                  <a:pt x="1527" y="418"/>
                  <a:pt x="1526" y="418"/>
                </a:cubicBezTo>
                <a:cubicBezTo>
                  <a:pt x="1525" y="418"/>
                  <a:pt x="1524" y="417"/>
                  <a:pt x="1524" y="416"/>
                </a:cubicBezTo>
                <a:cubicBezTo>
                  <a:pt x="1527" y="415"/>
                  <a:pt x="1528" y="417"/>
                  <a:pt x="1529" y="419"/>
                </a:cubicBezTo>
                <a:cubicBezTo>
                  <a:pt x="1529" y="419"/>
                  <a:pt x="1531" y="419"/>
                  <a:pt x="1531" y="418"/>
                </a:cubicBezTo>
                <a:cubicBezTo>
                  <a:pt x="1531" y="415"/>
                  <a:pt x="1528" y="415"/>
                  <a:pt x="1525" y="414"/>
                </a:cubicBezTo>
                <a:cubicBezTo>
                  <a:pt x="1524" y="412"/>
                  <a:pt x="1524" y="412"/>
                  <a:pt x="1524" y="412"/>
                </a:cubicBezTo>
                <a:cubicBezTo>
                  <a:pt x="1525" y="410"/>
                  <a:pt x="1525" y="412"/>
                  <a:pt x="1527" y="412"/>
                </a:cubicBezTo>
                <a:cubicBezTo>
                  <a:pt x="1528" y="412"/>
                  <a:pt x="1528" y="412"/>
                  <a:pt x="1529" y="410"/>
                </a:cubicBezTo>
                <a:cubicBezTo>
                  <a:pt x="1529" y="408"/>
                  <a:pt x="1533" y="409"/>
                  <a:pt x="1532" y="411"/>
                </a:cubicBezTo>
                <a:cubicBezTo>
                  <a:pt x="1532" y="411"/>
                  <a:pt x="1531" y="412"/>
                  <a:pt x="1531" y="413"/>
                </a:cubicBezTo>
                <a:cubicBezTo>
                  <a:pt x="1533" y="415"/>
                  <a:pt x="1533" y="410"/>
                  <a:pt x="1534" y="410"/>
                </a:cubicBezTo>
                <a:cubicBezTo>
                  <a:pt x="1535" y="410"/>
                  <a:pt x="1535" y="409"/>
                  <a:pt x="1536" y="409"/>
                </a:cubicBezTo>
                <a:cubicBezTo>
                  <a:pt x="1539" y="410"/>
                  <a:pt x="1543" y="410"/>
                  <a:pt x="1546" y="411"/>
                </a:cubicBezTo>
                <a:cubicBezTo>
                  <a:pt x="1546" y="411"/>
                  <a:pt x="1545" y="411"/>
                  <a:pt x="1545" y="412"/>
                </a:cubicBezTo>
                <a:cubicBezTo>
                  <a:pt x="1545" y="413"/>
                  <a:pt x="1545" y="413"/>
                  <a:pt x="1547" y="413"/>
                </a:cubicBezTo>
                <a:cubicBezTo>
                  <a:pt x="1549" y="413"/>
                  <a:pt x="1549" y="413"/>
                  <a:pt x="1551" y="412"/>
                </a:cubicBezTo>
                <a:cubicBezTo>
                  <a:pt x="1551" y="413"/>
                  <a:pt x="1551" y="413"/>
                  <a:pt x="1551" y="413"/>
                </a:cubicBezTo>
                <a:cubicBezTo>
                  <a:pt x="1550" y="414"/>
                  <a:pt x="1550" y="414"/>
                  <a:pt x="1550" y="414"/>
                </a:cubicBezTo>
                <a:cubicBezTo>
                  <a:pt x="1549" y="414"/>
                  <a:pt x="1549" y="414"/>
                  <a:pt x="1549" y="414"/>
                </a:cubicBezTo>
                <a:cubicBezTo>
                  <a:pt x="1547" y="415"/>
                  <a:pt x="1547" y="415"/>
                  <a:pt x="1547" y="415"/>
                </a:cubicBezTo>
                <a:cubicBezTo>
                  <a:pt x="1548" y="417"/>
                  <a:pt x="1548" y="417"/>
                  <a:pt x="1548" y="417"/>
                </a:cubicBezTo>
                <a:cubicBezTo>
                  <a:pt x="1550" y="416"/>
                  <a:pt x="1550" y="416"/>
                  <a:pt x="1550" y="416"/>
                </a:cubicBezTo>
                <a:cubicBezTo>
                  <a:pt x="1551" y="414"/>
                  <a:pt x="1550" y="414"/>
                  <a:pt x="1552" y="413"/>
                </a:cubicBezTo>
                <a:cubicBezTo>
                  <a:pt x="1556" y="412"/>
                  <a:pt x="1556" y="412"/>
                  <a:pt x="1556" y="412"/>
                </a:cubicBezTo>
                <a:cubicBezTo>
                  <a:pt x="1557" y="409"/>
                  <a:pt x="1557" y="409"/>
                  <a:pt x="1557" y="409"/>
                </a:cubicBezTo>
                <a:cubicBezTo>
                  <a:pt x="1558" y="409"/>
                  <a:pt x="1562" y="408"/>
                  <a:pt x="1563" y="408"/>
                </a:cubicBezTo>
                <a:cubicBezTo>
                  <a:pt x="1563" y="408"/>
                  <a:pt x="1569" y="410"/>
                  <a:pt x="1572" y="410"/>
                </a:cubicBezTo>
                <a:cubicBezTo>
                  <a:pt x="1573" y="410"/>
                  <a:pt x="1573" y="410"/>
                  <a:pt x="1574" y="410"/>
                </a:cubicBezTo>
                <a:cubicBezTo>
                  <a:pt x="1577" y="412"/>
                  <a:pt x="1579" y="409"/>
                  <a:pt x="1579" y="412"/>
                </a:cubicBezTo>
                <a:cubicBezTo>
                  <a:pt x="1572" y="412"/>
                  <a:pt x="1572" y="412"/>
                  <a:pt x="1572" y="412"/>
                </a:cubicBezTo>
                <a:cubicBezTo>
                  <a:pt x="1571" y="412"/>
                  <a:pt x="1570" y="413"/>
                  <a:pt x="1570" y="413"/>
                </a:cubicBezTo>
                <a:cubicBezTo>
                  <a:pt x="1570" y="413"/>
                  <a:pt x="1570" y="414"/>
                  <a:pt x="1570" y="414"/>
                </a:cubicBezTo>
                <a:cubicBezTo>
                  <a:pt x="1571" y="414"/>
                  <a:pt x="1572" y="415"/>
                  <a:pt x="1572" y="415"/>
                </a:cubicBezTo>
                <a:cubicBezTo>
                  <a:pt x="1570" y="416"/>
                  <a:pt x="1570" y="415"/>
                  <a:pt x="1568" y="415"/>
                </a:cubicBezTo>
                <a:cubicBezTo>
                  <a:pt x="1563" y="416"/>
                  <a:pt x="1565" y="415"/>
                  <a:pt x="1563" y="415"/>
                </a:cubicBezTo>
                <a:cubicBezTo>
                  <a:pt x="1562" y="415"/>
                  <a:pt x="1563" y="414"/>
                  <a:pt x="1563" y="413"/>
                </a:cubicBezTo>
                <a:cubicBezTo>
                  <a:pt x="1563" y="413"/>
                  <a:pt x="1559" y="414"/>
                  <a:pt x="1559" y="414"/>
                </a:cubicBezTo>
                <a:cubicBezTo>
                  <a:pt x="1561" y="420"/>
                  <a:pt x="1555" y="412"/>
                  <a:pt x="1554" y="415"/>
                </a:cubicBezTo>
                <a:cubicBezTo>
                  <a:pt x="1552" y="415"/>
                  <a:pt x="1552" y="415"/>
                  <a:pt x="1552" y="415"/>
                </a:cubicBezTo>
                <a:cubicBezTo>
                  <a:pt x="1550" y="418"/>
                  <a:pt x="1549" y="416"/>
                  <a:pt x="1548" y="419"/>
                </a:cubicBezTo>
                <a:cubicBezTo>
                  <a:pt x="1546" y="421"/>
                  <a:pt x="1546" y="421"/>
                  <a:pt x="1546" y="425"/>
                </a:cubicBezTo>
                <a:cubicBezTo>
                  <a:pt x="1549" y="426"/>
                  <a:pt x="1548" y="425"/>
                  <a:pt x="1550" y="425"/>
                </a:cubicBezTo>
                <a:cubicBezTo>
                  <a:pt x="1552" y="424"/>
                  <a:pt x="1552" y="424"/>
                  <a:pt x="1552" y="424"/>
                </a:cubicBezTo>
                <a:cubicBezTo>
                  <a:pt x="1553" y="425"/>
                  <a:pt x="1553" y="425"/>
                  <a:pt x="1553" y="425"/>
                </a:cubicBezTo>
                <a:cubicBezTo>
                  <a:pt x="1552" y="426"/>
                  <a:pt x="1552" y="426"/>
                  <a:pt x="1552" y="426"/>
                </a:cubicBezTo>
                <a:cubicBezTo>
                  <a:pt x="1552" y="428"/>
                  <a:pt x="1552" y="428"/>
                  <a:pt x="1552" y="428"/>
                </a:cubicBezTo>
                <a:cubicBezTo>
                  <a:pt x="1553" y="429"/>
                  <a:pt x="1553" y="429"/>
                  <a:pt x="1553" y="429"/>
                </a:cubicBezTo>
                <a:cubicBezTo>
                  <a:pt x="1553" y="431"/>
                  <a:pt x="1553" y="431"/>
                  <a:pt x="1553" y="431"/>
                </a:cubicBezTo>
                <a:cubicBezTo>
                  <a:pt x="1555" y="432"/>
                  <a:pt x="1555" y="432"/>
                  <a:pt x="1555" y="432"/>
                </a:cubicBezTo>
                <a:cubicBezTo>
                  <a:pt x="1553" y="433"/>
                  <a:pt x="1553" y="433"/>
                  <a:pt x="1553" y="433"/>
                </a:cubicBezTo>
                <a:cubicBezTo>
                  <a:pt x="1553" y="436"/>
                  <a:pt x="1553" y="435"/>
                  <a:pt x="1554" y="437"/>
                </a:cubicBezTo>
                <a:cubicBezTo>
                  <a:pt x="1552" y="437"/>
                  <a:pt x="1552" y="437"/>
                  <a:pt x="1551" y="434"/>
                </a:cubicBezTo>
                <a:cubicBezTo>
                  <a:pt x="1550" y="434"/>
                  <a:pt x="1550" y="434"/>
                  <a:pt x="1550" y="434"/>
                </a:cubicBezTo>
                <a:cubicBezTo>
                  <a:pt x="1549" y="436"/>
                  <a:pt x="1549" y="436"/>
                  <a:pt x="1549" y="436"/>
                </a:cubicBezTo>
                <a:cubicBezTo>
                  <a:pt x="1551" y="438"/>
                  <a:pt x="1550" y="438"/>
                  <a:pt x="1550" y="439"/>
                </a:cubicBezTo>
                <a:cubicBezTo>
                  <a:pt x="1550" y="440"/>
                  <a:pt x="1551" y="440"/>
                  <a:pt x="1551" y="441"/>
                </a:cubicBezTo>
                <a:cubicBezTo>
                  <a:pt x="1554" y="440"/>
                  <a:pt x="1554" y="440"/>
                  <a:pt x="1554" y="440"/>
                </a:cubicBezTo>
                <a:cubicBezTo>
                  <a:pt x="1554" y="440"/>
                  <a:pt x="1555" y="441"/>
                  <a:pt x="1555" y="441"/>
                </a:cubicBezTo>
                <a:cubicBezTo>
                  <a:pt x="1557" y="442"/>
                  <a:pt x="1555" y="441"/>
                  <a:pt x="1558" y="443"/>
                </a:cubicBezTo>
                <a:cubicBezTo>
                  <a:pt x="1557" y="444"/>
                  <a:pt x="1557" y="444"/>
                  <a:pt x="1557" y="444"/>
                </a:cubicBezTo>
                <a:cubicBezTo>
                  <a:pt x="1552" y="444"/>
                  <a:pt x="1554" y="443"/>
                  <a:pt x="1551" y="444"/>
                </a:cubicBezTo>
                <a:cubicBezTo>
                  <a:pt x="1554" y="445"/>
                  <a:pt x="1555" y="445"/>
                  <a:pt x="1558" y="446"/>
                </a:cubicBezTo>
                <a:cubicBezTo>
                  <a:pt x="1558" y="448"/>
                  <a:pt x="1558" y="448"/>
                  <a:pt x="1558" y="448"/>
                </a:cubicBezTo>
                <a:cubicBezTo>
                  <a:pt x="1560" y="448"/>
                  <a:pt x="1560" y="448"/>
                  <a:pt x="1562" y="450"/>
                </a:cubicBezTo>
                <a:cubicBezTo>
                  <a:pt x="1561" y="452"/>
                  <a:pt x="1561" y="451"/>
                  <a:pt x="1559" y="451"/>
                </a:cubicBezTo>
                <a:cubicBezTo>
                  <a:pt x="1558" y="452"/>
                  <a:pt x="1558" y="452"/>
                  <a:pt x="1558" y="452"/>
                </a:cubicBezTo>
                <a:cubicBezTo>
                  <a:pt x="1561" y="453"/>
                  <a:pt x="1561" y="453"/>
                  <a:pt x="1561" y="453"/>
                </a:cubicBezTo>
                <a:cubicBezTo>
                  <a:pt x="1564" y="452"/>
                  <a:pt x="1564" y="452"/>
                  <a:pt x="1564" y="452"/>
                </a:cubicBezTo>
                <a:cubicBezTo>
                  <a:pt x="1566" y="452"/>
                  <a:pt x="1565" y="454"/>
                  <a:pt x="1566" y="455"/>
                </a:cubicBezTo>
                <a:cubicBezTo>
                  <a:pt x="1564" y="455"/>
                  <a:pt x="1567" y="459"/>
                  <a:pt x="1567" y="456"/>
                </a:cubicBezTo>
                <a:cubicBezTo>
                  <a:pt x="1569" y="454"/>
                  <a:pt x="1568" y="454"/>
                  <a:pt x="1571" y="457"/>
                </a:cubicBezTo>
                <a:cubicBezTo>
                  <a:pt x="1574" y="456"/>
                  <a:pt x="1574" y="456"/>
                  <a:pt x="1574" y="456"/>
                </a:cubicBezTo>
                <a:cubicBezTo>
                  <a:pt x="1575" y="457"/>
                  <a:pt x="1576" y="457"/>
                  <a:pt x="1576" y="459"/>
                </a:cubicBezTo>
                <a:cubicBezTo>
                  <a:pt x="1576" y="460"/>
                  <a:pt x="1577" y="461"/>
                  <a:pt x="1578" y="461"/>
                </a:cubicBezTo>
                <a:cubicBezTo>
                  <a:pt x="1579" y="462"/>
                  <a:pt x="1579" y="462"/>
                  <a:pt x="1579" y="462"/>
                </a:cubicBezTo>
                <a:cubicBezTo>
                  <a:pt x="1581" y="462"/>
                  <a:pt x="1581" y="462"/>
                  <a:pt x="1581" y="462"/>
                </a:cubicBezTo>
                <a:cubicBezTo>
                  <a:pt x="1584" y="461"/>
                  <a:pt x="1584" y="461"/>
                  <a:pt x="1584" y="461"/>
                </a:cubicBezTo>
                <a:cubicBezTo>
                  <a:pt x="1585" y="461"/>
                  <a:pt x="1587" y="461"/>
                  <a:pt x="1588" y="461"/>
                </a:cubicBezTo>
                <a:cubicBezTo>
                  <a:pt x="1589" y="458"/>
                  <a:pt x="1589" y="457"/>
                  <a:pt x="1589" y="454"/>
                </a:cubicBezTo>
                <a:cubicBezTo>
                  <a:pt x="1590" y="454"/>
                  <a:pt x="1594" y="454"/>
                  <a:pt x="1595" y="454"/>
                </a:cubicBezTo>
                <a:cubicBezTo>
                  <a:pt x="1599" y="456"/>
                  <a:pt x="1599" y="456"/>
                  <a:pt x="1599" y="456"/>
                </a:cubicBezTo>
                <a:cubicBezTo>
                  <a:pt x="1602" y="457"/>
                  <a:pt x="1602" y="457"/>
                  <a:pt x="1602" y="457"/>
                </a:cubicBezTo>
                <a:cubicBezTo>
                  <a:pt x="1604" y="461"/>
                  <a:pt x="1605" y="461"/>
                  <a:pt x="1608" y="464"/>
                </a:cubicBezTo>
                <a:cubicBezTo>
                  <a:pt x="1613" y="461"/>
                  <a:pt x="1610" y="462"/>
                  <a:pt x="1615" y="462"/>
                </a:cubicBezTo>
                <a:cubicBezTo>
                  <a:pt x="1620" y="461"/>
                  <a:pt x="1620" y="461"/>
                  <a:pt x="1620" y="461"/>
                </a:cubicBezTo>
                <a:cubicBezTo>
                  <a:pt x="1621" y="461"/>
                  <a:pt x="1624" y="457"/>
                  <a:pt x="1625" y="456"/>
                </a:cubicBezTo>
                <a:cubicBezTo>
                  <a:pt x="1627" y="455"/>
                  <a:pt x="1627" y="455"/>
                  <a:pt x="1627" y="455"/>
                </a:cubicBezTo>
                <a:cubicBezTo>
                  <a:pt x="1630" y="457"/>
                  <a:pt x="1631" y="457"/>
                  <a:pt x="1634" y="458"/>
                </a:cubicBezTo>
                <a:cubicBezTo>
                  <a:pt x="1639" y="454"/>
                  <a:pt x="1639" y="454"/>
                  <a:pt x="1639" y="454"/>
                </a:cubicBezTo>
                <a:cubicBezTo>
                  <a:pt x="1640" y="455"/>
                  <a:pt x="1640" y="455"/>
                  <a:pt x="1640" y="455"/>
                </a:cubicBezTo>
                <a:cubicBezTo>
                  <a:pt x="1640" y="458"/>
                  <a:pt x="1640" y="458"/>
                  <a:pt x="1640" y="458"/>
                </a:cubicBezTo>
                <a:cubicBezTo>
                  <a:pt x="1639" y="459"/>
                  <a:pt x="1637" y="461"/>
                  <a:pt x="1637" y="462"/>
                </a:cubicBezTo>
                <a:cubicBezTo>
                  <a:pt x="1637" y="462"/>
                  <a:pt x="1640" y="465"/>
                  <a:pt x="1640" y="465"/>
                </a:cubicBezTo>
                <a:cubicBezTo>
                  <a:pt x="1640" y="465"/>
                  <a:pt x="1640" y="465"/>
                  <a:pt x="1639" y="464"/>
                </a:cubicBezTo>
                <a:cubicBezTo>
                  <a:pt x="1638" y="466"/>
                  <a:pt x="1638" y="466"/>
                  <a:pt x="1638" y="468"/>
                </a:cubicBezTo>
                <a:cubicBezTo>
                  <a:pt x="1640" y="471"/>
                  <a:pt x="1640" y="471"/>
                  <a:pt x="1640" y="471"/>
                </a:cubicBezTo>
                <a:cubicBezTo>
                  <a:pt x="1639" y="473"/>
                  <a:pt x="1639" y="473"/>
                  <a:pt x="1639" y="473"/>
                </a:cubicBezTo>
                <a:cubicBezTo>
                  <a:pt x="1641" y="476"/>
                  <a:pt x="1641" y="476"/>
                  <a:pt x="1641" y="476"/>
                </a:cubicBezTo>
                <a:cubicBezTo>
                  <a:pt x="1641" y="479"/>
                  <a:pt x="1641" y="479"/>
                  <a:pt x="1641" y="479"/>
                </a:cubicBezTo>
                <a:cubicBezTo>
                  <a:pt x="1645" y="480"/>
                  <a:pt x="1645" y="480"/>
                  <a:pt x="1645" y="480"/>
                </a:cubicBezTo>
                <a:cubicBezTo>
                  <a:pt x="1641" y="479"/>
                  <a:pt x="1641" y="479"/>
                  <a:pt x="1641" y="479"/>
                </a:cubicBezTo>
                <a:cubicBezTo>
                  <a:pt x="1641" y="481"/>
                  <a:pt x="1641" y="480"/>
                  <a:pt x="1639" y="482"/>
                </a:cubicBezTo>
                <a:cubicBezTo>
                  <a:pt x="1638" y="483"/>
                  <a:pt x="1638" y="483"/>
                  <a:pt x="1638" y="483"/>
                </a:cubicBezTo>
                <a:cubicBezTo>
                  <a:pt x="1638" y="487"/>
                  <a:pt x="1638" y="487"/>
                  <a:pt x="1638" y="487"/>
                </a:cubicBezTo>
                <a:cubicBezTo>
                  <a:pt x="1635" y="492"/>
                  <a:pt x="1635" y="492"/>
                  <a:pt x="1635" y="492"/>
                </a:cubicBezTo>
                <a:cubicBezTo>
                  <a:pt x="1633" y="496"/>
                  <a:pt x="1633" y="496"/>
                  <a:pt x="1633" y="496"/>
                </a:cubicBezTo>
                <a:cubicBezTo>
                  <a:pt x="1634" y="496"/>
                  <a:pt x="1634" y="496"/>
                  <a:pt x="1634" y="496"/>
                </a:cubicBezTo>
                <a:cubicBezTo>
                  <a:pt x="1633" y="498"/>
                  <a:pt x="1633" y="497"/>
                  <a:pt x="1633" y="499"/>
                </a:cubicBezTo>
                <a:cubicBezTo>
                  <a:pt x="1632" y="501"/>
                  <a:pt x="1632" y="501"/>
                  <a:pt x="1632" y="501"/>
                </a:cubicBezTo>
                <a:cubicBezTo>
                  <a:pt x="1632" y="501"/>
                  <a:pt x="1632" y="503"/>
                  <a:pt x="1632" y="504"/>
                </a:cubicBezTo>
                <a:cubicBezTo>
                  <a:pt x="1632" y="505"/>
                  <a:pt x="1631" y="510"/>
                  <a:pt x="1631" y="510"/>
                </a:cubicBezTo>
                <a:cubicBezTo>
                  <a:pt x="1630" y="513"/>
                  <a:pt x="1628" y="514"/>
                  <a:pt x="1628" y="515"/>
                </a:cubicBezTo>
                <a:cubicBezTo>
                  <a:pt x="1627" y="516"/>
                  <a:pt x="1627" y="516"/>
                  <a:pt x="1627" y="516"/>
                </a:cubicBezTo>
                <a:cubicBezTo>
                  <a:pt x="1627" y="516"/>
                  <a:pt x="1627" y="516"/>
                  <a:pt x="1627" y="516"/>
                </a:cubicBezTo>
                <a:cubicBezTo>
                  <a:pt x="1625" y="517"/>
                  <a:pt x="1625" y="517"/>
                  <a:pt x="1625" y="517"/>
                </a:cubicBezTo>
                <a:cubicBezTo>
                  <a:pt x="1622" y="518"/>
                  <a:pt x="1619" y="517"/>
                  <a:pt x="1618" y="517"/>
                </a:cubicBezTo>
                <a:cubicBezTo>
                  <a:pt x="1616" y="517"/>
                  <a:pt x="1614" y="519"/>
                  <a:pt x="1614" y="519"/>
                </a:cubicBezTo>
                <a:cubicBezTo>
                  <a:pt x="1612" y="519"/>
                  <a:pt x="1611" y="517"/>
                  <a:pt x="1610" y="517"/>
                </a:cubicBezTo>
                <a:cubicBezTo>
                  <a:pt x="1608" y="517"/>
                  <a:pt x="1608" y="517"/>
                  <a:pt x="1608" y="517"/>
                </a:cubicBezTo>
                <a:cubicBezTo>
                  <a:pt x="1606" y="517"/>
                  <a:pt x="1606" y="517"/>
                  <a:pt x="1606" y="517"/>
                </a:cubicBezTo>
                <a:cubicBezTo>
                  <a:pt x="1605" y="516"/>
                  <a:pt x="1605" y="516"/>
                  <a:pt x="1605" y="516"/>
                </a:cubicBezTo>
                <a:cubicBezTo>
                  <a:pt x="1606" y="514"/>
                  <a:pt x="1606" y="514"/>
                  <a:pt x="1606" y="514"/>
                </a:cubicBezTo>
                <a:cubicBezTo>
                  <a:pt x="1605" y="514"/>
                  <a:pt x="1605" y="514"/>
                  <a:pt x="1605" y="514"/>
                </a:cubicBezTo>
                <a:cubicBezTo>
                  <a:pt x="1602" y="514"/>
                  <a:pt x="1602" y="514"/>
                  <a:pt x="1602" y="514"/>
                </a:cubicBezTo>
                <a:cubicBezTo>
                  <a:pt x="1599" y="513"/>
                  <a:pt x="1599" y="513"/>
                  <a:pt x="1599" y="513"/>
                </a:cubicBezTo>
                <a:cubicBezTo>
                  <a:pt x="1596" y="512"/>
                  <a:pt x="1596" y="512"/>
                  <a:pt x="1596" y="512"/>
                </a:cubicBezTo>
                <a:cubicBezTo>
                  <a:pt x="1595" y="514"/>
                  <a:pt x="1595" y="514"/>
                  <a:pt x="1595" y="514"/>
                </a:cubicBezTo>
                <a:cubicBezTo>
                  <a:pt x="1592" y="514"/>
                  <a:pt x="1592" y="514"/>
                  <a:pt x="1592" y="514"/>
                </a:cubicBezTo>
                <a:cubicBezTo>
                  <a:pt x="1589" y="517"/>
                  <a:pt x="1590" y="516"/>
                  <a:pt x="1588" y="517"/>
                </a:cubicBezTo>
                <a:cubicBezTo>
                  <a:pt x="1583" y="518"/>
                  <a:pt x="1584" y="520"/>
                  <a:pt x="1582" y="520"/>
                </a:cubicBezTo>
                <a:cubicBezTo>
                  <a:pt x="1580" y="521"/>
                  <a:pt x="1580" y="521"/>
                  <a:pt x="1580" y="521"/>
                </a:cubicBezTo>
                <a:cubicBezTo>
                  <a:pt x="1579" y="521"/>
                  <a:pt x="1576" y="519"/>
                  <a:pt x="1576" y="519"/>
                </a:cubicBezTo>
                <a:cubicBezTo>
                  <a:pt x="1575" y="519"/>
                  <a:pt x="1571" y="519"/>
                  <a:pt x="1571" y="519"/>
                </a:cubicBezTo>
                <a:cubicBezTo>
                  <a:pt x="1569" y="519"/>
                  <a:pt x="1569" y="519"/>
                  <a:pt x="1569" y="519"/>
                </a:cubicBezTo>
                <a:cubicBezTo>
                  <a:pt x="1568" y="517"/>
                  <a:pt x="1568" y="517"/>
                  <a:pt x="1568" y="517"/>
                </a:cubicBezTo>
                <a:cubicBezTo>
                  <a:pt x="1565" y="517"/>
                  <a:pt x="1565" y="517"/>
                  <a:pt x="1565" y="517"/>
                </a:cubicBezTo>
                <a:cubicBezTo>
                  <a:pt x="1562" y="514"/>
                  <a:pt x="1564" y="516"/>
                  <a:pt x="1561" y="515"/>
                </a:cubicBezTo>
                <a:cubicBezTo>
                  <a:pt x="1561" y="515"/>
                  <a:pt x="1559" y="514"/>
                  <a:pt x="1558" y="514"/>
                </a:cubicBezTo>
                <a:cubicBezTo>
                  <a:pt x="1558" y="514"/>
                  <a:pt x="1556" y="514"/>
                  <a:pt x="1556" y="514"/>
                </a:cubicBezTo>
                <a:cubicBezTo>
                  <a:pt x="1554" y="514"/>
                  <a:pt x="1554" y="514"/>
                  <a:pt x="1554" y="514"/>
                </a:cubicBezTo>
                <a:cubicBezTo>
                  <a:pt x="1554" y="514"/>
                  <a:pt x="1553" y="513"/>
                  <a:pt x="1553" y="513"/>
                </a:cubicBezTo>
                <a:cubicBezTo>
                  <a:pt x="1552" y="513"/>
                  <a:pt x="1550" y="513"/>
                  <a:pt x="1550" y="513"/>
                </a:cubicBezTo>
                <a:cubicBezTo>
                  <a:pt x="1550" y="513"/>
                  <a:pt x="1549" y="512"/>
                  <a:pt x="1549" y="513"/>
                </a:cubicBezTo>
                <a:cubicBezTo>
                  <a:pt x="1548" y="513"/>
                  <a:pt x="1546" y="515"/>
                  <a:pt x="1546" y="515"/>
                </a:cubicBezTo>
                <a:cubicBezTo>
                  <a:pt x="1544" y="514"/>
                  <a:pt x="1543" y="513"/>
                  <a:pt x="1543" y="514"/>
                </a:cubicBezTo>
                <a:cubicBezTo>
                  <a:pt x="1542" y="510"/>
                  <a:pt x="1542" y="510"/>
                  <a:pt x="1542" y="510"/>
                </a:cubicBezTo>
                <a:cubicBezTo>
                  <a:pt x="1539" y="508"/>
                  <a:pt x="1539" y="508"/>
                  <a:pt x="1539" y="508"/>
                </a:cubicBezTo>
                <a:cubicBezTo>
                  <a:pt x="1539" y="508"/>
                  <a:pt x="1535" y="507"/>
                  <a:pt x="1535" y="507"/>
                </a:cubicBezTo>
                <a:cubicBezTo>
                  <a:pt x="1533" y="507"/>
                  <a:pt x="1532" y="508"/>
                  <a:pt x="1531" y="507"/>
                </a:cubicBezTo>
                <a:cubicBezTo>
                  <a:pt x="1531" y="507"/>
                  <a:pt x="1526" y="506"/>
                  <a:pt x="1524" y="505"/>
                </a:cubicBezTo>
                <a:cubicBezTo>
                  <a:pt x="1524" y="502"/>
                  <a:pt x="1524" y="502"/>
                  <a:pt x="1524" y="502"/>
                </a:cubicBezTo>
                <a:cubicBezTo>
                  <a:pt x="1520" y="501"/>
                  <a:pt x="1521" y="500"/>
                  <a:pt x="1517" y="499"/>
                </a:cubicBezTo>
                <a:cubicBezTo>
                  <a:pt x="1514" y="498"/>
                  <a:pt x="1513" y="498"/>
                  <a:pt x="1510" y="497"/>
                </a:cubicBezTo>
                <a:cubicBezTo>
                  <a:pt x="1508" y="499"/>
                  <a:pt x="1508" y="499"/>
                  <a:pt x="1508" y="499"/>
                </a:cubicBezTo>
                <a:cubicBezTo>
                  <a:pt x="1505" y="499"/>
                  <a:pt x="1505" y="499"/>
                  <a:pt x="1505" y="499"/>
                </a:cubicBezTo>
                <a:cubicBezTo>
                  <a:pt x="1502" y="500"/>
                  <a:pt x="1502" y="500"/>
                  <a:pt x="1502" y="500"/>
                </a:cubicBezTo>
                <a:cubicBezTo>
                  <a:pt x="1502" y="500"/>
                  <a:pt x="1497" y="505"/>
                  <a:pt x="1496" y="506"/>
                </a:cubicBezTo>
                <a:cubicBezTo>
                  <a:pt x="1496" y="506"/>
                  <a:pt x="1493" y="510"/>
                  <a:pt x="1493" y="511"/>
                </a:cubicBezTo>
                <a:cubicBezTo>
                  <a:pt x="1493" y="511"/>
                  <a:pt x="1494" y="514"/>
                  <a:pt x="1495" y="515"/>
                </a:cubicBezTo>
                <a:cubicBezTo>
                  <a:pt x="1496" y="516"/>
                  <a:pt x="1496" y="520"/>
                  <a:pt x="1496" y="520"/>
                </a:cubicBezTo>
                <a:cubicBezTo>
                  <a:pt x="1496" y="520"/>
                  <a:pt x="1493" y="522"/>
                  <a:pt x="1492" y="522"/>
                </a:cubicBezTo>
                <a:cubicBezTo>
                  <a:pt x="1492" y="522"/>
                  <a:pt x="1489" y="526"/>
                  <a:pt x="1489" y="526"/>
                </a:cubicBezTo>
                <a:cubicBezTo>
                  <a:pt x="1486" y="527"/>
                  <a:pt x="1486" y="527"/>
                  <a:pt x="1486" y="527"/>
                </a:cubicBezTo>
                <a:cubicBezTo>
                  <a:pt x="1482" y="526"/>
                  <a:pt x="1482" y="526"/>
                  <a:pt x="1482" y="526"/>
                </a:cubicBezTo>
                <a:cubicBezTo>
                  <a:pt x="1475" y="521"/>
                  <a:pt x="1475" y="521"/>
                  <a:pt x="1475" y="521"/>
                </a:cubicBezTo>
                <a:cubicBezTo>
                  <a:pt x="1465" y="517"/>
                  <a:pt x="1465" y="517"/>
                  <a:pt x="1465" y="517"/>
                </a:cubicBezTo>
                <a:cubicBezTo>
                  <a:pt x="1464" y="516"/>
                  <a:pt x="1461" y="516"/>
                  <a:pt x="1460" y="516"/>
                </a:cubicBezTo>
                <a:cubicBezTo>
                  <a:pt x="1453" y="513"/>
                  <a:pt x="1457" y="515"/>
                  <a:pt x="1453" y="510"/>
                </a:cubicBezTo>
                <a:cubicBezTo>
                  <a:pt x="1450" y="506"/>
                  <a:pt x="1452" y="510"/>
                  <a:pt x="1450" y="504"/>
                </a:cubicBezTo>
                <a:cubicBezTo>
                  <a:pt x="1446" y="503"/>
                  <a:pt x="1446" y="503"/>
                  <a:pt x="1446" y="503"/>
                </a:cubicBezTo>
                <a:cubicBezTo>
                  <a:pt x="1443" y="502"/>
                  <a:pt x="1442" y="504"/>
                  <a:pt x="1441" y="501"/>
                </a:cubicBezTo>
                <a:cubicBezTo>
                  <a:pt x="1438" y="500"/>
                  <a:pt x="1438" y="500"/>
                  <a:pt x="1438" y="500"/>
                </a:cubicBezTo>
                <a:cubicBezTo>
                  <a:pt x="1434" y="498"/>
                  <a:pt x="1434" y="498"/>
                  <a:pt x="1434" y="498"/>
                </a:cubicBezTo>
                <a:cubicBezTo>
                  <a:pt x="1434" y="498"/>
                  <a:pt x="1425" y="498"/>
                  <a:pt x="1424" y="498"/>
                </a:cubicBezTo>
                <a:cubicBezTo>
                  <a:pt x="1424" y="498"/>
                  <a:pt x="1421" y="497"/>
                  <a:pt x="1420" y="497"/>
                </a:cubicBezTo>
                <a:cubicBezTo>
                  <a:pt x="1420" y="496"/>
                  <a:pt x="1415" y="495"/>
                  <a:pt x="1415" y="495"/>
                </a:cubicBezTo>
                <a:cubicBezTo>
                  <a:pt x="1415" y="495"/>
                  <a:pt x="1415" y="495"/>
                  <a:pt x="1415" y="495"/>
                </a:cubicBezTo>
                <a:cubicBezTo>
                  <a:pt x="1413" y="494"/>
                  <a:pt x="1414" y="495"/>
                  <a:pt x="1414" y="493"/>
                </a:cubicBezTo>
                <a:cubicBezTo>
                  <a:pt x="1412" y="493"/>
                  <a:pt x="1411" y="492"/>
                  <a:pt x="1411" y="491"/>
                </a:cubicBezTo>
                <a:cubicBezTo>
                  <a:pt x="1411" y="490"/>
                  <a:pt x="1410" y="490"/>
                  <a:pt x="1410" y="489"/>
                </a:cubicBezTo>
                <a:cubicBezTo>
                  <a:pt x="1410" y="489"/>
                  <a:pt x="1411" y="487"/>
                  <a:pt x="1410" y="486"/>
                </a:cubicBezTo>
                <a:cubicBezTo>
                  <a:pt x="1409" y="485"/>
                  <a:pt x="1407" y="486"/>
                  <a:pt x="1408" y="488"/>
                </a:cubicBezTo>
                <a:cubicBezTo>
                  <a:pt x="1408" y="489"/>
                  <a:pt x="1411" y="490"/>
                  <a:pt x="1410" y="491"/>
                </a:cubicBezTo>
                <a:cubicBezTo>
                  <a:pt x="1410" y="491"/>
                  <a:pt x="1409" y="491"/>
                  <a:pt x="1408" y="491"/>
                </a:cubicBezTo>
                <a:cubicBezTo>
                  <a:pt x="1408" y="491"/>
                  <a:pt x="1408" y="491"/>
                  <a:pt x="1408" y="490"/>
                </a:cubicBezTo>
                <a:cubicBezTo>
                  <a:pt x="1407" y="490"/>
                  <a:pt x="1406" y="490"/>
                  <a:pt x="1405" y="490"/>
                </a:cubicBezTo>
                <a:cubicBezTo>
                  <a:pt x="1404" y="489"/>
                  <a:pt x="1403" y="486"/>
                  <a:pt x="1402" y="485"/>
                </a:cubicBezTo>
                <a:cubicBezTo>
                  <a:pt x="1402" y="485"/>
                  <a:pt x="1402" y="484"/>
                  <a:pt x="1403" y="482"/>
                </a:cubicBezTo>
                <a:cubicBezTo>
                  <a:pt x="1404" y="481"/>
                  <a:pt x="1405" y="480"/>
                  <a:pt x="1406" y="480"/>
                </a:cubicBezTo>
                <a:cubicBezTo>
                  <a:pt x="1411" y="474"/>
                  <a:pt x="1411" y="474"/>
                  <a:pt x="1411" y="474"/>
                </a:cubicBezTo>
                <a:cubicBezTo>
                  <a:pt x="1411" y="470"/>
                  <a:pt x="1411" y="470"/>
                  <a:pt x="1409" y="466"/>
                </a:cubicBezTo>
                <a:cubicBezTo>
                  <a:pt x="1407" y="466"/>
                  <a:pt x="1407" y="466"/>
                  <a:pt x="1407" y="466"/>
                </a:cubicBezTo>
                <a:cubicBezTo>
                  <a:pt x="1406" y="464"/>
                  <a:pt x="1406" y="464"/>
                  <a:pt x="1406" y="464"/>
                </a:cubicBezTo>
                <a:cubicBezTo>
                  <a:pt x="1406" y="461"/>
                  <a:pt x="1406" y="461"/>
                  <a:pt x="1406" y="461"/>
                </a:cubicBezTo>
                <a:cubicBezTo>
                  <a:pt x="1406" y="461"/>
                  <a:pt x="1408" y="459"/>
                  <a:pt x="1408" y="459"/>
                </a:cubicBezTo>
                <a:cubicBezTo>
                  <a:pt x="1408" y="458"/>
                  <a:pt x="1408" y="458"/>
                  <a:pt x="1409" y="457"/>
                </a:cubicBezTo>
                <a:cubicBezTo>
                  <a:pt x="1411" y="453"/>
                  <a:pt x="1412" y="455"/>
                  <a:pt x="1412" y="452"/>
                </a:cubicBezTo>
                <a:cubicBezTo>
                  <a:pt x="1412" y="450"/>
                  <a:pt x="1410" y="452"/>
                  <a:pt x="1408" y="453"/>
                </a:cubicBezTo>
                <a:cubicBezTo>
                  <a:pt x="1405" y="454"/>
                  <a:pt x="1408" y="456"/>
                  <a:pt x="1405" y="456"/>
                </a:cubicBezTo>
                <a:cubicBezTo>
                  <a:pt x="1404" y="456"/>
                  <a:pt x="1404" y="456"/>
                  <a:pt x="1403" y="455"/>
                </a:cubicBezTo>
                <a:cubicBezTo>
                  <a:pt x="1403" y="455"/>
                  <a:pt x="1403" y="452"/>
                  <a:pt x="1403" y="452"/>
                </a:cubicBezTo>
                <a:cubicBezTo>
                  <a:pt x="1403" y="450"/>
                  <a:pt x="1402" y="451"/>
                  <a:pt x="1402" y="450"/>
                </a:cubicBezTo>
                <a:cubicBezTo>
                  <a:pt x="1402" y="450"/>
                  <a:pt x="1400" y="449"/>
                  <a:pt x="1399" y="449"/>
                </a:cubicBezTo>
                <a:cubicBezTo>
                  <a:pt x="1397" y="449"/>
                  <a:pt x="1396" y="449"/>
                  <a:pt x="1394" y="450"/>
                </a:cubicBezTo>
                <a:cubicBezTo>
                  <a:pt x="1393" y="451"/>
                  <a:pt x="1389" y="453"/>
                  <a:pt x="1388" y="454"/>
                </a:cubicBezTo>
                <a:cubicBezTo>
                  <a:pt x="1388" y="454"/>
                  <a:pt x="1388" y="454"/>
                  <a:pt x="1388" y="454"/>
                </a:cubicBezTo>
                <a:cubicBezTo>
                  <a:pt x="1383" y="455"/>
                  <a:pt x="1383" y="455"/>
                  <a:pt x="1383" y="455"/>
                </a:cubicBezTo>
                <a:cubicBezTo>
                  <a:pt x="1382" y="455"/>
                  <a:pt x="1383" y="454"/>
                  <a:pt x="1382" y="454"/>
                </a:cubicBezTo>
                <a:cubicBezTo>
                  <a:pt x="1380" y="452"/>
                  <a:pt x="1380" y="453"/>
                  <a:pt x="1377" y="452"/>
                </a:cubicBezTo>
                <a:cubicBezTo>
                  <a:pt x="1376" y="452"/>
                  <a:pt x="1377" y="453"/>
                  <a:pt x="1377" y="453"/>
                </a:cubicBezTo>
                <a:cubicBezTo>
                  <a:pt x="1374" y="455"/>
                  <a:pt x="1372" y="453"/>
                  <a:pt x="1369" y="451"/>
                </a:cubicBezTo>
                <a:cubicBezTo>
                  <a:pt x="1367" y="450"/>
                  <a:pt x="1368" y="453"/>
                  <a:pt x="1368" y="454"/>
                </a:cubicBezTo>
                <a:cubicBezTo>
                  <a:pt x="1368" y="455"/>
                  <a:pt x="1364" y="455"/>
                  <a:pt x="1361" y="455"/>
                </a:cubicBezTo>
                <a:cubicBezTo>
                  <a:pt x="1360" y="457"/>
                  <a:pt x="1360" y="457"/>
                  <a:pt x="1360" y="457"/>
                </a:cubicBezTo>
                <a:cubicBezTo>
                  <a:pt x="1356" y="457"/>
                  <a:pt x="1356" y="457"/>
                  <a:pt x="1355" y="454"/>
                </a:cubicBezTo>
                <a:cubicBezTo>
                  <a:pt x="1351" y="454"/>
                  <a:pt x="1351" y="454"/>
                  <a:pt x="1351" y="454"/>
                </a:cubicBezTo>
                <a:cubicBezTo>
                  <a:pt x="1343" y="452"/>
                  <a:pt x="1344" y="455"/>
                  <a:pt x="1342" y="455"/>
                </a:cubicBezTo>
                <a:cubicBezTo>
                  <a:pt x="1341" y="455"/>
                  <a:pt x="1339" y="454"/>
                  <a:pt x="1337" y="454"/>
                </a:cubicBezTo>
                <a:cubicBezTo>
                  <a:pt x="1336" y="454"/>
                  <a:pt x="1336" y="456"/>
                  <a:pt x="1335" y="457"/>
                </a:cubicBezTo>
                <a:cubicBezTo>
                  <a:pt x="1322" y="458"/>
                  <a:pt x="1322" y="458"/>
                  <a:pt x="1322" y="458"/>
                </a:cubicBezTo>
                <a:cubicBezTo>
                  <a:pt x="1321" y="458"/>
                  <a:pt x="1311" y="462"/>
                  <a:pt x="1311" y="463"/>
                </a:cubicBezTo>
                <a:cubicBezTo>
                  <a:pt x="1309" y="465"/>
                  <a:pt x="1311" y="464"/>
                  <a:pt x="1308" y="466"/>
                </a:cubicBezTo>
                <a:cubicBezTo>
                  <a:pt x="1307" y="465"/>
                  <a:pt x="1306" y="464"/>
                  <a:pt x="1303" y="465"/>
                </a:cubicBezTo>
                <a:cubicBezTo>
                  <a:pt x="1302" y="465"/>
                  <a:pt x="1302" y="467"/>
                  <a:pt x="1301" y="467"/>
                </a:cubicBezTo>
                <a:cubicBezTo>
                  <a:pt x="1301" y="467"/>
                  <a:pt x="1299" y="469"/>
                  <a:pt x="1298" y="470"/>
                </a:cubicBezTo>
                <a:cubicBezTo>
                  <a:pt x="1298" y="470"/>
                  <a:pt x="1296" y="472"/>
                  <a:pt x="1296" y="472"/>
                </a:cubicBezTo>
                <a:cubicBezTo>
                  <a:pt x="1294" y="473"/>
                  <a:pt x="1294" y="473"/>
                  <a:pt x="1294" y="473"/>
                </a:cubicBezTo>
                <a:cubicBezTo>
                  <a:pt x="1292" y="473"/>
                  <a:pt x="1292" y="473"/>
                  <a:pt x="1292" y="473"/>
                </a:cubicBezTo>
                <a:cubicBezTo>
                  <a:pt x="1289" y="474"/>
                  <a:pt x="1289" y="474"/>
                  <a:pt x="1289" y="474"/>
                </a:cubicBezTo>
                <a:cubicBezTo>
                  <a:pt x="1290" y="474"/>
                  <a:pt x="1290" y="474"/>
                  <a:pt x="1290" y="474"/>
                </a:cubicBezTo>
                <a:cubicBezTo>
                  <a:pt x="1290" y="474"/>
                  <a:pt x="1290" y="474"/>
                  <a:pt x="1290" y="474"/>
                </a:cubicBezTo>
                <a:cubicBezTo>
                  <a:pt x="1285" y="473"/>
                  <a:pt x="1287" y="473"/>
                  <a:pt x="1281" y="473"/>
                </a:cubicBezTo>
                <a:cubicBezTo>
                  <a:pt x="1279" y="473"/>
                  <a:pt x="1276" y="471"/>
                  <a:pt x="1276" y="471"/>
                </a:cubicBezTo>
                <a:cubicBezTo>
                  <a:pt x="1276" y="471"/>
                  <a:pt x="1272" y="472"/>
                  <a:pt x="1270" y="472"/>
                </a:cubicBezTo>
                <a:cubicBezTo>
                  <a:pt x="1268" y="472"/>
                  <a:pt x="1265" y="471"/>
                  <a:pt x="1265" y="471"/>
                </a:cubicBezTo>
                <a:cubicBezTo>
                  <a:pt x="1262" y="469"/>
                  <a:pt x="1262" y="469"/>
                  <a:pt x="1262" y="469"/>
                </a:cubicBezTo>
                <a:cubicBezTo>
                  <a:pt x="1259" y="465"/>
                  <a:pt x="1259" y="465"/>
                  <a:pt x="1259" y="465"/>
                </a:cubicBezTo>
                <a:cubicBezTo>
                  <a:pt x="1255" y="467"/>
                  <a:pt x="1255" y="467"/>
                  <a:pt x="1255" y="467"/>
                </a:cubicBezTo>
                <a:cubicBezTo>
                  <a:pt x="1249" y="476"/>
                  <a:pt x="1249" y="476"/>
                  <a:pt x="1249" y="476"/>
                </a:cubicBezTo>
                <a:cubicBezTo>
                  <a:pt x="1246" y="486"/>
                  <a:pt x="1246" y="486"/>
                  <a:pt x="1246" y="486"/>
                </a:cubicBezTo>
                <a:cubicBezTo>
                  <a:pt x="1246" y="486"/>
                  <a:pt x="1234" y="494"/>
                  <a:pt x="1233" y="494"/>
                </a:cubicBezTo>
                <a:cubicBezTo>
                  <a:pt x="1230" y="494"/>
                  <a:pt x="1225" y="500"/>
                  <a:pt x="1223" y="500"/>
                </a:cubicBezTo>
                <a:cubicBezTo>
                  <a:pt x="1222" y="500"/>
                  <a:pt x="1223" y="503"/>
                  <a:pt x="1223" y="503"/>
                </a:cubicBezTo>
                <a:cubicBezTo>
                  <a:pt x="1220" y="509"/>
                  <a:pt x="1220" y="509"/>
                  <a:pt x="1220" y="509"/>
                </a:cubicBezTo>
                <a:cubicBezTo>
                  <a:pt x="1216" y="514"/>
                  <a:pt x="1216" y="514"/>
                  <a:pt x="1216" y="514"/>
                </a:cubicBezTo>
                <a:cubicBezTo>
                  <a:pt x="1216" y="514"/>
                  <a:pt x="1215" y="519"/>
                  <a:pt x="1215" y="520"/>
                </a:cubicBezTo>
                <a:cubicBezTo>
                  <a:pt x="1215" y="521"/>
                  <a:pt x="1218" y="525"/>
                  <a:pt x="1218" y="525"/>
                </a:cubicBezTo>
                <a:cubicBezTo>
                  <a:pt x="1218" y="529"/>
                  <a:pt x="1218" y="529"/>
                  <a:pt x="1218" y="529"/>
                </a:cubicBezTo>
                <a:cubicBezTo>
                  <a:pt x="1217" y="530"/>
                  <a:pt x="1212" y="537"/>
                  <a:pt x="1212" y="538"/>
                </a:cubicBezTo>
                <a:cubicBezTo>
                  <a:pt x="1207" y="540"/>
                  <a:pt x="1207" y="540"/>
                  <a:pt x="1207" y="540"/>
                </a:cubicBezTo>
                <a:cubicBezTo>
                  <a:pt x="1203" y="544"/>
                  <a:pt x="1203" y="544"/>
                  <a:pt x="1203" y="544"/>
                </a:cubicBezTo>
                <a:cubicBezTo>
                  <a:pt x="1200" y="546"/>
                  <a:pt x="1200" y="546"/>
                  <a:pt x="1200" y="546"/>
                </a:cubicBezTo>
                <a:cubicBezTo>
                  <a:pt x="1197" y="550"/>
                  <a:pt x="1197" y="550"/>
                  <a:pt x="1197" y="550"/>
                </a:cubicBezTo>
                <a:cubicBezTo>
                  <a:pt x="1196" y="550"/>
                  <a:pt x="1188" y="551"/>
                  <a:pt x="1187" y="552"/>
                </a:cubicBezTo>
                <a:cubicBezTo>
                  <a:pt x="1184" y="555"/>
                  <a:pt x="1184" y="555"/>
                  <a:pt x="1184" y="555"/>
                </a:cubicBezTo>
                <a:cubicBezTo>
                  <a:pt x="1183" y="555"/>
                  <a:pt x="1183" y="555"/>
                  <a:pt x="1183" y="555"/>
                </a:cubicBezTo>
                <a:cubicBezTo>
                  <a:pt x="1183" y="556"/>
                  <a:pt x="1183" y="556"/>
                  <a:pt x="1183" y="556"/>
                </a:cubicBezTo>
                <a:cubicBezTo>
                  <a:pt x="1183" y="556"/>
                  <a:pt x="1183" y="556"/>
                  <a:pt x="1183" y="556"/>
                </a:cubicBezTo>
                <a:cubicBezTo>
                  <a:pt x="1183" y="556"/>
                  <a:pt x="1183" y="556"/>
                  <a:pt x="1183" y="556"/>
                </a:cubicBezTo>
                <a:cubicBezTo>
                  <a:pt x="1181" y="561"/>
                  <a:pt x="1181" y="561"/>
                  <a:pt x="1181" y="561"/>
                </a:cubicBezTo>
                <a:cubicBezTo>
                  <a:pt x="1180" y="562"/>
                  <a:pt x="1181" y="564"/>
                  <a:pt x="1181" y="565"/>
                </a:cubicBezTo>
                <a:cubicBezTo>
                  <a:pt x="1180" y="566"/>
                  <a:pt x="1178" y="566"/>
                  <a:pt x="1177" y="567"/>
                </a:cubicBezTo>
                <a:cubicBezTo>
                  <a:pt x="1176" y="568"/>
                  <a:pt x="1175" y="569"/>
                  <a:pt x="1174" y="569"/>
                </a:cubicBezTo>
                <a:cubicBezTo>
                  <a:pt x="1172" y="570"/>
                  <a:pt x="1170" y="571"/>
                  <a:pt x="1169" y="572"/>
                </a:cubicBezTo>
                <a:cubicBezTo>
                  <a:pt x="1168" y="573"/>
                  <a:pt x="1169" y="575"/>
                  <a:pt x="1168" y="576"/>
                </a:cubicBezTo>
                <a:cubicBezTo>
                  <a:pt x="1168" y="578"/>
                  <a:pt x="1168" y="580"/>
                  <a:pt x="1167" y="582"/>
                </a:cubicBezTo>
                <a:cubicBezTo>
                  <a:pt x="1163" y="592"/>
                  <a:pt x="1161" y="591"/>
                  <a:pt x="1157" y="596"/>
                </a:cubicBezTo>
                <a:cubicBezTo>
                  <a:pt x="1157" y="596"/>
                  <a:pt x="1157" y="597"/>
                  <a:pt x="1157" y="598"/>
                </a:cubicBezTo>
                <a:cubicBezTo>
                  <a:pt x="1156" y="600"/>
                  <a:pt x="1154" y="601"/>
                  <a:pt x="1153" y="603"/>
                </a:cubicBezTo>
                <a:cubicBezTo>
                  <a:pt x="1152" y="604"/>
                  <a:pt x="1153" y="605"/>
                  <a:pt x="1152" y="606"/>
                </a:cubicBezTo>
                <a:cubicBezTo>
                  <a:pt x="1152" y="608"/>
                  <a:pt x="1150" y="609"/>
                  <a:pt x="1150" y="610"/>
                </a:cubicBezTo>
                <a:cubicBezTo>
                  <a:pt x="1149" y="612"/>
                  <a:pt x="1149" y="613"/>
                  <a:pt x="1148" y="614"/>
                </a:cubicBezTo>
                <a:cubicBezTo>
                  <a:pt x="1148" y="615"/>
                  <a:pt x="1146" y="613"/>
                  <a:pt x="1146" y="614"/>
                </a:cubicBezTo>
                <a:cubicBezTo>
                  <a:pt x="1144" y="616"/>
                  <a:pt x="1144" y="620"/>
                  <a:pt x="1144" y="622"/>
                </a:cubicBezTo>
                <a:cubicBezTo>
                  <a:pt x="1143" y="627"/>
                  <a:pt x="1143" y="627"/>
                  <a:pt x="1143" y="627"/>
                </a:cubicBezTo>
                <a:cubicBezTo>
                  <a:pt x="1142" y="632"/>
                  <a:pt x="1143" y="633"/>
                  <a:pt x="1144" y="632"/>
                </a:cubicBezTo>
                <a:cubicBezTo>
                  <a:pt x="1144" y="631"/>
                  <a:pt x="1145" y="630"/>
                  <a:pt x="1145" y="628"/>
                </a:cubicBezTo>
                <a:cubicBezTo>
                  <a:pt x="1145" y="628"/>
                  <a:pt x="1145" y="627"/>
                  <a:pt x="1146" y="626"/>
                </a:cubicBezTo>
                <a:cubicBezTo>
                  <a:pt x="1145" y="628"/>
                  <a:pt x="1145" y="628"/>
                  <a:pt x="1145" y="628"/>
                </a:cubicBezTo>
                <a:cubicBezTo>
                  <a:pt x="1146" y="630"/>
                  <a:pt x="1146" y="633"/>
                  <a:pt x="1147" y="633"/>
                </a:cubicBezTo>
                <a:cubicBezTo>
                  <a:pt x="1148" y="634"/>
                  <a:pt x="1148" y="631"/>
                  <a:pt x="1149" y="631"/>
                </a:cubicBezTo>
                <a:cubicBezTo>
                  <a:pt x="1150" y="631"/>
                  <a:pt x="1149" y="633"/>
                  <a:pt x="1149" y="633"/>
                </a:cubicBezTo>
                <a:cubicBezTo>
                  <a:pt x="1150" y="635"/>
                  <a:pt x="1151" y="637"/>
                  <a:pt x="1152" y="638"/>
                </a:cubicBezTo>
                <a:cubicBezTo>
                  <a:pt x="1152" y="640"/>
                  <a:pt x="1151" y="641"/>
                  <a:pt x="1150" y="642"/>
                </a:cubicBezTo>
                <a:cubicBezTo>
                  <a:pt x="1148" y="650"/>
                  <a:pt x="1149" y="648"/>
                  <a:pt x="1150" y="650"/>
                </a:cubicBezTo>
                <a:cubicBezTo>
                  <a:pt x="1152" y="654"/>
                  <a:pt x="1152" y="660"/>
                  <a:pt x="1152" y="664"/>
                </a:cubicBezTo>
                <a:cubicBezTo>
                  <a:pt x="1151" y="666"/>
                  <a:pt x="1150" y="668"/>
                  <a:pt x="1150" y="670"/>
                </a:cubicBezTo>
                <a:cubicBezTo>
                  <a:pt x="1146" y="680"/>
                  <a:pt x="1146" y="680"/>
                  <a:pt x="1146" y="680"/>
                </a:cubicBezTo>
                <a:cubicBezTo>
                  <a:pt x="1147" y="684"/>
                  <a:pt x="1147" y="684"/>
                  <a:pt x="1147" y="684"/>
                </a:cubicBezTo>
                <a:cubicBezTo>
                  <a:pt x="1146" y="688"/>
                  <a:pt x="1146" y="688"/>
                  <a:pt x="1146" y="688"/>
                </a:cubicBezTo>
                <a:cubicBezTo>
                  <a:pt x="1142" y="692"/>
                  <a:pt x="1142" y="692"/>
                  <a:pt x="1142" y="692"/>
                </a:cubicBezTo>
                <a:cubicBezTo>
                  <a:pt x="1138" y="698"/>
                  <a:pt x="1138" y="698"/>
                  <a:pt x="1138" y="698"/>
                </a:cubicBezTo>
                <a:cubicBezTo>
                  <a:pt x="1141" y="702"/>
                  <a:pt x="1140" y="701"/>
                  <a:pt x="1142" y="704"/>
                </a:cubicBezTo>
                <a:cubicBezTo>
                  <a:pt x="1144" y="707"/>
                  <a:pt x="1144" y="707"/>
                  <a:pt x="1145" y="709"/>
                </a:cubicBezTo>
                <a:cubicBezTo>
                  <a:pt x="1144" y="714"/>
                  <a:pt x="1144" y="714"/>
                  <a:pt x="1144" y="714"/>
                </a:cubicBezTo>
                <a:cubicBezTo>
                  <a:pt x="1144" y="716"/>
                  <a:pt x="1144" y="716"/>
                  <a:pt x="1144" y="716"/>
                </a:cubicBezTo>
                <a:cubicBezTo>
                  <a:pt x="1144" y="716"/>
                  <a:pt x="1144" y="716"/>
                  <a:pt x="1144" y="716"/>
                </a:cubicBezTo>
                <a:cubicBezTo>
                  <a:pt x="1143" y="716"/>
                  <a:pt x="1143" y="716"/>
                  <a:pt x="1143" y="716"/>
                </a:cubicBezTo>
                <a:cubicBezTo>
                  <a:pt x="1143" y="720"/>
                  <a:pt x="1143" y="719"/>
                  <a:pt x="1144" y="721"/>
                </a:cubicBezTo>
                <a:cubicBezTo>
                  <a:pt x="1142" y="725"/>
                  <a:pt x="1142" y="725"/>
                  <a:pt x="1142" y="725"/>
                </a:cubicBezTo>
                <a:cubicBezTo>
                  <a:pt x="1143" y="725"/>
                  <a:pt x="1143" y="725"/>
                  <a:pt x="1143" y="725"/>
                </a:cubicBezTo>
                <a:cubicBezTo>
                  <a:pt x="1143" y="725"/>
                  <a:pt x="1143" y="725"/>
                  <a:pt x="1143" y="725"/>
                </a:cubicBezTo>
                <a:cubicBezTo>
                  <a:pt x="1148" y="727"/>
                  <a:pt x="1148" y="727"/>
                  <a:pt x="1148" y="727"/>
                </a:cubicBezTo>
                <a:cubicBezTo>
                  <a:pt x="1148" y="728"/>
                  <a:pt x="1149" y="728"/>
                  <a:pt x="1149" y="728"/>
                </a:cubicBezTo>
                <a:cubicBezTo>
                  <a:pt x="1150" y="729"/>
                  <a:pt x="1151" y="731"/>
                  <a:pt x="1151" y="731"/>
                </a:cubicBezTo>
                <a:cubicBezTo>
                  <a:pt x="1151" y="731"/>
                  <a:pt x="1153" y="731"/>
                  <a:pt x="1153" y="731"/>
                </a:cubicBezTo>
                <a:cubicBezTo>
                  <a:pt x="1154" y="731"/>
                  <a:pt x="1157" y="730"/>
                  <a:pt x="1157" y="730"/>
                </a:cubicBezTo>
                <a:cubicBezTo>
                  <a:pt x="1159" y="730"/>
                  <a:pt x="1159" y="730"/>
                  <a:pt x="1159" y="730"/>
                </a:cubicBezTo>
                <a:cubicBezTo>
                  <a:pt x="1156" y="732"/>
                  <a:pt x="1156" y="732"/>
                  <a:pt x="1156" y="732"/>
                </a:cubicBezTo>
                <a:cubicBezTo>
                  <a:pt x="1157" y="733"/>
                  <a:pt x="1157" y="733"/>
                  <a:pt x="1157" y="733"/>
                </a:cubicBezTo>
                <a:cubicBezTo>
                  <a:pt x="1156" y="734"/>
                  <a:pt x="1156" y="734"/>
                  <a:pt x="1156" y="734"/>
                </a:cubicBezTo>
                <a:cubicBezTo>
                  <a:pt x="1157" y="737"/>
                  <a:pt x="1157" y="736"/>
                  <a:pt x="1160" y="738"/>
                </a:cubicBezTo>
                <a:cubicBezTo>
                  <a:pt x="1160" y="738"/>
                  <a:pt x="1160" y="739"/>
                  <a:pt x="1161" y="739"/>
                </a:cubicBezTo>
                <a:cubicBezTo>
                  <a:pt x="1163" y="740"/>
                  <a:pt x="1164" y="742"/>
                  <a:pt x="1164" y="744"/>
                </a:cubicBezTo>
                <a:cubicBezTo>
                  <a:pt x="1164" y="745"/>
                  <a:pt x="1164" y="746"/>
                  <a:pt x="1164" y="747"/>
                </a:cubicBezTo>
                <a:cubicBezTo>
                  <a:pt x="1165" y="747"/>
                  <a:pt x="1167" y="749"/>
                  <a:pt x="1169" y="748"/>
                </a:cubicBezTo>
                <a:cubicBezTo>
                  <a:pt x="1169" y="748"/>
                  <a:pt x="1170" y="749"/>
                  <a:pt x="1170" y="750"/>
                </a:cubicBezTo>
                <a:cubicBezTo>
                  <a:pt x="1176" y="758"/>
                  <a:pt x="1176" y="758"/>
                  <a:pt x="1176" y="758"/>
                </a:cubicBezTo>
                <a:cubicBezTo>
                  <a:pt x="1177" y="759"/>
                  <a:pt x="1177" y="761"/>
                  <a:pt x="1177" y="762"/>
                </a:cubicBezTo>
                <a:cubicBezTo>
                  <a:pt x="1177" y="762"/>
                  <a:pt x="1177" y="762"/>
                  <a:pt x="1177" y="762"/>
                </a:cubicBezTo>
                <a:cubicBezTo>
                  <a:pt x="1177" y="764"/>
                  <a:pt x="1177" y="764"/>
                  <a:pt x="1177" y="764"/>
                </a:cubicBezTo>
                <a:cubicBezTo>
                  <a:pt x="1177" y="764"/>
                  <a:pt x="1179" y="769"/>
                  <a:pt x="1179" y="769"/>
                </a:cubicBezTo>
                <a:cubicBezTo>
                  <a:pt x="1179" y="770"/>
                  <a:pt x="1178" y="773"/>
                  <a:pt x="1179" y="773"/>
                </a:cubicBezTo>
                <a:cubicBezTo>
                  <a:pt x="1180" y="773"/>
                  <a:pt x="1181" y="776"/>
                  <a:pt x="1181" y="776"/>
                </a:cubicBezTo>
                <a:cubicBezTo>
                  <a:pt x="1185" y="780"/>
                  <a:pt x="1185" y="780"/>
                  <a:pt x="1185" y="780"/>
                </a:cubicBezTo>
                <a:cubicBezTo>
                  <a:pt x="1190" y="781"/>
                  <a:pt x="1188" y="782"/>
                  <a:pt x="1194" y="784"/>
                </a:cubicBezTo>
                <a:cubicBezTo>
                  <a:pt x="1194" y="784"/>
                  <a:pt x="1194" y="785"/>
                  <a:pt x="1194" y="786"/>
                </a:cubicBezTo>
                <a:cubicBezTo>
                  <a:pt x="1197" y="789"/>
                  <a:pt x="1199" y="789"/>
                  <a:pt x="1202" y="791"/>
                </a:cubicBezTo>
                <a:cubicBezTo>
                  <a:pt x="1202" y="794"/>
                  <a:pt x="1202" y="793"/>
                  <a:pt x="1205" y="794"/>
                </a:cubicBezTo>
                <a:cubicBezTo>
                  <a:pt x="1208" y="798"/>
                  <a:pt x="1208" y="798"/>
                  <a:pt x="1208" y="798"/>
                </a:cubicBezTo>
                <a:cubicBezTo>
                  <a:pt x="1216" y="805"/>
                  <a:pt x="1216" y="805"/>
                  <a:pt x="1216" y="805"/>
                </a:cubicBezTo>
                <a:cubicBezTo>
                  <a:pt x="1219" y="808"/>
                  <a:pt x="1219" y="808"/>
                  <a:pt x="1219" y="808"/>
                </a:cubicBezTo>
                <a:cubicBezTo>
                  <a:pt x="1224" y="809"/>
                  <a:pt x="1224" y="809"/>
                  <a:pt x="1224" y="809"/>
                </a:cubicBezTo>
                <a:cubicBezTo>
                  <a:pt x="1227" y="812"/>
                  <a:pt x="1227" y="812"/>
                  <a:pt x="1227" y="812"/>
                </a:cubicBezTo>
                <a:cubicBezTo>
                  <a:pt x="1232" y="813"/>
                  <a:pt x="1232" y="813"/>
                  <a:pt x="1232" y="813"/>
                </a:cubicBezTo>
                <a:cubicBezTo>
                  <a:pt x="1232" y="813"/>
                  <a:pt x="1232" y="812"/>
                  <a:pt x="1232" y="812"/>
                </a:cubicBezTo>
                <a:cubicBezTo>
                  <a:pt x="1232" y="813"/>
                  <a:pt x="1232" y="814"/>
                  <a:pt x="1232" y="814"/>
                </a:cubicBezTo>
                <a:cubicBezTo>
                  <a:pt x="1233" y="814"/>
                  <a:pt x="1238" y="810"/>
                  <a:pt x="1238" y="810"/>
                </a:cubicBezTo>
                <a:cubicBezTo>
                  <a:pt x="1251" y="805"/>
                  <a:pt x="1251" y="805"/>
                  <a:pt x="1251" y="805"/>
                </a:cubicBezTo>
                <a:cubicBezTo>
                  <a:pt x="1255" y="805"/>
                  <a:pt x="1255" y="805"/>
                  <a:pt x="1255" y="805"/>
                </a:cubicBezTo>
                <a:cubicBezTo>
                  <a:pt x="1262" y="803"/>
                  <a:pt x="1262" y="803"/>
                  <a:pt x="1262" y="803"/>
                </a:cubicBezTo>
                <a:cubicBezTo>
                  <a:pt x="1270" y="803"/>
                  <a:pt x="1270" y="803"/>
                  <a:pt x="1270" y="803"/>
                </a:cubicBezTo>
                <a:cubicBezTo>
                  <a:pt x="1273" y="806"/>
                  <a:pt x="1272" y="805"/>
                  <a:pt x="1278" y="805"/>
                </a:cubicBezTo>
                <a:cubicBezTo>
                  <a:pt x="1278" y="806"/>
                  <a:pt x="1278" y="806"/>
                  <a:pt x="1282" y="808"/>
                </a:cubicBezTo>
                <a:cubicBezTo>
                  <a:pt x="1285" y="808"/>
                  <a:pt x="1285" y="808"/>
                  <a:pt x="1285" y="808"/>
                </a:cubicBezTo>
                <a:cubicBezTo>
                  <a:pt x="1285" y="808"/>
                  <a:pt x="1288" y="809"/>
                  <a:pt x="1289" y="808"/>
                </a:cubicBezTo>
                <a:cubicBezTo>
                  <a:pt x="1289" y="807"/>
                  <a:pt x="1288" y="807"/>
                  <a:pt x="1290" y="807"/>
                </a:cubicBezTo>
                <a:cubicBezTo>
                  <a:pt x="1293" y="806"/>
                  <a:pt x="1291" y="806"/>
                  <a:pt x="1293" y="805"/>
                </a:cubicBezTo>
                <a:cubicBezTo>
                  <a:pt x="1296" y="805"/>
                  <a:pt x="1298" y="804"/>
                  <a:pt x="1298" y="803"/>
                </a:cubicBezTo>
                <a:cubicBezTo>
                  <a:pt x="1299" y="803"/>
                  <a:pt x="1297" y="803"/>
                  <a:pt x="1300" y="802"/>
                </a:cubicBezTo>
                <a:cubicBezTo>
                  <a:pt x="1303" y="801"/>
                  <a:pt x="1303" y="799"/>
                  <a:pt x="1307" y="799"/>
                </a:cubicBezTo>
                <a:cubicBezTo>
                  <a:pt x="1313" y="798"/>
                  <a:pt x="1313" y="798"/>
                  <a:pt x="1313" y="798"/>
                </a:cubicBezTo>
                <a:cubicBezTo>
                  <a:pt x="1316" y="796"/>
                  <a:pt x="1316" y="796"/>
                  <a:pt x="1316" y="796"/>
                </a:cubicBezTo>
                <a:cubicBezTo>
                  <a:pt x="1318" y="794"/>
                  <a:pt x="1318" y="794"/>
                  <a:pt x="1318" y="794"/>
                </a:cubicBezTo>
                <a:cubicBezTo>
                  <a:pt x="1318" y="794"/>
                  <a:pt x="1318" y="794"/>
                  <a:pt x="1318" y="794"/>
                </a:cubicBezTo>
                <a:cubicBezTo>
                  <a:pt x="1318" y="794"/>
                  <a:pt x="1318" y="794"/>
                  <a:pt x="1318" y="794"/>
                </a:cubicBezTo>
                <a:cubicBezTo>
                  <a:pt x="1322" y="792"/>
                  <a:pt x="1322" y="792"/>
                  <a:pt x="1322" y="792"/>
                </a:cubicBezTo>
                <a:cubicBezTo>
                  <a:pt x="1322" y="793"/>
                  <a:pt x="1322" y="793"/>
                  <a:pt x="1322" y="793"/>
                </a:cubicBezTo>
                <a:cubicBezTo>
                  <a:pt x="1323" y="793"/>
                  <a:pt x="1328" y="791"/>
                  <a:pt x="1328" y="791"/>
                </a:cubicBezTo>
                <a:cubicBezTo>
                  <a:pt x="1329" y="791"/>
                  <a:pt x="1331" y="790"/>
                  <a:pt x="1333" y="790"/>
                </a:cubicBezTo>
                <a:cubicBezTo>
                  <a:pt x="1333" y="791"/>
                  <a:pt x="1333" y="791"/>
                  <a:pt x="1333" y="791"/>
                </a:cubicBezTo>
                <a:cubicBezTo>
                  <a:pt x="1337" y="791"/>
                  <a:pt x="1337" y="791"/>
                  <a:pt x="1337" y="791"/>
                </a:cubicBezTo>
                <a:cubicBezTo>
                  <a:pt x="1339" y="791"/>
                  <a:pt x="1345" y="791"/>
                  <a:pt x="1349" y="791"/>
                </a:cubicBezTo>
                <a:cubicBezTo>
                  <a:pt x="1349" y="791"/>
                  <a:pt x="1351" y="793"/>
                  <a:pt x="1351" y="793"/>
                </a:cubicBezTo>
                <a:cubicBezTo>
                  <a:pt x="1354" y="797"/>
                  <a:pt x="1354" y="797"/>
                  <a:pt x="1354" y="797"/>
                </a:cubicBezTo>
                <a:cubicBezTo>
                  <a:pt x="1356" y="800"/>
                  <a:pt x="1356" y="800"/>
                  <a:pt x="1356" y="800"/>
                </a:cubicBezTo>
                <a:cubicBezTo>
                  <a:pt x="1358" y="801"/>
                  <a:pt x="1358" y="801"/>
                  <a:pt x="1358" y="801"/>
                </a:cubicBezTo>
                <a:cubicBezTo>
                  <a:pt x="1358" y="803"/>
                  <a:pt x="1358" y="803"/>
                  <a:pt x="1358" y="803"/>
                </a:cubicBezTo>
                <a:cubicBezTo>
                  <a:pt x="1357" y="807"/>
                  <a:pt x="1360" y="808"/>
                  <a:pt x="1360" y="809"/>
                </a:cubicBezTo>
                <a:cubicBezTo>
                  <a:pt x="1360" y="809"/>
                  <a:pt x="1359" y="810"/>
                  <a:pt x="1359" y="810"/>
                </a:cubicBezTo>
                <a:cubicBezTo>
                  <a:pt x="1360" y="812"/>
                  <a:pt x="1361" y="814"/>
                  <a:pt x="1361" y="814"/>
                </a:cubicBezTo>
                <a:cubicBezTo>
                  <a:pt x="1362" y="814"/>
                  <a:pt x="1367" y="815"/>
                  <a:pt x="1368" y="815"/>
                </a:cubicBezTo>
                <a:cubicBezTo>
                  <a:pt x="1370" y="813"/>
                  <a:pt x="1370" y="813"/>
                  <a:pt x="1370" y="813"/>
                </a:cubicBezTo>
                <a:cubicBezTo>
                  <a:pt x="1371" y="810"/>
                  <a:pt x="1371" y="810"/>
                  <a:pt x="1371" y="810"/>
                </a:cubicBezTo>
                <a:cubicBezTo>
                  <a:pt x="1371" y="810"/>
                  <a:pt x="1371" y="812"/>
                  <a:pt x="1372" y="812"/>
                </a:cubicBezTo>
                <a:cubicBezTo>
                  <a:pt x="1373" y="812"/>
                  <a:pt x="1374" y="812"/>
                  <a:pt x="1374" y="812"/>
                </a:cubicBezTo>
                <a:cubicBezTo>
                  <a:pt x="1375" y="811"/>
                  <a:pt x="1375" y="810"/>
                  <a:pt x="1376" y="810"/>
                </a:cubicBezTo>
                <a:cubicBezTo>
                  <a:pt x="1376" y="810"/>
                  <a:pt x="1380" y="812"/>
                  <a:pt x="1381" y="812"/>
                </a:cubicBezTo>
                <a:cubicBezTo>
                  <a:pt x="1385" y="810"/>
                  <a:pt x="1385" y="810"/>
                  <a:pt x="1385" y="810"/>
                </a:cubicBezTo>
                <a:cubicBezTo>
                  <a:pt x="1385" y="807"/>
                  <a:pt x="1385" y="807"/>
                  <a:pt x="1385" y="807"/>
                </a:cubicBezTo>
                <a:cubicBezTo>
                  <a:pt x="1388" y="809"/>
                  <a:pt x="1388" y="809"/>
                  <a:pt x="1388" y="809"/>
                </a:cubicBezTo>
                <a:cubicBezTo>
                  <a:pt x="1388" y="809"/>
                  <a:pt x="1388" y="809"/>
                  <a:pt x="1388" y="809"/>
                </a:cubicBezTo>
                <a:cubicBezTo>
                  <a:pt x="1390" y="812"/>
                  <a:pt x="1390" y="812"/>
                  <a:pt x="1390" y="812"/>
                </a:cubicBezTo>
                <a:cubicBezTo>
                  <a:pt x="1392" y="812"/>
                  <a:pt x="1392" y="812"/>
                  <a:pt x="1392" y="812"/>
                </a:cubicBezTo>
                <a:cubicBezTo>
                  <a:pt x="1392" y="813"/>
                  <a:pt x="1392" y="813"/>
                  <a:pt x="1392" y="813"/>
                </a:cubicBezTo>
                <a:cubicBezTo>
                  <a:pt x="1392" y="813"/>
                  <a:pt x="1393" y="816"/>
                  <a:pt x="1393" y="817"/>
                </a:cubicBezTo>
                <a:cubicBezTo>
                  <a:pt x="1393" y="818"/>
                  <a:pt x="1394" y="818"/>
                  <a:pt x="1394" y="818"/>
                </a:cubicBezTo>
                <a:cubicBezTo>
                  <a:pt x="1397" y="818"/>
                  <a:pt x="1397" y="818"/>
                  <a:pt x="1397" y="818"/>
                </a:cubicBezTo>
                <a:cubicBezTo>
                  <a:pt x="1399" y="817"/>
                  <a:pt x="1399" y="817"/>
                  <a:pt x="1399" y="817"/>
                </a:cubicBezTo>
                <a:cubicBezTo>
                  <a:pt x="1400" y="817"/>
                  <a:pt x="1400" y="817"/>
                  <a:pt x="1400" y="817"/>
                </a:cubicBezTo>
                <a:cubicBezTo>
                  <a:pt x="1399" y="822"/>
                  <a:pt x="1399" y="822"/>
                  <a:pt x="1399" y="822"/>
                </a:cubicBezTo>
                <a:cubicBezTo>
                  <a:pt x="1399" y="822"/>
                  <a:pt x="1400" y="825"/>
                  <a:pt x="1400" y="825"/>
                </a:cubicBezTo>
                <a:cubicBezTo>
                  <a:pt x="1400" y="826"/>
                  <a:pt x="1402" y="827"/>
                  <a:pt x="1402" y="828"/>
                </a:cubicBezTo>
                <a:cubicBezTo>
                  <a:pt x="1402" y="829"/>
                  <a:pt x="1401" y="832"/>
                  <a:pt x="1401" y="833"/>
                </a:cubicBezTo>
                <a:cubicBezTo>
                  <a:pt x="1401" y="833"/>
                  <a:pt x="1401" y="835"/>
                  <a:pt x="1402" y="837"/>
                </a:cubicBezTo>
                <a:cubicBezTo>
                  <a:pt x="1401" y="837"/>
                  <a:pt x="1401" y="837"/>
                  <a:pt x="1401" y="837"/>
                </a:cubicBezTo>
                <a:cubicBezTo>
                  <a:pt x="1400" y="840"/>
                  <a:pt x="1401" y="839"/>
                  <a:pt x="1401" y="841"/>
                </a:cubicBezTo>
                <a:cubicBezTo>
                  <a:pt x="1401" y="841"/>
                  <a:pt x="1399" y="843"/>
                  <a:pt x="1399" y="843"/>
                </a:cubicBezTo>
                <a:cubicBezTo>
                  <a:pt x="1400" y="845"/>
                  <a:pt x="1400" y="845"/>
                  <a:pt x="1400" y="845"/>
                </a:cubicBezTo>
                <a:cubicBezTo>
                  <a:pt x="1398" y="846"/>
                  <a:pt x="1398" y="846"/>
                  <a:pt x="1397" y="849"/>
                </a:cubicBezTo>
                <a:cubicBezTo>
                  <a:pt x="1399" y="851"/>
                  <a:pt x="1399" y="851"/>
                  <a:pt x="1399" y="851"/>
                </a:cubicBezTo>
                <a:cubicBezTo>
                  <a:pt x="1399" y="855"/>
                  <a:pt x="1399" y="855"/>
                  <a:pt x="1399" y="855"/>
                </a:cubicBezTo>
                <a:cubicBezTo>
                  <a:pt x="1397" y="855"/>
                  <a:pt x="1397" y="855"/>
                  <a:pt x="1397" y="855"/>
                </a:cubicBezTo>
                <a:cubicBezTo>
                  <a:pt x="1396" y="856"/>
                  <a:pt x="1396" y="856"/>
                  <a:pt x="1396" y="856"/>
                </a:cubicBezTo>
                <a:cubicBezTo>
                  <a:pt x="1397" y="860"/>
                  <a:pt x="1397" y="857"/>
                  <a:pt x="1396" y="861"/>
                </a:cubicBezTo>
                <a:cubicBezTo>
                  <a:pt x="1396" y="865"/>
                  <a:pt x="1396" y="865"/>
                  <a:pt x="1396" y="865"/>
                </a:cubicBezTo>
                <a:cubicBezTo>
                  <a:pt x="1396" y="866"/>
                  <a:pt x="1395" y="867"/>
                  <a:pt x="1394" y="868"/>
                </a:cubicBezTo>
                <a:cubicBezTo>
                  <a:pt x="1394" y="869"/>
                  <a:pt x="1394" y="870"/>
                  <a:pt x="1394" y="870"/>
                </a:cubicBezTo>
                <a:cubicBezTo>
                  <a:pt x="1393" y="871"/>
                  <a:pt x="1392" y="869"/>
                  <a:pt x="1391" y="868"/>
                </a:cubicBezTo>
                <a:cubicBezTo>
                  <a:pt x="1391" y="868"/>
                  <a:pt x="1390" y="868"/>
                  <a:pt x="1390" y="869"/>
                </a:cubicBezTo>
                <a:cubicBezTo>
                  <a:pt x="1390" y="871"/>
                  <a:pt x="1391" y="874"/>
                  <a:pt x="1392" y="876"/>
                </a:cubicBezTo>
                <a:cubicBezTo>
                  <a:pt x="1393" y="878"/>
                  <a:pt x="1395" y="878"/>
                  <a:pt x="1396" y="879"/>
                </a:cubicBezTo>
                <a:cubicBezTo>
                  <a:pt x="1396" y="880"/>
                  <a:pt x="1395" y="881"/>
                  <a:pt x="1396" y="882"/>
                </a:cubicBezTo>
                <a:cubicBezTo>
                  <a:pt x="1396" y="882"/>
                  <a:pt x="1397" y="882"/>
                  <a:pt x="1397" y="883"/>
                </a:cubicBezTo>
                <a:cubicBezTo>
                  <a:pt x="1398" y="884"/>
                  <a:pt x="1398" y="886"/>
                  <a:pt x="1398" y="887"/>
                </a:cubicBezTo>
                <a:cubicBezTo>
                  <a:pt x="1399" y="890"/>
                  <a:pt x="1401" y="889"/>
                  <a:pt x="1402" y="889"/>
                </a:cubicBezTo>
                <a:cubicBezTo>
                  <a:pt x="1403" y="890"/>
                  <a:pt x="1403" y="890"/>
                  <a:pt x="1403" y="891"/>
                </a:cubicBezTo>
                <a:cubicBezTo>
                  <a:pt x="1402" y="892"/>
                  <a:pt x="1402" y="892"/>
                  <a:pt x="1402" y="892"/>
                </a:cubicBezTo>
                <a:cubicBezTo>
                  <a:pt x="1404" y="894"/>
                  <a:pt x="1404" y="894"/>
                  <a:pt x="1404" y="894"/>
                </a:cubicBezTo>
                <a:cubicBezTo>
                  <a:pt x="1408" y="898"/>
                  <a:pt x="1408" y="898"/>
                  <a:pt x="1408" y="898"/>
                </a:cubicBezTo>
                <a:cubicBezTo>
                  <a:pt x="1409" y="898"/>
                  <a:pt x="1410" y="902"/>
                  <a:pt x="1410" y="902"/>
                </a:cubicBezTo>
                <a:cubicBezTo>
                  <a:pt x="1413" y="904"/>
                  <a:pt x="1413" y="904"/>
                  <a:pt x="1413" y="904"/>
                </a:cubicBezTo>
                <a:cubicBezTo>
                  <a:pt x="1413" y="904"/>
                  <a:pt x="1414" y="905"/>
                  <a:pt x="1415" y="905"/>
                </a:cubicBezTo>
                <a:cubicBezTo>
                  <a:pt x="1415" y="905"/>
                  <a:pt x="1415" y="905"/>
                  <a:pt x="1415" y="905"/>
                </a:cubicBezTo>
                <a:cubicBezTo>
                  <a:pt x="1417" y="909"/>
                  <a:pt x="1417" y="909"/>
                  <a:pt x="1417" y="909"/>
                </a:cubicBezTo>
                <a:cubicBezTo>
                  <a:pt x="1421" y="914"/>
                  <a:pt x="1419" y="909"/>
                  <a:pt x="1422" y="917"/>
                </a:cubicBezTo>
                <a:cubicBezTo>
                  <a:pt x="1423" y="918"/>
                  <a:pt x="1423" y="918"/>
                  <a:pt x="1423" y="918"/>
                </a:cubicBezTo>
                <a:cubicBezTo>
                  <a:pt x="1424" y="917"/>
                  <a:pt x="1424" y="917"/>
                  <a:pt x="1424" y="917"/>
                </a:cubicBezTo>
                <a:cubicBezTo>
                  <a:pt x="1424" y="917"/>
                  <a:pt x="1423" y="918"/>
                  <a:pt x="1423" y="919"/>
                </a:cubicBezTo>
                <a:cubicBezTo>
                  <a:pt x="1425" y="922"/>
                  <a:pt x="1425" y="922"/>
                  <a:pt x="1423" y="925"/>
                </a:cubicBezTo>
                <a:cubicBezTo>
                  <a:pt x="1423" y="925"/>
                  <a:pt x="1424" y="925"/>
                  <a:pt x="1425" y="926"/>
                </a:cubicBezTo>
                <a:cubicBezTo>
                  <a:pt x="1425" y="927"/>
                  <a:pt x="1427" y="929"/>
                  <a:pt x="1427" y="929"/>
                </a:cubicBezTo>
                <a:cubicBezTo>
                  <a:pt x="1425" y="930"/>
                  <a:pt x="1425" y="930"/>
                  <a:pt x="1425" y="930"/>
                </a:cubicBezTo>
                <a:cubicBezTo>
                  <a:pt x="1427" y="934"/>
                  <a:pt x="1427" y="934"/>
                  <a:pt x="1427" y="934"/>
                </a:cubicBezTo>
                <a:cubicBezTo>
                  <a:pt x="1429" y="937"/>
                  <a:pt x="1429" y="937"/>
                  <a:pt x="1429" y="937"/>
                </a:cubicBezTo>
                <a:cubicBezTo>
                  <a:pt x="1431" y="940"/>
                  <a:pt x="1431" y="940"/>
                  <a:pt x="1431" y="940"/>
                </a:cubicBezTo>
                <a:cubicBezTo>
                  <a:pt x="1431" y="943"/>
                  <a:pt x="1431" y="943"/>
                  <a:pt x="1431" y="943"/>
                </a:cubicBezTo>
                <a:cubicBezTo>
                  <a:pt x="1431" y="944"/>
                  <a:pt x="1434" y="952"/>
                  <a:pt x="1434" y="953"/>
                </a:cubicBezTo>
                <a:cubicBezTo>
                  <a:pt x="1437" y="956"/>
                  <a:pt x="1437" y="956"/>
                  <a:pt x="1437" y="956"/>
                </a:cubicBezTo>
                <a:cubicBezTo>
                  <a:pt x="1434" y="960"/>
                  <a:pt x="1435" y="959"/>
                  <a:pt x="1432" y="962"/>
                </a:cubicBezTo>
                <a:cubicBezTo>
                  <a:pt x="1432" y="965"/>
                  <a:pt x="1432" y="965"/>
                  <a:pt x="1432" y="965"/>
                </a:cubicBezTo>
                <a:cubicBezTo>
                  <a:pt x="1435" y="969"/>
                  <a:pt x="1435" y="969"/>
                  <a:pt x="1435" y="969"/>
                </a:cubicBezTo>
                <a:cubicBezTo>
                  <a:pt x="1435" y="971"/>
                  <a:pt x="1435" y="971"/>
                  <a:pt x="1435" y="971"/>
                </a:cubicBezTo>
                <a:cubicBezTo>
                  <a:pt x="1435" y="971"/>
                  <a:pt x="1440" y="979"/>
                  <a:pt x="1440" y="981"/>
                </a:cubicBezTo>
                <a:cubicBezTo>
                  <a:pt x="1440" y="982"/>
                  <a:pt x="1440" y="982"/>
                  <a:pt x="1440" y="984"/>
                </a:cubicBezTo>
                <a:cubicBezTo>
                  <a:pt x="1440" y="985"/>
                  <a:pt x="1439" y="993"/>
                  <a:pt x="1439" y="993"/>
                </a:cubicBezTo>
                <a:cubicBezTo>
                  <a:pt x="1439" y="993"/>
                  <a:pt x="1438" y="997"/>
                  <a:pt x="1438" y="998"/>
                </a:cubicBezTo>
                <a:cubicBezTo>
                  <a:pt x="1438" y="1000"/>
                  <a:pt x="1435" y="1003"/>
                  <a:pt x="1435" y="1003"/>
                </a:cubicBezTo>
                <a:cubicBezTo>
                  <a:pt x="1432" y="1004"/>
                  <a:pt x="1432" y="1004"/>
                  <a:pt x="1432" y="1004"/>
                </a:cubicBezTo>
                <a:cubicBezTo>
                  <a:pt x="1431" y="1007"/>
                  <a:pt x="1431" y="1007"/>
                  <a:pt x="1431" y="1007"/>
                </a:cubicBezTo>
                <a:cubicBezTo>
                  <a:pt x="1429" y="1008"/>
                  <a:pt x="1429" y="1008"/>
                  <a:pt x="1429" y="1008"/>
                </a:cubicBezTo>
                <a:cubicBezTo>
                  <a:pt x="1427" y="1015"/>
                  <a:pt x="1427" y="1015"/>
                  <a:pt x="1427" y="1015"/>
                </a:cubicBezTo>
                <a:cubicBezTo>
                  <a:pt x="1426" y="1017"/>
                  <a:pt x="1426" y="1022"/>
                  <a:pt x="1425" y="1025"/>
                </a:cubicBezTo>
                <a:cubicBezTo>
                  <a:pt x="1425" y="1026"/>
                  <a:pt x="1423" y="1032"/>
                  <a:pt x="1422" y="1033"/>
                </a:cubicBezTo>
                <a:cubicBezTo>
                  <a:pt x="1422" y="1035"/>
                  <a:pt x="1422" y="1035"/>
                  <a:pt x="1422" y="1035"/>
                </a:cubicBezTo>
                <a:cubicBezTo>
                  <a:pt x="1420" y="1038"/>
                  <a:pt x="1420" y="1037"/>
                  <a:pt x="1421" y="1040"/>
                </a:cubicBezTo>
                <a:cubicBezTo>
                  <a:pt x="1421" y="1041"/>
                  <a:pt x="1421" y="1047"/>
                  <a:pt x="1421" y="1049"/>
                </a:cubicBezTo>
                <a:cubicBezTo>
                  <a:pt x="1420" y="1053"/>
                  <a:pt x="1420" y="1053"/>
                  <a:pt x="1420" y="1053"/>
                </a:cubicBezTo>
                <a:cubicBezTo>
                  <a:pt x="1420" y="1054"/>
                  <a:pt x="1420" y="1054"/>
                  <a:pt x="1420" y="1054"/>
                </a:cubicBezTo>
                <a:cubicBezTo>
                  <a:pt x="1420" y="1054"/>
                  <a:pt x="1420" y="1054"/>
                  <a:pt x="1420" y="1054"/>
                </a:cubicBezTo>
                <a:cubicBezTo>
                  <a:pt x="1421" y="1060"/>
                  <a:pt x="1421" y="1060"/>
                  <a:pt x="1421" y="1060"/>
                </a:cubicBezTo>
                <a:cubicBezTo>
                  <a:pt x="1421" y="1063"/>
                  <a:pt x="1420" y="1061"/>
                  <a:pt x="1422" y="1063"/>
                </a:cubicBezTo>
                <a:cubicBezTo>
                  <a:pt x="1422" y="1064"/>
                  <a:pt x="1423" y="1065"/>
                  <a:pt x="1423" y="1066"/>
                </a:cubicBezTo>
                <a:cubicBezTo>
                  <a:pt x="1425" y="1068"/>
                  <a:pt x="1425" y="1068"/>
                  <a:pt x="1425" y="1068"/>
                </a:cubicBezTo>
                <a:cubicBezTo>
                  <a:pt x="1425" y="1068"/>
                  <a:pt x="1428" y="1073"/>
                  <a:pt x="1428" y="1074"/>
                </a:cubicBezTo>
                <a:cubicBezTo>
                  <a:pt x="1431" y="1080"/>
                  <a:pt x="1431" y="1080"/>
                  <a:pt x="1431" y="1080"/>
                </a:cubicBezTo>
                <a:cubicBezTo>
                  <a:pt x="1431" y="1081"/>
                  <a:pt x="1432" y="1082"/>
                  <a:pt x="1432" y="1083"/>
                </a:cubicBezTo>
                <a:cubicBezTo>
                  <a:pt x="1432" y="1084"/>
                  <a:pt x="1433" y="1085"/>
                  <a:pt x="1434" y="1085"/>
                </a:cubicBezTo>
                <a:cubicBezTo>
                  <a:pt x="1435" y="1087"/>
                  <a:pt x="1435" y="1088"/>
                  <a:pt x="1435" y="1089"/>
                </a:cubicBezTo>
                <a:cubicBezTo>
                  <a:pt x="1436" y="1093"/>
                  <a:pt x="1438" y="1096"/>
                  <a:pt x="1441" y="1100"/>
                </a:cubicBezTo>
                <a:cubicBezTo>
                  <a:pt x="1444" y="1105"/>
                  <a:pt x="1443" y="1105"/>
                  <a:pt x="1444" y="1107"/>
                </a:cubicBezTo>
                <a:cubicBezTo>
                  <a:pt x="1446" y="1110"/>
                  <a:pt x="1446" y="1110"/>
                  <a:pt x="1446" y="1110"/>
                </a:cubicBezTo>
                <a:cubicBezTo>
                  <a:pt x="1446" y="1110"/>
                  <a:pt x="1447" y="1114"/>
                  <a:pt x="1447" y="1114"/>
                </a:cubicBezTo>
                <a:cubicBezTo>
                  <a:pt x="1447" y="1115"/>
                  <a:pt x="1446" y="1115"/>
                  <a:pt x="1446" y="1116"/>
                </a:cubicBezTo>
                <a:cubicBezTo>
                  <a:pt x="1445" y="1117"/>
                  <a:pt x="1446" y="1119"/>
                  <a:pt x="1446" y="1120"/>
                </a:cubicBezTo>
                <a:cubicBezTo>
                  <a:pt x="1446" y="1121"/>
                  <a:pt x="1446" y="1121"/>
                  <a:pt x="1446" y="1121"/>
                </a:cubicBezTo>
                <a:cubicBezTo>
                  <a:pt x="1447" y="1122"/>
                  <a:pt x="1447" y="1122"/>
                  <a:pt x="1447" y="1122"/>
                </a:cubicBezTo>
                <a:cubicBezTo>
                  <a:pt x="1447" y="1126"/>
                  <a:pt x="1447" y="1126"/>
                  <a:pt x="1447" y="1126"/>
                </a:cubicBezTo>
                <a:cubicBezTo>
                  <a:pt x="1447" y="1128"/>
                  <a:pt x="1447" y="1128"/>
                  <a:pt x="1447" y="1128"/>
                </a:cubicBezTo>
                <a:cubicBezTo>
                  <a:pt x="1448" y="1130"/>
                  <a:pt x="1448" y="1130"/>
                  <a:pt x="1448" y="1130"/>
                </a:cubicBezTo>
                <a:cubicBezTo>
                  <a:pt x="1448" y="1134"/>
                  <a:pt x="1448" y="1134"/>
                  <a:pt x="1448" y="1134"/>
                </a:cubicBezTo>
                <a:cubicBezTo>
                  <a:pt x="1450" y="1137"/>
                  <a:pt x="1450" y="1137"/>
                  <a:pt x="1450" y="1137"/>
                </a:cubicBezTo>
                <a:cubicBezTo>
                  <a:pt x="1450" y="1147"/>
                  <a:pt x="1450" y="1147"/>
                  <a:pt x="1450" y="1147"/>
                </a:cubicBezTo>
                <a:cubicBezTo>
                  <a:pt x="1451" y="1149"/>
                  <a:pt x="1451" y="1149"/>
                  <a:pt x="1451" y="1149"/>
                </a:cubicBezTo>
                <a:cubicBezTo>
                  <a:pt x="1451" y="1149"/>
                  <a:pt x="1451" y="1151"/>
                  <a:pt x="1451" y="1152"/>
                </a:cubicBezTo>
                <a:cubicBezTo>
                  <a:pt x="1451" y="1154"/>
                  <a:pt x="1451" y="1153"/>
                  <a:pt x="1451" y="1153"/>
                </a:cubicBezTo>
                <a:cubicBezTo>
                  <a:pt x="1451" y="1154"/>
                  <a:pt x="1453" y="1155"/>
                  <a:pt x="1453" y="1156"/>
                </a:cubicBezTo>
                <a:cubicBezTo>
                  <a:pt x="1453" y="1156"/>
                  <a:pt x="1452" y="1157"/>
                  <a:pt x="1452" y="1157"/>
                </a:cubicBezTo>
                <a:cubicBezTo>
                  <a:pt x="1454" y="1161"/>
                  <a:pt x="1454" y="1161"/>
                  <a:pt x="1454" y="1161"/>
                </a:cubicBezTo>
                <a:cubicBezTo>
                  <a:pt x="1454" y="1162"/>
                  <a:pt x="1455" y="1164"/>
                  <a:pt x="1456" y="1167"/>
                </a:cubicBezTo>
                <a:cubicBezTo>
                  <a:pt x="1456" y="1169"/>
                  <a:pt x="1457" y="1170"/>
                  <a:pt x="1457" y="1170"/>
                </a:cubicBezTo>
                <a:cubicBezTo>
                  <a:pt x="1457" y="1171"/>
                  <a:pt x="1460" y="1175"/>
                  <a:pt x="1460" y="1175"/>
                </a:cubicBezTo>
                <a:cubicBezTo>
                  <a:pt x="1461" y="1177"/>
                  <a:pt x="1461" y="1177"/>
                  <a:pt x="1461" y="1177"/>
                </a:cubicBezTo>
                <a:cubicBezTo>
                  <a:pt x="1465" y="1179"/>
                  <a:pt x="1465" y="1179"/>
                  <a:pt x="1465" y="1179"/>
                </a:cubicBezTo>
                <a:cubicBezTo>
                  <a:pt x="1464" y="1178"/>
                  <a:pt x="1464" y="1178"/>
                  <a:pt x="1464" y="1178"/>
                </a:cubicBezTo>
                <a:cubicBezTo>
                  <a:pt x="1466" y="1182"/>
                  <a:pt x="1466" y="1182"/>
                  <a:pt x="1466" y="1182"/>
                </a:cubicBezTo>
                <a:cubicBezTo>
                  <a:pt x="1466" y="1182"/>
                  <a:pt x="1468" y="1185"/>
                  <a:pt x="1468" y="1185"/>
                </a:cubicBezTo>
                <a:cubicBezTo>
                  <a:pt x="1469" y="1186"/>
                  <a:pt x="1469" y="1189"/>
                  <a:pt x="1469" y="1189"/>
                </a:cubicBezTo>
                <a:cubicBezTo>
                  <a:pt x="1472" y="1194"/>
                  <a:pt x="1472" y="1194"/>
                  <a:pt x="1472" y="1194"/>
                </a:cubicBezTo>
                <a:cubicBezTo>
                  <a:pt x="1472" y="1194"/>
                  <a:pt x="1475" y="1202"/>
                  <a:pt x="1475" y="1203"/>
                </a:cubicBezTo>
                <a:cubicBezTo>
                  <a:pt x="1476" y="1204"/>
                  <a:pt x="1477" y="1207"/>
                  <a:pt x="1477" y="1207"/>
                </a:cubicBezTo>
                <a:cubicBezTo>
                  <a:pt x="1477" y="1208"/>
                  <a:pt x="1479" y="1211"/>
                  <a:pt x="1479" y="1211"/>
                </a:cubicBezTo>
                <a:cubicBezTo>
                  <a:pt x="1480" y="1212"/>
                  <a:pt x="1481" y="1214"/>
                  <a:pt x="1481" y="1216"/>
                </a:cubicBezTo>
                <a:cubicBezTo>
                  <a:pt x="1481" y="1218"/>
                  <a:pt x="1481" y="1221"/>
                  <a:pt x="1481" y="1223"/>
                </a:cubicBezTo>
                <a:cubicBezTo>
                  <a:pt x="1481" y="1224"/>
                  <a:pt x="1479" y="1225"/>
                  <a:pt x="1479" y="1225"/>
                </a:cubicBezTo>
                <a:cubicBezTo>
                  <a:pt x="1479" y="1225"/>
                  <a:pt x="1477" y="1224"/>
                  <a:pt x="1477" y="1225"/>
                </a:cubicBezTo>
                <a:cubicBezTo>
                  <a:pt x="1477" y="1229"/>
                  <a:pt x="1479" y="1228"/>
                  <a:pt x="1479" y="1229"/>
                </a:cubicBezTo>
                <a:cubicBezTo>
                  <a:pt x="1479" y="1229"/>
                  <a:pt x="1480" y="1231"/>
                  <a:pt x="1480" y="1232"/>
                </a:cubicBezTo>
                <a:cubicBezTo>
                  <a:pt x="1481" y="1234"/>
                  <a:pt x="1483" y="1235"/>
                  <a:pt x="1483" y="1237"/>
                </a:cubicBezTo>
                <a:cubicBezTo>
                  <a:pt x="1482" y="1238"/>
                  <a:pt x="1481" y="1238"/>
                  <a:pt x="1481" y="1240"/>
                </a:cubicBezTo>
                <a:cubicBezTo>
                  <a:pt x="1481" y="1241"/>
                  <a:pt x="1482" y="1242"/>
                  <a:pt x="1482" y="1242"/>
                </a:cubicBezTo>
                <a:cubicBezTo>
                  <a:pt x="1482" y="1242"/>
                  <a:pt x="1482" y="1241"/>
                  <a:pt x="1482" y="1241"/>
                </a:cubicBezTo>
                <a:cubicBezTo>
                  <a:pt x="1482" y="1240"/>
                  <a:pt x="1482" y="1239"/>
                  <a:pt x="1484" y="1240"/>
                </a:cubicBezTo>
                <a:cubicBezTo>
                  <a:pt x="1485" y="1240"/>
                  <a:pt x="1485" y="1242"/>
                  <a:pt x="1486" y="1243"/>
                </a:cubicBezTo>
                <a:cubicBezTo>
                  <a:pt x="1486" y="1243"/>
                  <a:pt x="1487" y="1242"/>
                  <a:pt x="1487" y="1243"/>
                </a:cubicBezTo>
                <a:cubicBezTo>
                  <a:pt x="1489" y="1243"/>
                  <a:pt x="1491" y="1245"/>
                  <a:pt x="1492" y="1246"/>
                </a:cubicBezTo>
                <a:cubicBezTo>
                  <a:pt x="1498" y="1248"/>
                  <a:pt x="1497" y="1246"/>
                  <a:pt x="1498" y="1245"/>
                </a:cubicBezTo>
                <a:cubicBezTo>
                  <a:pt x="1499" y="1244"/>
                  <a:pt x="1504" y="1243"/>
                  <a:pt x="1505" y="1243"/>
                </a:cubicBezTo>
                <a:cubicBezTo>
                  <a:pt x="1505" y="1243"/>
                  <a:pt x="1506" y="1243"/>
                  <a:pt x="1506" y="1243"/>
                </a:cubicBezTo>
                <a:cubicBezTo>
                  <a:pt x="1507" y="1243"/>
                  <a:pt x="1508" y="1243"/>
                  <a:pt x="1509" y="1243"/>
                </a:cubicBezTo>
                <a:cubicBezTo>
                  <a:pt x="1510" y="1243"/>
                  <a:pt x="1512" y="1243"/>
                  <a:pt x="1513" y="1242"/>
                </a:cubicBezTo>
                <a:cubicBezTo>
                  <a:pt x="1513" y="1242"/>
                  <a:pt x="1514" y="1241"/>
                  <a:pt x="1515" y="1241"/>
                </a:cubicBezTo>
                <a:cubicBezTo>
                  <a:pt x="1515" y="1240"/>
                  <a:pt x="1516" y="1240"/>
                  <a:pt x="1517" y="1240"/>
                </a:cubicBezTo>
                <a:cubicBezTo>
                  <a:pt x="1517" y="1240"/>
                  <a:pt x="1518" y="1239"/>
                  <a:pt x="1518" y="1239"/>
                </a:cubicBezTo>
                <a:cubicBezTo>
                  <a:pt x="1520" y="1239"/>
                  <a:pt x="1521" y="1240"/>
                  <a:pt x="1523" y="1240"/>
                </a:cubicBezTo>
                <a:cubicBezTo>
                  <a:pt x="1529" y="1241"/>
                  <a:pt x="1528" y="1239"/>
                  <a:pt x="1529" y="1239"/>
                </a:cubicBezTo>
                <a:cubicBezTo>
                  <a:pt x="1532" y="1238"/>
                  <a:pt x="1537" y="1241"/>
                  <a:pt x="1541" y="1241"/>
                </a:cubicBezTo>
                <a:cubicBezTo>
                  <a:pt x="1541" y="1241"/>
                  <a:pt x="1541" y="1240"/>
                  <a:pt x="1542" y="1239"/>
                </a:cubicBezTo>
                <a:cubicBezTo>
                  <a:pt x="1543" y="1239"/>
                  <a:pt x="1546" y="1239"/>
                  <a:pt x="1547" y="1238"/>
                </a:cubicBezTo>
                <a:cubicBezTo>
                  <a:pt x="1548" y="1238"/>
                  <a:pt x="1550" y="1236"/>
                  <a:pt x="1551" y="1236"/>
                </a:cubicBezTo>
                <a:cubicBezTo>
                  <a:pt x="1552" y="1236"/>
                  <a:pt x="1556" y="1236"/>
                  <a:pt x="1557" y="1236"/>
                </a:cubicBezTo>
                <a:cubicBezTo>
                  <a:pt x="1558" y="1235"/>
                  <a:pt x="1558" y="1234"/>
                  <a:pt x="1559" y="1234"/>
                </a:cubicBezTo>
                <a:cubicBezTo>
                  <a:pt x="1561" y="1233"/>
                  <a:pt x="1562" y="1234"/>
                  <a:pt x="1564" y="1233"/>
                </a:cubicBezTo>
                <a:cubicBezTo>
                  <a:pt x="1566" y="1232"/>
                  <a:pt x="1568" y="1229"/>
                  <a:pt x="1570" y="1227"/>
                </a:cubicBezTo>
                <a:cubicBezTo>
                  <a:pt x="1572" y="1225"/>
                  <a:pt x="1575" y="1225"/>
                  <a:pt x="1577" y="1223"/>
                </a:cubicBezTo>
                <a:cubicBezTo>
                  <a:pt x="1579" y="1221"/>
                  <a:pt x="1582" y="1217"/>
                  <a:pt x="1584" y="1215"/>
                </a:cubicBezTo>
                <a:cubicBezTo>
                  <a:pt x="1585" y="1214"/>
                  <a:pt x="1587" y="1213"/>
                  <a:pt x="1588" y="1212"/>
                </a:cubicBezTo>
                <a:cubicBezTo>
                  <a:pt x="1588" y="1212"/>
                  <a:pt x="1593" y="1206"/>
                  <a:pt x="1593" y="1206"/>
                </a:cubicBezTo>
                <a:cubicBezTo>
                  <a:pt x="1595" y="1205"/>
                  <a:pt x="1601" y="1191"/>
                  <a:pt x="1602" y="1190"/>
                </a:cubicBezTo>
                <a:cubicBezTo>
                  <a:pt x="1604" y="1189"/>
                  <a:pt x="1604" y="1187"/>
                  <a:pt x="1605" y="1187"/>
                </a:cubicBezTo>
                <a:cubicBezTo>
                  <a:pt x="1605" y="1185"/>
                  <a:pt x="1610" y="1183"/>
                  <a:pt x="1611" y="1183"/>
                </a:cubicBezTo>
                <a:cubicBezTo>
                  <a:pt x="1611" y="1183"/>
                  <a:pt x="1614" y="1181"/>
                  <a:pt x="1614" y="1180"/>
                </a:cubicBezTo>
                <a:cubicBezTo>
                  <a:pt x="1615" y="1179"/>
                  <a:pt x="1617" y="1176"/>
                  <a:pt x="1617" y="1174"/>
                </a:cubicBezTo>
                <a:cubicBezTo>
                  <a:pt x="1617" y="1173"/>
                  <a:pt x="1618" y="1170"/>
                  <a:pt x="1618" y="1169"/>
                </a:cubicBezTo>
                <a:cubicBezTo>
                  <a:pt x="1618" y="1168"/>
                  <a:pt x="1619" y="1166"/>
                  <a:pt x="1619" y="1165"/>
                </a:cubicBezTo>
                <a:cubicBezTo>
                  <a:pt x="1620" y="1162"/>
                  <a:pt x="1620" y="1165"/>
                  <a:pt x="1620" y="1160"/>
                </a:cubicBezTo>
                <a:cubicBezTo>
                  <a:pt x="1619" y="1160"/>
                  <a:pt x="1619" y="1160"/>
                  <a:pt x="1619" y="1160"/>
                </a:cubicBezTo>
                <a:cubicBezTo>
                  <a:pt x="1620" y="1160"/>
                  <a:pt x="1620" y="1158"/>
                  <a:pt x="1620" y="1157"/>
                </a:cubicBezTo>
                <a:cubicBezTo>
                  <a:pt x="1621" y="1153"/>
                  <a:pt x="1621" y="1157"/>
                  <a:pt x="1621" y="1152"/>
                </a:cubicBezTo>
                <a:cubicBezTo>
                  <a:pt x="1620" y="1152"/>
                  <a:pt x="1620" y="1152"/>
                  <a:pt x="1620" y="1152"/>
                </a:cubicBezTo>
                <a:cubicBezTo>
                  <a:pt x="1620" y="1148"/>
                  <a:pt x="1620" y="1148"/>
                  <a:pt x="1621" y="1144"/>
                </a:cubicBezTo>
                <a:cubicBezTo>
                  <a:pt x="1623" y="1143"/>
                  <a:pt x="1632" y="1139"/>
                  <a:pt x="1633" y="1139"/>
                </a:cubicBezTo>
                <a:cubicBezTo>
                  <a:pt x="1634" y="1138"/>
                  <a:pt x="1641" y="1136"/>
                  <a:pt x="1643" y="1136"/>
                </a:cubicBezTo>
                <a:cubicBezTo>
                  <a:pt x="1643" y="1136"/>
                  <a:pt x="1644" y="1133"/>
                  <a:pt x="1645" y="1132"/>
                </a:cubicBezTo>
                <a:cubicBezTo>
                  <a:pt x="1646" y="1129"/>
                  <a:pt x="1648" y="1130"/>
                  <a:pt x="1647" y="1127"/>
                </a:cubicBezTo>
                <a:cubicBezTo>
                  <a:pt x="1645" y="1126"/>
                  <a:pt x="1644" y="1126"/>
                  <a:pt x="1647" y="1121"/>
                </a:cubicBezTo>
                <a:cubicBezTo>
                  <a:pt x="1648" y="1120"/>
                  <a:pt x="1647" y="1115"/>
                  <a:pt x="1647" y="1113"/>
                </a:cubicBezTo>
                <a:cubicBezTo>
                  <a:pt x="1647" y="1113"/>
                  <a:pt x="1648" y="1112"/>
                  <a:pt x="1648" y="1111"/>
                </a:cubicBezTo>
                <a:cubicBezTo>
                  <a:pt x="1648" y="1111"/>
                  <a:pt x="1648" y="1107"/>
                  <a:pt x="1647" y="1108"/>
                </a:cubicBezTo>
                <a:cubicBezTo>
                  <a:pt x="1646" y="1109"/>
                  <a:pt x="1646" y="1110"/>
                  <a:pt x="1645" y="1110"/>
                </a:cubicBezTo>
                <a:cubicBezTo>
                  <a:pt x="1644" y="1110"/>
                  <a:pt x="1646" y="1109"/>
                  <a:pt x="1646" y="1108"/>
                </a:cubicBezTo>
                <a:cubicBezTo>
                  <a:pt x="1646" y="1108"/>
                  <a:pt x="1645" y="1105"/>
                  <a:pt x="1645" y="1104"/>
                </a:cubicBezTo>
                <a:cubicBezTo>
                  <a:pt x="1645" y="1103"/>
                  <a:pt x="1645" y="1102"/>
                  <a:pt x="1645" y="1102"/>
                </a:cubicBezTo>
                <a:cubicBezTo>
                  <a:pt x="1645" y="1102"/>
                  <a:pt x="1644" y="1101"/>
                  <a:pt x="1644" y="1100"/>
                </a:cubicBezTo>
                <a:cubicBezTo>
                  <a:pt x="1643" y="1098"/>
                  <a:pt x="1644" y="1096"/>
                  <a:pt x="1643" y="1094"/>
                </a:cubicBezTo>
                <a:cubicBezTo>
                  <a:pt x="1643" y="1093"/>
                  <a:pt x="1641" y="1092"/>
                  <a:pt x="1641" y="1091"/>
                </a:cubicBezTo>
                <a:cubicBezTo>
                  <a:pt x="1641" y="1090"/>
                  <a:pt x="1641" y="1084"/>
                  <a:pt x="1641" y="1084"/>
                </a:cubicBezTo>
                <a:cubicBezTo>
                  <a:pt x="1641" y="1084"/>
                  <a:pt x="1644" y="1081"/>
                  <a:pt x="1645" y="1080"/>
                </a:cubicBezTo>
                <a:cubicBezTo>
                  <a:pt x="1647" y="1079"/>
                  <a:pt x="1647" y="1078"/>
                  <a:pt x="1649" y="1077"/>
                </a:cubicBezTo>
                <a:cubicBezTo>
                  <a:pt x="1651" y="1075"/>
                  <a:pt x="1649" y="1073"/>
                  <a:pt x="1653" y="1072"/>
                </a:cubicBezTo>
                <a:cubicBezTo>
                  <a:pt x="1653" y="1072"/>
                  <a:pt x="1656" y="1071"/>
                  <a:pt x="1657" y="1070"/>
                </a:cubicBezTo>
                <a:cubicBezTo>
                  <a:pt x="1659" y="1070"/>
                  <a:pt x="1658" y="1069"/>
                  <a:pt x="1658" y="1068"/>
                </a:cubicBezTo>
                <a:cubicBezTo>
                  <a:pt x="1658" y="1067"/>
                  <a:pt x="1660" y="1067"/>
                  <a:pt x="1661" y="1067"/>
                </a:cubicBezTo>
                <a:cubicBezTo>
                  <a:pt x="1662" y="1066"/>
                  <a:pt x="1662" y="1065"/>
                  <a:pt x="1662" y="1064"/>
                </a:cubicBezTo>
                <a:cubicBezTo>
                  <a:pt x="1662" y="1064"/>
                  <a:pt x="1664" y="1061"/>
                  <a:pt x="1664" y="1061"/>
                </a:cubicBezTo>
                <a:cubicBezTo>
                  <a:pt x="1667" y="1058"/>
                  <a:pt x="1667" y="1058"/>
                  <a:pt x="1667" y="1058"/>
                </a:cubicBezTo>
                <a:cubicBezTo>
                  <a:pt x="1672" y="1054"/>
                  <a:pt x="1672" y="1054"/>
                  <a:pt x="1672" y="1054"/>
                </a:cubicBezTo>
                <a:cubicBezTo>
                  <a:pt x="1676" y="1052"/>
                  <a:pt x="1676" y="1052"/>
                  <a:pt x="1676" y="1052"/>
                </a:cubicBezTo>
                <a:cubicBezTo>
                  <a:pt x="1682" y="1051"/>
                  <a:pt x="1682" y="1051"/>
                  <a:pt x="1682" y="1051"/>
                </a:cubicBezTo>
                <a:cubicBezTo>
                  <a:pt x="1686" y="1047"/>
                  <a:pt x="1686" y="1047"/>
                  <a:pt x="1686" y="1047"/>
                </a:cubicBezTo>
                <a:cubicBezTo>
                  <a:pt x="1688" y="1045"/>
                  <a:pt x="1685" y="1046"/>
                  <a:pt x="1691" y="1044"/>
                </a:cubicBezTo>
                <a:cubicBezTo>
                  <a:pt x="1691" y="1043"/>
                  <a:pt x="1691" y="1043"/>
                  <a:pt x="1691" y="1043"/>
                </a:cubicBezTo>
                <a:cubicBezTo>
                  <a:pt x="1691" y="1042"/>
                  <a:pt x="1695" y="1038"/>
                  <a:pt x="1696" y="1038"/>
                </a:cubicBezTo>
                <a:cubicBezTo>
                  <a:pt x="1699" y="1033"/>
                  <a:pt x="1699" y="1033"/>
                  <a:pt x="1699" y="1033"/>
                </a:cubicBezTo>
                <a:cubicBezTo>
                  <a:pt x="1700" y="1032"/>
                  <a:pt x="1699" y="1030"/>
                  <a:pt x="1699" y="1030"/>
                </a:cubicBezTo>
                <a:cubicBezTo>
                  <a:pt x="1700" y="1027"/>
                  <a:pt x="1700" y="1026"/>
                  <a:pt x="1701" y="1024"/>
                </a:cubicBezTo>
                <a:cubicBezTo>
                  <a:pt x="1700" y="1022"/>
                  <a:pt x="1700" y="1022"/>
                  <a:pt x="1700" y="1022"/>
                </a:cubicBezTo>
                <a:cubicBezTo>
                  <a:pt x="1698" y="1019"/>
                  <a:pt x="1699" y="1021"/>
                  <a:pt x="1699" y="1018"/>
                </a:cubicBezTo>
                <a:cubicBezTo>
                  <a:pt x="1699" y="1014"/>
                  <a:pt x="1699" y="1014"/>
                  <a:pt x="1699" y="1014"/>
                </a:cubicBezTo>
                <a:cubicBezTo>
                  <a:pt x="1699" y="1010"/>
                  <a:pt x="1699" y="1010"/>
                  <a:pt x="1699" y="1010"/>
                </a:cubicBezTo>
                <a:cubicBezTo>
                  <a:pt x="1699" y="1007"/>
                  <a:pt x="1697" y="1008"/>
                  <a:pt x="1700" y="1003"/>
                </a:cubicBezTo>
                <a:cubicBezTo>
                  <a:pt x="1698" y="996"/>
                  <a:pt x="1698" y="996"/>
                  <a:pt x="1698" y="996"/>
                </a:cubicBezTo>
                <a:cubicBezTo>
                  <a:pt x="1698" y="993"/>
                  <a:pt x="1698" y="993"/>
                  <a:pt x="1698" y="993"/>
                </a:cubicBezTo>
                <a:cubicBezTo>
                  <a:pt x="1698" y="989"/>
                  <a:pt x="1698" y="989"/>
                  <a:pt x="1698" y="989"/>
                </a:cubicBezTo>
                <a:cubicBezTo>
                  <a:pt x="1700" y="986"/>
                  <a:pt x="1700" y="986"/>
                  <a:pt x="1700" y="986"/>
                </a:cubicBezTo>
                <a:cubicBezTo>
                  <a:pt x="1700" y="983"/>
                  <a:pt x="1700" y="983"/>
                  <a:pt x="1700" y="983"/>
                </a:cubicBezTo>
                <a:cubicBezTo>
                  <a:pt x="1700" y="981"/>
                  <a:pt x="1700" y="980"/>
                  <a:pt x="1699" y="979"/>
                </a:cubicBezTo>
                <a:cubicBezTo>
                  <a:pt x="1699" y="979"/>
                  <a:pt x="1699" y="979"/>
                  <a:pt x="1699" y="979"/>
                </a:cubicBezTo>
                <a:cubicBezTo>
                  <a:pt x="1700" y="979"/>
                  <a:pt x="1700" y="977"/>
                  <a:pt x="1700" y="977"/>
                </a:cubicBezTo>
                <a:cubicBezTo>
                  <a:pt x="1700" y="977"/>
                  <a:pt x="1697" y="975"/>
                  <a:pt x="1696" y="975"/>
                </a:cubicBezTo>
                <a:cubicBezTo>
                  <a:pt x="1695" y="975"/>
                  <a:pt x="1693" y="973"/>
                  <a:pt x="1693" y="973"/>
                </a:cubicBezTo>
                <a:cubicBezTo>
                  <a:pt x="1693" y="973"/>
                  <a:pt x="1692" y="972"/>
                  <a:pt x="1692" y="972"/>
                </a:cubicBezTo>
                <a:cubicBezTo>
                  <a:pt x="1691" y="971"/>
                  <a:pt x="1692" y="967"/>
                  <a:pt x="1691" y="964"/>
                </a:cubicBezTo>
                <a:cubicBezTo>
                  <a:pt x="1691" y="962"/>
                  <a:pt x="1689" y="959"/>
                  <a:pt x="1688" y="956"/>
                </a:cubicBezTo>
                <a:cubicBezTo>
                  <a:pt x="1688" y="955"/>
                  <a:pt x="1690" y="950"/>
                  <a:pt x="1689" y="950"/>
                </a:cubicBezTo>
                <a:cubicBezTo>
                  <a:pt x="1689" y="949"/>
                  <a:pt x="1689" y="948"/>
                  <a:pt x="1689" y="946"/>
                </a:cubicBezTo>
                <a:cubicBezTo>
                  <a:pt x="1688" y="942"/>
                  <a:pt x="1694" y="944"/>
                  <a:pt x="1689" y="937"/>
                </a:cubicBezTo>
                <a:cubicBezTo>
                  <a:pt x="1688" y="937"/>
                  <a:pt x="1685" y="935"/>
                  <a:pt x="1685" y="935"/>
                </a:cubicBezTo>
                <a:cubicBezTo>
                  <a:pt x="1685" y="935"/>
                  <a:pt x="1684" y="932"/>
                  <a:pt x="1684" y="932"/>
                </a:cubicBezTo>
                <a:cubicBezTo>
                  <a:pt x="1684" y="931"/>
                  <a:pt x="1684" y="928"/>
                  <a:pt x="1684" y="928"/>
                </a:cubicBezTo>
                <a:cubicBezTo>
                  <a:pt x="1687" y="918"/>
                  <a:pt x="1687" y="918"/>
                  <a:pt x="1687" y="918"/>
                </a:cubicBezTo>
                <a:cubicBezTo>
                  <a:pt x="1688" y="913"/>
                  <a:pt x="1688" y="913"/>
                  <a:pt x="1688" y="913"/>
                </a:cubicBezTo>
                <a:cubicBezTo>
                  <a:pt x="1688" y="913"/>
                  <a:pt x="1688" y="913"/>
                  <a:pt x="1688" y="913"/>
                </a:cubicBezTo>
                <a:cubicBezTo>
                  <a:pt x="1689" y="913"/>
                  <a:pt x="1690" y="914"/>
                  <a:pt x="1690" y="913"/>
                </a:cubicBezTo>
                <a:cubicBezTo>
                  <a:pt x="1690" y="913"/>
                  <a:pt x="1691" y="907"/>
                  <a:pt x="1693" y="906"/>
                </a:cubicBezTo>
                <a:cubicBezTo>
                  <a:pt x="1693" y="906"/>
                  <a:pt x="1694" y="902"/>
                  <a:pt x="1694" y="902"/>
                </a:cubicBezTo>
                <a:cubicBezTo>
                  <a:pt x="1696" y="900"/>
                  <a:pt x="1696" y="900"/>
                  <a:pt x="1696" y="900"/>
                </a:cubicBezTo>
                <a:cubicBezTo>
                  <a:pt x="1695" y="898"/>
                  <a:pt x="1698" y="900"/>
                  <a:pt x="1698" y="897"/>
                </a:cubicBezTo>
                <a:cubicBezTo>
                  <a:pt x="1698" y="895"/>
                  <a:pt x="1697" y="894"/>
                  <a:pt x="1697" y="894"/>
                </a:cubicBezTo>
                <a:cubicBezTo>
                  <a:pt x="1697" y="894"/>
                  <a:pt x="1699" y="891"/>
                  <a:pt x="1700" y="891"/>
                </a:cubicBezTo>
                <a:cubicBezTo>
                  <a:pt x="1700" y="891"/>
                  <a:pt x="1703" y="891"/>
                  <a:pt x="1703" y="891"/>
                </a:cubicBezTo>
                <a:cubicBezTo>
                  <a:pt x="1706" y="886"/>
                  <a:pt x="1703" y="889"/>
                  <a:pt x="1708" y="885"/>
                </a:cubicBezTo>
                <a:cubicBezTo>
                  <a:pt x="1712" y="881"/>
                  <a:pt x="1712" y="881"/>
                  <a:pt x="1712" y="881"/>
                </a:cubicBezTo>
                <a:cubicBezTo>
                  <a:pt x="1712" y="880"/>
                  <a:pt x="1712" y="880"/>
                  <a:pt x="1712" y="880"/>
                </a:cubicBezTo>
                <a:cubicBezTo>
                  <a:pt x="1712" y="880"/>
                  <a:pt x="1712" y="880"/>
                  <a:pt x="1712" y="880"/>
                </a:cubicBezTo>
                <a:cubicBezTo>
                  <a:pt x="1722" y="865"/>
                  <a:pt x="1722" y="865"/>
                  <a:pt x="1722" y="865"/>
                </a:cubicBezTo>
                <a:cubicBezTo>
                  <a:pt x="1741" y="844"/>
                  <a:pt x="1741" y="844"/>
                  <a:pt x="1741" y="844"/>
                </a:cubicBezTo>
                <a:cubicBezTo>
                  <a:pt x="1754" y="836"/>
                  <a:pt x="1754" y="836"/>
                  <a:pt x="1754" y="836"/>
                </a:cubicBezTo>
                <a:cubicBezTo>
                  <a:pt x="1771" y="816"/>
                  <a:pt x="1771" y="816"/>
                  <a:pt x="1771" y="816"/>
                </a:cubicBezTo>
                <a:cubicBezTo>
                  <a:pt x="1779" y="802"/>
                  <a:pt x="1779" y="802"/>
                  <a:pt x="1779" y="802"/>
                </a:cubicBezTo>
                <a:cubicBezTo>
                  <a:pt x="1784" y="794"/>
                  <a:pt x="1784" y="794"/>
                  <a:pt x="1784" y="794"/>
                </a:cubicBezTo>
                <a:cubicBezTo>
                  <a:pt x="1785" y="789"/>
                  <a:pt x="1785" y="789"/>
                  <a:pt x="1785" y="789"/>
                </a:cubicBezTo>
                <a:cubicBezTo>
                  <a:pt x="1787" y="784"/>
                  <a:pt x="1787" y="784"/>
                  <a:pt x="1787" y="784"/>
                </a:cubicBezTo>
                <a:cubicBezTo>
                  <a:pt x="1787" y="784"/>
                  <a:pt x="1790" y="779"/>
                  <a:pt x="1790" y="778"/>
                </a:cubicBezTo>
                <a:cubicBezTo>
                  <a:pt x="1790" y="778"/>
                  <a:pt x="1790" y="774"/>
                  <a:pt x="1791" y="774"/>
                </a:cubicBezTo>
                <a:cubicBezTo>
                  <a:pt x="1794" y="773"/>
                  <a:pt x="1796" y="766"/>
                  <a:pt x="1796" y="763"/>
                </a:cubicBezTo>
                <a:cubicBezTo>
                  <a:pt x="1796" y="762"/>
                  <a:pt x="1800" y="760"/>
                  <a:pt x="1800" y="759"/>
                </a:cubicBezTo>
                <a:cubicBezTo>
                  <a:pt x="1800" y="753"/>
                  <a:pt x="1799" y="756"/>
                  <a:pt x="1800" y="751"/>
                </a:cubicBezTo>
                <a:cubicBezTo>
                  <a:pt x="1801" y="750"/>
                  <a:pt x="1802" y="748"/>
                  <a:pt x="1802" y="748"/>
                </a:cubicBezTo>
                <a:cubicBezTo>
                  <a:pt x="1803" y="747"/>
                  <a:pt x="1803" y="740"/>
                  <a:pt x="1802" y="740"/>
                </a:cubicBezTo>
                <a:cubicBezTo>
                  <a:pt x="1802" y="740"/>
                  <a:pt x="1801" y="738"/>
                  <a:pt x="1801" y="738"/>
                </a:cubicBezTo>
                <a:cubicBezTo>
                  <a:pt x="1801" y="735"/>
                  <a:pt x="1804" y="733"/>
                  <a:pt x="1803" y="732"/>
                </a:cubicBezTo>
                <a:cubicBezTo>
                  <a:pt x="1802" y="731"/>
                  <a:pt x="1798" y="730"/>
                  <a:pt x="1798" y="730"/>
                </a:cubicBezTo>
                <a:cubicBezTo>
                  <a:pt x="1798" y="730"/>
                  <a:pt x="1795" y="732"/>
                  <a:pt x="1795" y="732"/>
                </a:cubicBezTo>
                <a:cubicBezTo>
                  <a:pt x="1795" y="732"/>
                  <a:pt x="1795" y="734"/>
                  <a:pt x="1794" y="734"/>
                </a:cubicBezTo>
                <a:cubicBezTo>
                  <a:pt x="1793" y="734"/>
                  <a:pt x="1791" y="735"/>
                  <a:pt x="1791" y="735"/>
                </a:cubicBezTo>
                <a:cubicBezTo>
                  <a:pt x="1790" y="735"/>
                  <a:pt x="1785" y="736"/>
                  <a:pt x="1785" y="736"/>
                </a:cubicBezTo>
                <a:cubicBezTo>
                  <a:pt x="1784" y="737"/>
                  <a:pt x="1783" y="739"/>
                  <a:pt x="1781" y="739"/>
                </a:cubicBezTo>
                <a:cubicBezTo>
                  <a:pt x="1779" y="739"/>
                  <a:pt x="1778" y="737"/>
                  <a:pt x="1776" y="737"/>
                </a:cubicBezTo>
                <a:cubicBezTo>
                  <a:pt x="1775" y="737"/>
                  <a:pt x="1775" y="739"/>
                  <a:pt x="1774" y="739"/>
                </a:cubicBezTo>
                <a:cubicBezTo>
                  <a:pt x="1772" y="740"/>
                  <a:pt x="1767" y="739"/>
                  <a:pt x="1766" y="740"/>
                </a:cubicBezTo>
                <a:cubicBezTo>
                  <a:pt x="1764" y="740"/>
                  <a:pt x="1762" y="741"/>
                  <a:pt x="1760" y="742"/>
                </a:cubicBezTo>
                <a:cubicBezTo>
                  <a:pt x="1759" y="743"/>
                  <a:pt x="1759" y="744"/>
                  <a:pt x="1758" y="745"/>
                </a:cubicBezTo>
                <a:cubicBezTo>
                  <a:pt x="1758" y="745"/>
                  <a:pt x="1756" y="744"/>
                  <a:pt x="1756" y="744"/>
                </a:cubicBezTo>
                <a:cubicBezTo>
                  <a:pt x="1755" y="744"/>
                  <a:pt x="1753" y="743"/>
                  <a:pt x="1752" y="743"/>
                </a:cubicBezTo>
                <a:cubicBezTo>
                  <a:pt x="1752" y="743"/>
                  <a:pt x="1749" y="743"/>
                  <a:pt x="1749" y="743"/>
                </a:cubicBezTo>
                <a:cubicBezTo>
                  <a:pt x="1745" y="745"/>
                  <a:pt x="1745" y="745"/>
                  <a:pt x="1745" y="745"/>
                </a:cubicBezTo>
                <a:cubicBezTo>
                  <a:pt x="1742" y="747"/>
                  <a:pt x="1742" y="747"/>
                  <a:pt x="1742" y="747"/>
                </a:cubicBezTo>
                <a:cubicBezTo>
                  <a:pt x="1736" y="748"/>
                  <a:pt x="1736" y="748"/>
                  <a:pt x="1736" y="748"/>
                </a:cubicBezTo>
                <a:cubicBezTo>
                  <a:pt x="1731" y="744"/>
                  <a:pt x="1733" y="745"/>
                  <a:pt x="1730" y="741"/>
                </a:cubicBezTo>
                <a:cubicBezTo>
                  <a:pt x="1727" y="738"/>
                  <a:pt x="1727" y="739"/>
                  <a:pt x="1726" y="737"/>
                </a:cubicBezTo>
                <a:cubicBezTo>
                  <a:pt x="1725" y="736"/>
                  <a:pt x="1725" y="736"/>
                  <a:pt x="1725" y="736"/>
                </a:cubicBezTo>
                <a:cubicBezTo>
                  <a:pt x="1724" y="737"/>
                  <a:pt x="1724" y="737"/>
                  <a:pt x="1724" y="738"/>
                </a:cubicBezTo>
                <a:cubicBezTo>
                  <a:pt x="1724" y="738"/>
                  <a:pt x="1724" y="738"/>
                  <a:pt x="1724" y="738"/>
                </a:cubicBezTo>
                <a:cubicBezTo>
                  <a:pt x="1724" y="737"/>
                  <a:pt x="1725" y="735"/>
                  <a:pt x="1725" y="735"/>
                </a:cubicBezTo>
                <a:cubicBezTo>
                  <a:pt x="1724" y="735"/>
                  <a:pt x="1721" y="735"/>
                  <a:pt x="1721" y="735"/>
                </a:cubicBezTo>
                <a:cubicBezTo>
                  <a:pt x="1721" y="735"/>
                  <a:pt x="1717" y="736"/>
                  <a:pt x="1717" y="735"/>
                </a:cubicBezTo>
                <a:cubicBezTo>
                  <a:pt x="1717" y="735"/>
                  <a:pt x="1720" y="732"/>
                  <a:pt x="1722" y="732"/>
                </a:cubicBezTo>
                <a:cubicBezTo>
                  <a:pt x="1724" y="731"/>
                  <a:pt x="1728" y="731"/>
                  <a:pt x="1727" y="728"/>
                </a:cubicBezTo>
                <a:cubicBezTo>
                  <a:pt x="1726" y="722"/>
                  <a:pt x="1725" y="723"/>
                  <a:pt x="1722" y="721"/>
                </a:cubicBezTo>
                <a:cubicBezTo>
                  <a:pt x="1722" y="722"/>
                  <a:pt x="1722" y="722"/>
                  <a:pt x="1721" y="722"/>
                </a:cubicBezTo>
                <a:cubicBezTo>
                  <a:pt x="1722" y="722"/>
                  <a:pt x="1722" y="721"/>
                  <a:pt x="1723" y="721"/>
                </a:cubicBezTo>
                <a:cubicBezTo>
                  <a:pt x="1721" y="720"/>
                  <a:pt x="1722" y="720"/>
                  <a:pt x="1720" y="719"/>
                </a:cubicBezTo>
                <a:cubicBezTo>
                  <a:pt x="1720" y="719"/>
                  <a:pt x="1719" y="716"/>
                  <a:pt x="1718" y="716"/>
                </a:cubicBezTo>
                <a:cubicBezTo>
                  <a:pt x="1715" y="716"/>
                  <a:pt x="1716" y="718"/>
                  <a:pt x="1715" y="712"/>
                </a:cubicBezTo>
                <a:cubicBezTo>
                  <a:pt x="1713" y="712"/>
                  <a:pt x="1712" y="711"/>
                  <a:pt x="1711" y="709"/>
                </a:cubicBezTo>
                <a:cubicBezTo>
                  <a:pt x="1710" y="709"/>
                  <a:pt x="1709" y="709"/>
                  <a:pt x="1709" y="708"/>
                </a:cubicBezTo>
                <a:cubicBezTo>
                  <a:pt x="1709" y="708"/>
                  <a:pt x="1707" y="707"/>
                  <a:pt x="1707" y="706"/>
                </a:cubicBezTo>
                <a:cubicBezTo>
                  <a:pt x="1707" y="706"/>
                  <a:pt x="1706" y="703"/>
                  <a:pt x="1705" y="702"/>
                </a:cubicBezTo>
                <a:cubicBezTo>
                  <a:pt x="1703" y="700"/>
                  <a:pt x="1704" y="701"/>
                  <a:pt x="1701" y="700"/>
                </a:cubicBezTo>
                <a:cubicBezTo>
                  <a:pt x="1699" y="700"/>
                  <a:pt x="1699" y="698"/>
                  <a:pt x="1698" y="697"/>
                </a:cubicBezTo>
                <a:cubicBezTo>
                  <a:pt x="1698" y="697"/>
                  <a:pt x="1693" y="697"/>
                  <a:pt x="1693" y="697"/>
                </a:cubicBezTo>
                <a:cubicBezTo>
                  <a:pt x="1693" y="694"/>
                  <a:pt x="1692" y="695"/>
                  <a:pt x="1692" y="694"/>
                </a:cubicBezTo>
                <a:cubicBezTo>
                  <a:pt x="1692" y="691"/>
                  <a:pt x="1692" y="691"/>
                  <a:pt x="1692" y="691"/>
                </a:cubicBezTo>
                <a:cubicBezTo>
                  <a:pt x="1692" y="691"/>
                  <a:pt x="1690" y="690"/>
                  <a:pt x="1690" y="691"/>
                </a:cubicBezTo>
                <a:cubicBezTo>
                  <a:pt x="1690" y="691"/>
                  <a:pt x="1690" y="692"/>
                  <a:pt x="1689" y="692"/>
                </a:cubicBezTo>
                <a:cubicBezTo>
                  <a:pt x="1689" y="693"/>
                  <a:pt x="1689" y="693"/>
                  <a:pt x="1690" y="694"/>
                </a:cubicBezTo>
                <a:cubicBezTo>
                  <a:pt x="1690" y="694"/>
                  <a:pt x="1689" y="695"/>
                  <a:pt x="1689" y="694"/>
                </a:cubicBezTo>
                <a:cubicBezTo>
                  <a:pt x="1688" y="694"/>
                  <a:pt x="1689" y="691"/>
                  <a:pt x="1688" y="690"/>
                </a:cubicBezTo>
                <a:cubicBezTo>
                  <a:pt x="1686" y="688"/>
                  <a:pt x="1686" y="688"/>
                  <a:pt x="1686" y="688"/>
                </a:cubicBezTo>
                <a:cubicBezTo>
                  <a:pt x="1683" y="684"/>
                  <a:pt x="1683" y="684"/>
                  <a:pt x="1683" y="684"/>
                </a:cubicBezTo>
                <a:cubicBezTo>
                  <a:pt x="1683" y="684"/>
                  <a:pt x="1683" y="679"/>
                  <a:pt x="1683" y="679"/>
                </a:cubicBezTo>
                <a:cubicBezTo>
                  <a:pt x="1683" y="678"/>
                  <a:pt x="1682" y="671"/>
                  <a:pt x="1681" y="670"/>
                </a:cubicBezTo>
                <a:cubicBezTo>
                  <a:pt x="1681" y="670"/>
                  <a:pt x="1680" y="666"/>
                  <a:pt x="1679" y="665"/>
                </a:cubicBezTo>
                <a:cubicBezTo>
                  <a:pt x="1679" y="665"/>
                  <a:pt x="1678" y="664"/>
                  <a:pt x="1677" y="663"/>
                </a:cubicBezTo>
                <a:cubicBezTo>
                  <a:pt x="1675" y="666"/>
                  <a:pt x="1675" y="666"/>
                  <a:pt x="1675" y="666"/>
                </a:cubicBezTo>
                <a:cubicBezTo>
                  <a:pt x="1677" y="663"/>
                  <a:pt x="1677" y="663"/>
                  <a:pt x="1677" y="663"/>
                </a:cubicBezTo>
                <a:cubicBezTo>
                  <a:pt x="1675" y="660"/>
                  <a:pt x="1676" y="661"/>
                  <a:pt x="1673" y="660"/>
                </a:cubicBezTo>
                <a:cubicBezTo>
                  <a:pt x="1672" y="658"/>
                  <a:pt x="1672" y="658"/>
                  <a:pt x="1670" y="657"/>
                </a:cubicBezTo>
                <a:cubicBezTo>
                  <a:pt x="1669" y="656"/>
                  <a:pt x="1668" y="656"/>
                  <a:pt x="1667" y="656"/>
                </a:cubicBezTo>
                <a:cubicBezTo>
                  <a:pt x="1666" y="656"/>
                  <a:pt x="1665" y="653"/>
                  <a:pt x="1665" y="652"/>
                </a:cubicBezTo>
                <a:cubicBezTo>
                  <a:pt x="1663" y="648"/>
                  <a:pt x="1664" y="649"/>
                  <a:pt x="1664" y="645"/>
                </a:cubicBezTo>
                <a:cubicBezTo>
                  <a:pt x="1664" y="641"/>
                  <a:pt x="1661" y="633"/>
                  <a:pt x="1662" y="630"/>
                </a:cubicBezTo>
                <a:cubicBezTo>
                  <a:pt x="1662" y="629"/>
                  <a:pt x="1663" y="629"/>
                  <a:pt x="1663" y="629"/>
                </a:cubicBezTo>
                <a:cubicBezTo>
                  <a:pt x="1662" y="628"/>
                  <a:pt x="1659" y="624"/>
                  <a:pt x="1659" y="623"/>
                </a:cubicBezTo>
                <a:cubicBezTo>
                  <a:pt x="1658" y="617"/>
                  <a:pt x="1658" y="617"/>
                  <a:pt x="1658" y="617"/>
                </a:cubicBezTo>
                <a:cubicBezTo>
                  <a:pt x="1654" y="615"/>
                  <a:pt x="1654" y="615"/>
                  <a:pt x="1654" y="615"/>
                </a:cubicBezTo>
                <a:cubicBezTo>
                  <a:pt x="1652" y="612"/>
                  <a:pt x="1652" y="612"/>
                  <a:pt x="1652" y="612"/>
                </a:cubicBezTo>
                <a:cubicBezTo>
                  <a:pt x="1649" y="611"/>
                  <a:pt x="1649" y="611"/>
                  <a:pt x="1649" y="611"/>
                </a:cubicBezTo>
                <a:cubicBezTo>
                  <a:pt x="1645" y="607"/>
                  <a:pt x="1645" y="607"/>
                  <a:pt x="1645" y="607"/>
                </a:cubicBezTo>
                <a:cubicBezTo>
                  <a:pt x="1645" y="608"/>
                  <a:pt x="1645" y="608"/>
                  <a:pt x="1645" y="608"/>
                </a:cubicBezTo>
                <a:cubicBezTo>
                  <a:pt x="1645" y="607"/>
                  <a:pt x="1646" y="607"/>
                  <a:pt x="1646" y="607"/>
                </a:cubicBezTo>
                <a:cubicBezTo>
                  <a:pt x="1645" y="598"/>
                  <a:pt x="1645" y="598"/>
                  <a:pt x="1645" y="598"/>
                </a:cubicBezTo>
                <a:cubicBezTo>
                  <a:pt x="1644" y="597"/>
                  <a:pt x="1644" y="598"/>
                  <a:pt x="1647" y="597"/>
                </a:cubicBezTo>
                <a:cubicBezTo>
                  <a:pt x="1647" y="597"/>
                  <a:pt x="1641" y="593"/>
                  <a:pt x="1641" y="593"/>
                </a:cubicBezTo>
                <a:cubicBezTo>
                  <a:pt x="1641" y="592"/>
                  <a:pt x="1640" y="587"/>
                  <a:pt x="1640" y="587"/>
                </a:cubicBezTo>
                <a:cubicBezTo>
                  <a:pt x="1640" y="587"/>
                  <a:pt x="1638" y="586"/>
                  <a:pt x="1637" y="584"/>
                </a:cubicBezTo>
                <a:cubicBezTo>
                  <a:pt x="1636" y="583"/>
                  <a:pt x="1634" y="578"/>
                  <a:pt x="1634" y="578"/>
                </a:cubicBezTo>
                <a:cubicBezTo>
                  <a:pt x="1633" y="577"/>
                  <a:pt x="1632" y="575"/>
                  <a:pt x="1631" y="573"/>
                </a:cubicBezTo>
                <a:cubicBezTo>
                  <a:pt x="1631" y="572"/>
                  <a:pt x="1629" y="570"/>
                  <a:pt x="1628" y="569"/>
                </a:cubicBezTo>
                <a:cubicBezTo>
                  <a:pt x="1628" y="566"/>
                  <a:pt x="1628" y="562"/>
                  <a:pt x="1627" y="561"/>
                </a:cubicBezTo>
                <a:cubicBezTo>
                  <a:pt x="1625" y="558"/>
                  <a:pt x="1625" y="561"/>
                  <a:pt x="1624" y="554"/>
                </a:cubicBezTo>
                <a:cubicBezTo>
                  <a:pt x="1620" y="550"/>
                  <a:pt x="1620" y="550"/>
                  <a:pt x="1620" y="550"/>
                </a:cubicBezTo>
                <a:cubicBezTo>
                  <a:pt x="1617" y="545"/>
                  <a:pt x="1617" y="545"/>
                  <a:pt x="1617" y="545"/>
                </a:cubicBezTo>
                <a:cubicBezTo>
                  <a:pt x="1617" y="545"/>
                  <a:pt x="1616" y="542"/>
                  <a:pt x="1615" y="542"/>
                </a:cubicBezTo>
                <a:cubicBezTo>
                  <a:pt x="1614" y="542"/>
                  <a:pt x="1614" y="539"/>
                  <a:pt x="1614" y="539"/>
                </a:cubicBezTo>
                <a:cubicBezTo>
                  <a:pt x="1612" y="537"/>
                  <a:pt x="1612" y="537"/>
                  <a:pt x="1612" y="537"/>
                </a:cubicBezTo>
                <a:cubicBezTo>
                  <a:pt x="1611" y="535"/>
                  <a:pt x="1611" y="535"/>
                  <a:pt x="1611" y="535"/>
                </a:cubicBezTo>
                <a:cubicBezTo>
                  <a:pt x="1611" y="532"/>
                  <a:pt x="1611" y="532"/>
                  <a:pt x="1611" y="532"/>
                </a:cubicBezTo>
                <a:cubicBezTo>
                  <a:pt x="1613" y="530"/>
                  <a:pt x="1613" y="530"/>
                  <a:pt x="1613" y="530"/>
                </a:cubicBezTo>
                <a:cubicBezTo>
                  <a:pt x="1613" y="532"/>
                  <a:pt x="1615" y="536"/>
                  <a:pt x="1615" y="537"/>
                </a:cubicBezTo>
                <a:cubicBezTo>
                  <a:pt x="1617" y="538"/>
                  <a:pt x="1617" y="538"/>
                  <a:pt x="1617" y="538"/>
                </a:cubicBezTo>
                <a:cubicBezTo>
                  <a:pt x="1619" y="541"/>
                  <a:pt x="1619" y="541"/>
                  <a:pt x="1619" y="541"/>
                </a:cubicBezTo>
                <a:cubicBezTo>
                  <a:pt x="1620" y="546"/>
                  <a:pt x="1620" y="546"/>
                  <a:pt x="1620" y="546"/>
                </a:cubicBezTo>
                <a:cubicBezTo>
                  <a:pt x="1621" y="547"/>
                  <a:pt x="1624" y="550"/>
                  <a:pt x="1624" y="550"/>
                </a:cubicBezTo>
                <a:cubicBezTo>
                  <a:pt x="1626" y="553"/>
                  <a:pt x="1626" y="553"/>
                  <a:pt x="1626" y="553"/>
                </a:cubicBezTo>
                <a:cubicBezTo>
                  <a:pt x="1628" y="554"/>
                  <a:pt x="1628" y="554"/>
                  <a:pt x="1628" y="554"/>
                </a:cubicBezTo>
                <a:cubicBezTo>
                  <a:pt x="1629" y="555"/>
                  <a:pt x="1629" y="555"/>
                  <a:pt x="1629" y="555"/>
                </a:cubicBezTo>
                <a:cubicBezTo>
                  <a:pt x="1629" y="555"/>
                  <a:pt x="1630" y="555"/>
                  <a:pt x="1631" y="555"/>
                </a:cubicBezTo>
                <a:cubicBezTo>
                  <a:pt x="1632" y="554"/>
                  <a:pt x="1632" y="552"/>
                  <a:pt x="1632" y="550"/>
                </a:cubicBezTo>
                <a:cubicBezTo>
                  <a:pt x="1632" y="549"/>
                  <a:pt x="1632" y="548"/>
                  <a:pt x="1632" y="547"/>
                </a:cubicBezTo>
                <a:cubicBezTo>
                  <a:pt x="1634" y="543"/>
                  <a:pt x="1632" y="541"/>
                  <a:pt x="1634" y="537"/>
                </a:cubicBezTo>
                <a:cubicBezTo>
                  <a:pt x="1635" y="537"/>
                  <a:pt x="1635" y="536"/>
                  <a:pt x="1635" y="535"/>
                </a:cubicBezTo>
                <a:cubicBezTo>
                  <a:pt x="1636" y="536"/>
                  <a:pt x="1636" y="536"/>
                  <a:pt x="1636" y="536"/>
                </a:cubicBezTo>
                <a:cubicBezTo>
                  <a:pt x="1636" y="536"/>
                  <a:pt x="1636" y="536"/>
                  <a:pt x="1636" y="535"/>
                </a:cubicBezTo>
                <a:cubicBezTo>
                  <a:pt x="1636" y="537"/>
                  <a:pt x="1636" y="537"/>
                  <a:pt x="1636" y="537"/>
                </a:cubicBezTo>
                <a:cubicBezTo>
                  <a:pt x="1636" y="539"/>
                  <a:pt x="1636" y="539"/>
                  <a:pt x="1635" y="541"/>
                </a:cubicBezTo>
                <a:cubicBezTo>
                  <a:pt x="1635" y="548"/>
                  <a:pt x="1636" y="542"/>
                  <a:pt x="1634" y="548"/>
                </a:cubicBezTo>
                <a:cubicBezTo>
                  <a:pt x="1633" y="551"/>
                  <a:pt x="1633" y="551"/>
                  <a:pt x="1633" y="551"/>
                </a:cubicBezTo>
                <a:cubicBezTo>
                  <a:pt x="1636" y="551"/>
                  <a:pt x="1636" y="551"/>
                  <a:pt x="1638" y="552"/>
                </a:cubicBezTo>
                <a:cubicBezTo>
                  <a:pt x="1647" y="565"/>
                  <a:pt x="1647" y="565"/>
                  <a:pt x="1647" y="565"/>
                </a:cubicBezTo>
                <a:cubicBezTo>
                  <a:pt x="1647" y="565"/>
                  <a:pt x="1650" y="567"/>
                  <a:pt x="1650" y="568"/>
                </a:cubicBezTo>
                <a:cubicBezTo>
                  <a:pt x="1649" y="568"/>
                  <a:pt x="1650" y="571"/>
                  <a:pt x="1650" y="571"/>
                </a:cubicBezTo>
                <a:cubicBezTo>
                  <a:pt x="1653" y="573"/>
                  <a:pt x="1653" y="573"/>
                  <a:pt x="1653" y="573"/>
                </a:cubicBezTo>
                <a:cubicBezTo>
                  <a:pt x="1656" y="577"/>
                  <a:pt x="1656" y="577"/>
                  <a:pt x="1656" y="577"/>
                </a:cubicBezTo>
                <a:cubicBezTo>
                  <a:pt x="1657" y="579"/>
                  <a:pt x="1657" y="579"/>
                  <a:pt x="1657" y="579"/>
                </a:cubicBezTo>
                <a:cubicBezTo>
                  <a:pt x="1658" y="581"/>
                  <a:pt x="1658" y="581"/>
                  <a:pt x="1658" y="581"/>
                </a:cubicBezTo>
                <a:cubicBezTo>
                  <a:pt x="1660" y="583"/>
                  <a:pt x="1660" y="583"/>
                  <a:pt x="1660" y="583"/>
                </a:cubicBezTo>
                <a:cubicBezTo>
                  <a:pt x="1661" y="586"/>
                  <a:pt x="1661" y="586"/>
                  <a:pt x="1661" y="586"/>
                </a:cubicBezTo>
                <a:cubicBezTo>
                  <a:pt x="1660" y="588"/>
                  <a:pt x="1660" y="588"/>
                  <a:pt x="1660" y="588"/>
                </a:cubicBezTo>
                <a:cubicBezTo>
                  <a:pt x="1662" y="590"/>
                  <a:pt x="1662" y="590"/>
                  <a:pt x="1662" y="590"/>
                </a:cubicBezTo>
                <a:cubicBezTo>
                  <a:pt x="1663" y="593"/>
                  <a:pt x="1663" y="593"/>
                  <a:pt x="1663" y="593"/>
                </a:cubicBezTo>
                <a:cubicBezTo>
                  <a:pt x="1664" y="594"/>
                  <a:pt x="1664" y="594"/>
                  <a:pt x="1664" y="594"/>
                </a:cubicBezTo>
                <a:cubicBezTo>
                  <a:pt x="1666" y="594"/>
                  <a:pt x="1666" y="594"/>
                  <a:pt x="1666" y="594"/>
                </a:cubicBezTo>
                <a:cubicBezTo>
                  <a:pt x="1667" y="594"/>
                  <a:pt x="1672" y="598"/>
                  <a:pt x="1673" y="599"/>
                </a:cubicBezTo>
                <a:cubicBezTo>
                  <a:pt x="1675" y="605"/>
                  <a:pt x="1675" y="605"/>
                  <a:pt x="1675" y="605"/>
                </a:cubicBezTo>
                <a:cubicBezTo>
                  <a:pt x="1679" y="611"/>
                  <a:pt x="1679" y="611"/>
                  <a:pt x="1679" y="611"/>
                </a:cubicBezTo>
                <a:cubicBezTo>
                  <a:pt x="1678" y="614"/>
                  <a:pt x="1678" y="614"/>
                  <a:pt x="1678" y="614"/>
                </a:cubicBezTo>
                <a:cubicBezTo>
                  <a:pt x="1678" y="618"/>
                  <a:pt x="1678" y="618"/>
                  <a:pt x="1678" y="618"/>
                </a:cubicBezTo>
                <a:cubicBezTo>
                  <a:pt x="1678" y="618"/>
                  <a:pt x="1682" y="629"/>
                  <a:pt x="1682" y="630"/>
                </a:cubicBezTo>
                <a:cubicBezTo>
                  <a:pt x="1682" y="630"/>
                  <a:pt x="1685" y="633"/>
                  <a:pt x="1685" y="633"/>
                </a:cubicBezTo>
                <a:cubicBezTo>
                  <a:pt x="1685" y="634"/>
                  <a:pt x="1686" y="636"/>
                  <a:pt x="1686" y="636"/>
                </a:cubicBezTo>
                <a:cubicBezTo>
                  <a:pt x="1688" y="638"/>
                  <a:pt x="1688" y="638"/>
                  <a:pt x="1688" y="638"/>
                </a:cubicBezTo>
                <a:cubicBezTo>
                  <a:pt x="1690" y="639"/>
                  <a:pt x="1692" y="639"/>
                  <a:pt x="1693" y="641"/>
                </a:cubicBezTo>
                <a:cubicBezTo>
                  <a:pt x="1699" y="647"/>
                  <a:pt x="1699" y="647"/>
                  <a:pt x="1699" y="647"/>
                </a:cubicBezTo>
                <a:cubicBezTo>
                  <a:pt x="1699" y="647"/>
                  <a:pt x="1701" y="648"/>
                  <a:pt x="1701" y="649"/>
                </a:cubicBezTo>
                <a:cubicBezTo>
                  <a:pt x="1701" y="653"/>
                  <a:pt x="1700" y="652"/>
                  <a:pt x="1703" y="656"/>
                </a:cubicBezTo>
                <a:cubicBezTo>
                  <a:pt x="1707" y="663"/>
                  <a:pt x="1707" y="663"/>
                  <a:pt x="1707" y="663"/>
                </a:cubicBezTo>
                <a:cubicBezTo>
                  <a:pt x="1710" y="667"/>
                  <a:pt x="1710" y="667"/>
                  <a:pt x="1710" y="667"/>
                </a:cubicBezTo>
                <a:cubicBezTo>
                  <a:pt x="1712" y="668"/>
                  <a:pt x="1712" y="668"/>
                  <a:pt x="1712" y="668"/>
                </a:cubicBezTo>
                <a:cubicBezTo>
                  <a:pt x="1713" y="669"/>
                  <a:pt x="1712" y="674"/>
                  <a:pt x="1713" y="674"/>
                </a:cubicBezTo>
                <a:cubicBezTo>
                  <a:pt x="1715" y="674"/>
                  <a:pt x="1716" y="676"/>
                  <a:pt x="1716" y="677"/>
                </a:cubicBezTo>
                <a:cubicBezTo>
                  <a:pt x="1718" y="682"/>
                  <a:pt x="1718" y="682"/>
                  <a:pt x="1718" y="682"/>
                </a:cubicBezTo>
                <a:cubicBezTo>
                  <a:pt x="1718" y="682"/>
                  <a:pt x="1719" y="682"/>
                  <a:pt x="1720" y="682"/>
                </a:cubicBezTo>
                <a:cubicBezTo>
                  <a:pt x="1719" y="682"/>
                  <a:pt x="1719" y="682"/>
                  <a:pt x="1719" y="682"/>
                </a:cubicBezTo>
                <a:cubicBezTo>
                  <a:pt x="1720" y="685"/>
                  <a:pt x="1720" y="685"/>
                  <a:pt x="1718" y="687"/>
                </a:cubicBezTo>
                <a:cubicBezTo>
                  <a:pt x="1719" y="693"/>
                  <a:pt x="1718" y="691"/>
                  <a:pt x="1718" y="692"/>
                </a:cubicBezTo>
                <a:cubicBezTo>
                  <a:pt x="1718" y="693"/>
                  <a:pt x="1721" y="699"/>
                  <a:pt x="1722" y="701"/>
                </a:cubicBezTo>
                <a:cubicBezTo>
                  <a:pt x="1722" y="702"/>
                  <a:pt x="1723" y="707"/>
                  <a:pt x="1723" y="707"/>
                </a:cubicBezTo>
                <a:cubicBezTo>
                  <a:pt x="1723" y="708"/>
                  <a:pt x="1724" y="709"/>
                  <a:pt x="1724" y="709"/>
                </a:cubicBezTo>
                <a:cubicBezTo>
                  <a:pt x="1724" y="709"/>
                  <a:pt x="1724" y="711"/>
                  <a:pt x="1725" y="712"/>
                </a:cubicBezTo>
                <a:cubicBezTo>
                  <a:pt x="1725" y="714"/>
                  <a:pt x="1725" y="713"/>
                  <a:pt x="1725" y="714"/>
                </a:cubicBezTo>
                <a:cubicBezTo>
                  <a:pt x="1724" y="715"/>
                  <a:pt x="1724" y="717"/>
                  <a:pt x="1725" y="718"/>
                </a:cubicBezTo>
                <a:cubicBezTo>
                  <a:pt x="1727" y="721"/>
                  <a:pt x="1725" y="718"/>
                  <a:pt x="1727" y="722"/>
                </a:cubicBezTo>
                <a:cubicBezTo>
                  <a:pt x="1728" y="722"/>
                  <a:pt x="1728" y="722"/>
                  <a:pt x="1728" y="722"/>
                </a:cubicBezTo>
                <a:cubicBezTo>
                  <a:pt x="1735" y="723"/>
                  <a:pt x="1735" y="723"/>
                  <a:pt x="1735" y="723"/>
                </a:cubicBezTo>
                <a:cubicBezTo>
                  <a:pt x="1736" y="722"/>
                  <a:pt x="1738" y="719"/>
                  <a:pt x="1739" y="721"/>
                </a:cubicBezTo>
                <a:cubicBezTo>
                  <a:pt x="1740" y="721"/>
                  <a:pt x="1740" y="721"/>
                  <a:pt x="1740" y="721"/>
                </a:cubicBezTo>
                <a:cubicBezTo>
                  <a:pt x="1742" y="720"/>
                  <a:pt x="1742" y="720"/>
                  <a:pt x="1742" y="720"/>
                </a:cubicBezTo>
                <a:cubicBezTo>
                  <a:pt x="1742" y="719"/>
                  <a:pt x="1742" y="719"/>
                  <a:pt x="1742" y="719"/>
                </a:cubicBezTo>
                <a:cubicBezTo>
                  <a:pt x="1742" y="719"/>
                  <a:pt x="1744" y="719"/>
                  <a:pt x="1744" y="719"/>
                </a:cubicBezTo>
                <a:cubicBezTo>
                  <a:pt x="1748" y="716"/>
                  <a:pt x="1748" y="716"/>
                  <a:pt x="1748" y="716"/>
                </a:cubicBezTo>
                <a:cubicBezTo>
                  <a:pt x="1750" y="714"/>
                  <a:pt x="1748" y="714"/>
                  <a:pt x="1754" y="715"/>
                </a:cubicBezTo>
                <a:cubicBezTo>
                  <a:pt x="1756" y="715"/>
                  <a:pt x="1755" y="715"/>
                  <a:pt x="1757" y="715"/>
                </a:cubicBezTo>
                <a:cubicBezTo>
                  <a:pt x="1759" y="715"/>
                  <a:pt x="1758" y="714"/>
                  <a:pt x="1760" y="713"/>
                </a:cubicBezTo>
                <a:cubicBezTo>
                  <a:pt x="1760" y="712"/>
                  <a:pt x="1762" y="713"/>
                  <a:pt x="1762" y="713"/>
                </a:cubicBezTo>
                <a:cubicBezTo>
                  <a:pt x="1763" y="712"/>
                  <a:pt x="1765" y="710"/>
                  <a:pt x="1767" y="710"/>
                </a:cubicBezTo>
                <a:cubicBezTo>
                  <a:pt x="1767" y="710"/>
                  <a:pt x="1770" y="708"/>
                  <a:pt x="1770" y="708"/>
                </a:cubicBezTo>
                <a:cubicBezTo>
                  <a:pt x="1770" y="707"/>
                  <a:pt x="1773" y="707"/>
                  <a:pt x="1774" y="707"/>
                </a:cubicBezTo>
                <a:cubicBezTo>
                  <a:pt x="1775" y="707"/>
                  <a:pt x="1775" y="707"/>
                  <a:pt x="1775" y="707"/>
                </a:cubicBezTo>
                <a:cubicBezTo>
                  <a:pt x="1777" y="706"/>
                  <a:pt x="1779" y="706"/>
                  <a:pt x="1780" y="703"/>
                </a:cubicBezTo>
                <a:cubicBezTo>
                  <a:pt x="1780" y="701"/>
                  <a:pt x="1780" y="702"/>
                  <a:pt x="1785" y="700"/>
                </a:cubicBezTo>
                <a:cubicBezTo>
                  <a:pt x="1788" y="699"/>
                  <a:pt x="1786" y="700"/>
                  <a:pt x="1786" y="699"/>
                </a:cubicBezTo>
                <a:cubicBezTo>
                  <a:pt x="1786" y="699"/>
                  <a:pt x="1789" y="699"/>
                  <a:pt x="1791" y="699"/>
                </a:cubicBezTo>
                <a:cubicBezTo>
                  <a:pt x="1793" y="699"/>
                  <a:pt x="1792" y="698"/>
                  <a:pt x="1792" y="697"/>
                </a:cubicBezTo>
                <a:cubicBezTo>
                  <a:pt x="1793" y="696"/>
                  <a:pt x="1793" y="697"/>
                  <a:pt x="1795" y="697"/>
                </a:cubicBezTo>
                <a:cubicBezTo>
                  <a:pt x="1796" y="697"/>
                  <a:pt x="1796" y="696"/>
                  <a:pt x="1796" y="696"/>
                </a:cubicBezTo>
                <a:cubicBezTo>
                  <a:pt x="1796" y="696"/>
                  <a:pt x="1799" y="695"/>
                  <a:pt x="1801" y="694"/>
                </a:cubicBezTo>
                <a:cubicBezTo>
                  <a:pt x="1803" y="694"/>
                  <a:pt x="1806" y="692"/>
                  <a:pt x="1806" y="692"/>
                </a:cubicBezTo>
                <a:cubicBezTo>
                  <a:pt x="1806" y="692"/>
                  <a:pt x="1810" y="689"/>
                  <a:pt x="1810" y="689"/>
                </a:cubicBezTo>
                <a:cubicBezTo>
                  <a:pt x="1809" y="685"/>
                  <a:pt x="1809" y="685"/>
                  <a:pt x="1809" y="685"/>
                </a:cubicBezTo>
                <a:cubicBezTo>
                  <a:pt x="1811" y="682"/>
                  <a:pt x="1811" y="682"/>
                  <a:pt x="1811" y="682"/>
                </a:cubicBezTo>
                <a:cubicBezTo>
                  <a:pt x="1817" y="680"/>
                  <a:pt x="1815" y="681"/>
                  <a:pt x="1819" y="678"/>
                </a:cubicBezTo>
                <a:cubicBezTo>
                  <a:pt x="1819" y="678"/>
                  <a:pt x="1819" y="678"/>
                  <a:pt x="1819" y="678"/>
                </a:cubicBezTo>
                <a:cubicBezTo>
                  <a:pt x="1819" y="678"/>
                  <a:pt x="1819" y="678"/>
                  <a:pt x="1819" y="678"/>
                </a:cubicBezTo>
                <a:cubicBezTo>
                  <a:pt x="1819" y="677"/>
                  <a:pt x="1821" y="678"/>
                  <a:pt x="1821" y="678"/>
                </a:cubicBezTo>
                <a:cubicBezTo>
                  <a:pt x="1827" y="675"/>
                  <a:pt x="1827" y="675"/>
                  <a:pt x="1827" y="675"/>
                </a:cubicBezTo>
                <a:cubicBezTo>
                  <a:pt x="1835" y="675"/>
                  <a:pt x="1835" y="675"/>
                  <a:pt x="1835" y="675"/>
                </a:cubicBezTo>
                <a:cubicBezTo>
                  <a:pt x="1838" y="672"/>
                  <a:pt x="1838" y="672"/>
                  <a:pt x="1838" y="672"/>
                </a:cubicBezTo>
                <a:cubicBezTo>
                  <a:pt x="1838" y="669"/>
                  <a:pt x="1838" y="669"/>
                  <a:pt x="1839" y="667"/>
                </a:cubicBezTo>
                <a:cubicBezTo>
                  <a:pt x="1840" y="665"/>
                  <a:pt x="1840" y="665"/>
                  <a:pt x="1840" y="665"/>
                </a:cubicBezTo>
                <a:cubicBezTo>
                  <a:pt x="1846" y="664"/>
                  <a:pt x="1846" y="664"/>
                  <a:pt x="1846" y="664"/>
                </a:cubicBezTo>
                <a:cubicBezTo>
                  <a:pt x="1848" y="663"/>
                  <a:pt x="1849" y="664"/>
                  <a:pt x="1849" y="663"/>
                </a:cubicBezTo>
                <a:cubicBezTo>
                  <a:pt x="1851" y="660"/>
                  <a:pt x="1851" y="660"/>
                  <a:pt x="1851" y="660"/>
                </a:cubicBezTo>
                <a:cubicBezTo>
                  <a:pt x="1851" y="657"/>
                  <a:pt x="1851" y="657"/>
                  <a:pt x="1851" y="657"/>
                </a:cubicBezTo>
                <a:cubicBezTo>
                  <a:pt x="1855" y="654"/>
                  <a:pt x="1855" y="654"/>
                  <a:pt x="1855" y="654"/>
                </a:cubicBezTo>
                <a:cubicBezTo>
                  <a:pt x="1858" y="654"/>
                  <a:pt x="1858" y="654"/>
                  <a:pt x="1858" y="654"/>
                </a:cubicBezTo>
                <a:cubicBezTo>
                  <a:pt x="1858" y="654"/>
                  <a:pt x="1860" y="653"/>
                  <a:pt x="1861" y="653"/>
                </a:cubicBezTo>
                <a:cubicBezTo>
                  <a:pt x="1862" y="653"/>
                  <a:pt x="1860" y="649"/>
                  <a:pt x="1860" y="648"/>
                </a:cubicBezTo>
                <a:cubicBezTo>
                  <a:pt x="1860" y="647"/>
                  <a:pt x="1860" y="647"/>
                  <a:pt x="1860" y="647"/>
                </a:cubicBezTo>
                <a:cubicBezTo>
                  <a:pt x="1860" y="644"/>
                  <a:pt x="1860" y="645"/>
                  <a:pt x="1861" y="641"/>
                </a:cubicBezTo>
                <a:cubicBezTo>
                  <a:pt x="1862" y="638"/>
                  <a:pt x="1860" y="640"/>
                  <a:pt x="1864" y="635"/>
                </a:cubicBezTo>
                <a:cubicBezTo>
                  <a:pt x="1864" y="636"/>
                  <a:pt x="1864" y="636"/>
                  <a:pt x="1864" y="636"/>
                </a:cubicBezTo>
                <a:cubicBezTo>
                  <a:pt x="1864" y="638"/>
                  <a:pt x="1866" y="638"/>
                  <a:pt x="1867" y="637"/>
                </a:cubicBezTo>
                <a:cubicBezTo>
                  <a:pt x="1867" y="635"/>
                  <a:pt x="1867" y="636"/>
                  <a:pt x="1868" y="634"/>
                </a:cubicBezTo>
                <a:cubicBezTo>
                  <a:pt x="1869" y="631"/>
                  <a:pt x="1869" y="632"/>
                  <a:pt x="1870" y="631"/>
                </a:cubicBezTo>
                <a:cubicBezTo>
                  <a:pt x="1870" y="631"/>
                  <a:pt x="1871" y="629"/>
                  <a:pt x="1871" y="628"/>
                </a:cubicBezTo>
                <a:cubicBezTo>
                  <a:pt x="1871" y="628"/>
                  <a:pt x="1874" y="626"/>
                  <a:pt x="1874" y="625"/>
                </a:cubicBezTo>
                <a:cubicBezTo>
                  <a:pt x="1875" y="622"/>
                  <a:pt x="1875" y="622"/>
                  <a:pt x="1875" y="622"/>
                </a:cubicBezTo>
                <a:cubicBezTo>
                  <a:pt x="1878" y="620"/>
                  <a:pt x="1878" y="620"/>
                  <a:pt x="1878" y="620"/>
                </a:cubicBezTo>
                <a:cubicBezTo>
                  <a:pt x="1877" y="614"/>
                  <a:pt x="1877" y="614"/>
                  <a:pt x="1877" y="614"/>
                </a:cubicBezTo>
                <a:cubicBezTo>
                  <a:pt x="1877" y="614"/>
                  <a:pt x="1877" y="614"/>
                  <a:pt x="1877" y="614"/>
                </a:cubicBezTo>
                <a:cubicBezTo>
                  <a:pt x="1877" y="614"/>
                  <a:pt x="1874" y="613"/>
                  <a:pt x="1874" y="612"/>
                </a:cubicBezTo>
                <a:cubicBezTo>
                  <a:pt x="1873" y="611"/>
                  <a:pt x="1871" y="610"/>
                  <a:pt x="1871" y="609"/>
                </a:cubicBezTo>
                <a:cubicBezTo>
                  <a:pt x="1870" y="608"/>
                  <a:pt x="1870" y="608"/>
                  <a:pt x="1870" y="608"/>
                </a:cubicBezTo>
                <a:cubicBezTo>
                  <a:pt x="1867" y="605"/>
                  <a:pt x="1867" y="605"/>
                  <a:pt x="1867" y="605"/>
                </a:cubicBezTo>
                <a:cubicBezTo>
                  <a:pt x="1867" y="603"/>
                  <a:pt x="1867" y="603"/>
                  <a:pt x="1867" y="603"/>
                </a:cubicBezTo>
                <a:cubicBezTo>
                  <a:pt x="1864" y="601"/>
                  <a:pt x="1864" y="601"/>
                  <a:pt x="1864" y="601"/>
                </a:cubicBezTo>
                <a:cubicBezTo>
                  <a:pt x="1859" y="601"/>
                  <a:pt x="1859" y="601"/>
                  <a:pt x="1859" y="601"/>
                </a:cubicBezTo>
                <a:cubicBezTo>
                  <a:pt x="1858" y="601"/>
                  <a:pt x="1858" y="601"/>
                  <a:pt x="1858" y="601"/>
                </a:cubicBezTo>
                <a:cubicBezTo>
                  <a:pt x="1858" y="600"/>
                  <a:pt x="1856" y="599"/>
                  <a:pt x="1856" y="598"/>
                </a:cubicBezTo>
                <a:cubicBezTo>
                  <a:pt x="1851" y="598"/>
                  <a:pt x="1852" y="598"/>
                  <a:pt x="1850" y="596"/>
                </a:cubicBezTo>
                <a:cubicBezTo>
                  <a:pt x="1848" y="595"/>
                  <a:pt x="1848" y="595"/>
                  <a:pt x="1846" y="592"/>
                </a:cubicBezTo>
                <a:cubicBezTo>
                  <a:pt x="1844" y="590"/>
                  <a:pt x="1844" y="590"/>
                  <a:pt x="1844" y="590"/>
                </a:cubicBezTo>
                <a:cubicBezTo>
                  <a:pt x="1844" y="588"/>
                  <a:pt x="1844" y="588"/>
                  <a:pt x="1844" y="588"/>
                </a:cubicBezTo>
                <a:cubicBezTo>
                  <a:pt x="1844" y="588"/>
                  <a:pt x="1843" y="586"/>
                  <a:pt x="1842" y="586"/>
                </a:cubicBezTo>
                <a:cubicBezTo>
                  <a:pt x="1842" y="583"/>
                  <a:pt x="1842" y="580"/>
                  <a:pt x="1841" y="579"/>
                </a:cubicBezTo>
                <a:cubicBezTo>
                  <a:pt x="1841" y="579"/>
                  <a:pt x="1841" y="579"/>
                  <a:pt x="1841" y="579"/>
                </a:cubicBezTo>
                <a:cubicBezTo>
                  <a:pt x="1844" y="578"/>
                  <a:pt x="1842" y="576"/>
                  <a:pt x="1842" y="575"/>
                </a:cubicBezTo>
                <a:cubicBezTo>
                  <a:pt x="1842" y="574"/>
                  <a:pt x="1843" y="573"/>
                  <a:pt x="1843" y="572"/>
                </a:cubicBezTo>
                <a:cubicBezTo>
                  <a:pt x="1843" y="571"/>
                  <a:pt x="1842" y="571"/>
                  <a:pt x="1842" y="571"/>
                </a:cubicBezTo>
                <a:cubicBezTo>
                  <a:pt x="1842" y="571"/>
                  <a:pt x="1841" y="572"/>
                  <a:pt x="1841" y="572"/>
                </a:cubicBezTo>
                <a:cubicBezTo>
                  <a:pt x="1841" y="573"/>
                  <a:pt x="1839" y="574"/>
                  <a:pt x="1839" y="574"/>
                </a:cubicBezTo>
                <a:cubicBezTo>
                  <a:pt x="1838" y="574"/>
                  <a:pt x="1839" y="574"/>
                  <a:pt x="1838" y="576"/>
                </a:cubicBezTo>
                <a:cubicBezTo>
                  <a:pt x="1838" y="576"/>
                  <a:pt x="1838" y="576"/>
                  <a:pt x="1838" y="576"/>
                </a:cubicBezTo>
                <a:cubicBezTo>
                  <a:pt x="1837" y="577"/>
                  <a:pt x="1835" y="578"/>
                  <a:pt x="1832" y="584"/>
                </a:cubicBezTo>
                <a:cubicBezTo>
                  <a:pt x="1831" y="585"/>
                  <a:pt x="1825" y="589"/>
                  <a:pt x="1825" y="591"/>
                </a:cubicBezTo>
                <a:cubicBezTo>
                  <a:pt x="1825" y="594"/>
                  <a:pt x="1826" y="594"/>
                  <a:pt x="1823" y="594"/>
                </a:cubicBezTo>
                <a:cubicBezTo>
                  <a:pt x="1822" y="594"/>
                  <a:pt x="1823" y="595"/>
                  <a:pt x="1822" y="595"/>
                </a:cubicBezTo>
                <a:cubicBezTo>
                  <a:pt x="1818" y="595"/>
                  <a:pt x="1818" y="595"/>
                  <a:pt x="1818" y="595"/>
                </a:cubicBezTo>
                <a:cubicBezTo>
                  <a:pt x="1817" y="595"/>
                  <a:pt x="1818" y="596"/>
                  <a:pt x="1818" y="596"/>
                </a:cubicBezTo>
                <a:cubicBezTo>
                  <a:pt x="1821" y="596"/>
                  <a:pt x="1821" y="596"/>
                  <a:pt x="1821" y="596"/>
                </a:cubicBezTo>
                <a:cubicBezTo>
                  <a:pt x="1818" y="597"/>
                  <a:pt x="1816" y="596"/>
                  <a:pt x="1813" y="596"/>
                </a:cubicBezTo>
                <a:cubicBezTo>
                  <a:pt x="1811" y="597"/>
                  <a:pt x="1808" y="594"/>
                  <a:pt x="1806" y="596"/>
                </a:cubicBezTo>
                <a:cubicBezTo>
                  <a:pt x="1804" y="598"/>
                  <a:pt x="1804" y="598"/>
                  <a:pt x="1802" y="598"/>
                </a:cubicBezTo>
                <a:cubicBezTo>
                  <a:pt x="1802" y="597"/>
                  <a:pt x="1801" y="597"/>
                  <a:pt x="1800" y="597"/>
                </a:cubicBezTo>
                <a:cubicBezTo>
                  <a:pt x="1799" y="596"/>
                  <a:pt x="1801" y="597"/>
                  <a:pt x="1798" y="594"/>
                </a:cubicBezTo>
                <a:cubicBezTo>
                  <a:pt x="1797" y="595"/>
                  <a:pt x="1798" y="595"/>
                  <a:pt x="1800" y="598"/>
                </a:cubicBezTo>
                <a:cubicBezTo>
                  <a:pt x="1800" y="598"/>
                  <a:pt x="1800" y="598"/>
                  <a:pt x="1800" y="598"/>
                </a:cubicBezTo>
                <a:cubicBezTo>
                  <a:pt x="1799" y="597"/>
                  <a:pt x="1799" y="597"/>
                  <a:pt x="1799" y="597"/>
                </a:cubicBezTo>
                <a:cubicBezTo>
                  <a:pt x="1798" y="596"/>
                  <a:pt x="1795" y="592"/>
                  <a:pt x="1795" y="592"/>
                </a:cubicBezTo>
                <a:cubicBezTo>
                  <a:pt x="1795" y="590"/>
                  <a:pt x="1795" y="590"/>
                  <a:pt x="1795" y="590"/>
                </a:cubicBezTo>
                <a:cubicBezTo>
                  <a:pt x="1795" y="590"/>
                  <a:pt x="1795" y="590"/>
                  <a:pt x="1795" y="590"/>
                </a:cubicBezTo>
                <a:cubicBezTo>
                  <a:pt x="1795" y="589"/>
                  <a:pt x="1797" y="587"/>
                  <a:pt x="1797" y="587"/>
                </a:cubicBezTo>
                <a:cubicBezTo>
                  <a:pt x="1797" y="583"/>
                  <a:pt x="1797" y="583"/>
                  <a:pt x="1797" y="583"/>
                </a:cubicBezTo>
                <a:cubicBezTo>
                  <a:pt x="1796" y="581"/>
                  <a:pt x="1796" y="581"/>
                  <a:pt x="1796" y="581"/>
                </a:cubicBezTo>
                <a:cubicBezTo>
                  <a:pt x="1796" y="577"/>
                  <a:pt x="1796" y="577"/>
                  <a:pt x="1796" y="577"/>
                </a:cubicBezTo>
                <a:cubicBezTo>
                  <a:pt x="1792" y="574"/>
                  <a:pt x="1792" y="574"/>
                  <a:pt x="1792" y="574"/>
                </a:cubicBezTo>
                <a:cubicBezTo>
                  <a:pt x="1790" y="575"/>
                  <a:pt x="1790" y="575"/>
                  <a:pt x="1790" y="575"/>
                </a:cubicBezTo>
                <a:cubicBezTo>
                  <a:pt x="1790" y="575"/>
                  <a:pt x="1790" y="577"/>
                  <a:pt x="1790" y="578"/>
                </a:cubicBezTo>
                <a:cubicBezTo>
                  <a:pt x="1790" y="579"/>
                  <a:pt x="1789" y="582"/>
                  <a:pt x="1789" y="582"/>
                </a:cubicBezTo>
                <a:cubicBezTo>
                  <a:pt x="1789" y="582"/>
                  <a:pt x="1789" y="586"/>
                  <a:pt x="1789" y="586"/>
                </a:cubicBezTo>
                <a:cubicBezTo>
                  <a:pt x="1789" y="587"/>
                  <a:pt x="1790" y="588"/>
                  <a:pt x="1790" y="589"/>
                </a:cubicBezTo>
                <a:cubicBezTo>
                  <a:pt x="1789" y="588"/>
                  <a:pt x="1788" y="587"/>
                  <a:pt x="1788" y="587"/>
                </a:cubicBezTo>
                <a:cubicBezTo>
                  <a:pt x="1788" y="586"/>
                  <a:pt x="1787" y="583"/>
                  <a:pt x="1787" y="583"/>
                </a:cubicBezTo>
                <a:cubicBezTo>
                  <a:pt x="1787" y="583"/>
                  <a:pt x="1782" y="579"/>
                  <a:pt x="1782" y="577"/>
                </a:cubicBezTo>
                <a:cubicBezTo>
                  <a:pt x="1782" y="573"/>
                  <a:pt x="1782" y="574"/>
                  <a:pt x="1784" y="572"/>
                </a:cubicBezTo>
                <a:cubicBezTo>
                  <a:pt x="1782" y="570"/>
                  <a:pt x="1782" y="570"/>
                  <a:pt x="1782" y="570"/>
                </a:cubicBezTo>
                <a:cubicBezTo>
                  <a:pt x="1781" y="569"/>
                  <a:pt x="1781" y="569"/>
                  <a:pt x="1781" y="569"/>
                </a:cubicBezTo>
                <a:cubicBezTo>
                  <a:pt x="1779" y="565"/>
                  <a:pt x="1779" y="565"/>
                  <a:pt x="1779" y="565"/>
                </a:cubicBezTo>
                <a:cubicBezTo>
                  <a:pt x="1779" y="565"/>
                  <a:pt x="1774" y="563"/>
                  <a:pt x="1774" y="562"/>
                </a:cubicBezTo>
                <a:cubicBezTo>
                  <a:pt x="1772" y="559"/>
                  <a:pt x="1772" y="559"/>
                  <a:pt x="1770" y="558"/>
                </a:cubicBezTo>
                <a:cubicBezTo>
                  <a:pt x="1769" y="557"/>
                  <a:pt x="1769" y="557"/>
                  <a:pt x="1769" y="557"/>
                </a:cubicBezTo>
                <a:cubicBezTo>
                  <a:pt x="1768" y="554"/>
                  <a:pt x="1768" y="554"/>
                  <a:pt x="1768" y="554"/>
                </a:cubicBezTo>
                <a:cubicBezTo>
                  <a:pt x="1766" y="551"/>
                  <a:pt x="1766" y="551"/>
                  <a:pt x="1766" y="551"/>
                </a:cubicBezTo>
                <a:cubicBezTo>
                  <a:pt x="1763" y="547"/>
                  <a:pt x="1763" y="547"/>
                  <a:pt x="1763" y="547"/>
                </a:cubicBezTo>
                <a:cubicBezTo>
                  <a:pt x="1763" y="547"/>
                  <a:pt x="1763" y="547"/>
                  <a:pt x="1763" y="547"/>
                </a:cubicBezTo>
                <a:cubicBezTo>
                  <a:pt x="1763" y="545"/>
                  <a:pt x="1762" y="544"/>
                  <a:pt x="1761" y="542"/>
                </a:cubicBezTo>
                <a:cubicBezTo>
                  <a:pt x="1760" y="541"/>
                  <a:pt x="1759" y="539"/>
                  <a:pt x="1757" y="538"/>
                </a:cubicBezTo>
                <a:cubicBezTo>
                  <a:pt x="1756" y="537"/>
                  <a:pt x="1757" y="537"/>
                  <a:pt x="1758" y="536"/>
                </a:cubicBezTo>
                <a:cubicBezTo>
                  <a:pt x="1760" y="535"/>
                  <a:pt x="1760" y="536"/>
                  <a:pt x="1760" y="536"/>
                </a:cubicBezTo>
                <a:cubicBezTo>
                  <a:pt x="1762" y="535"/>
                  <a:pt x="1762" y="535"/>
                  <a:pt x="1762" y="535"/>
                </a:cubicBezTo>
                <a:cubicBezTo>
                  <a:pt x="1762" y="535"/>
                  <a:pt x="1762" y="534"/>
                  <a:pt x="1762" y="534"/>
                </a:cubicBezTo>
                <a:cubicBezTo>
                  <a:pt x="1760" y="533"/>
                  <a:pt x="1761" y="532"/>
                  <a:pt x="1759" y="533"/>
                </a:cubicBezTo>
                <a:cubicBezTo>
                  <a:pt x="1759" y="534"/>
                  <a:pt x="1759" y="534"/>
                  <a:pt x="1759" y="534"/>
                </a:cubicBezTo>
                <a:cubicBezTo>
                  <a:pt x="1759" y="534"/>
                  <a:pt x="1758" y="534"/>
                  <a:pt x="1758" y="534"/>
                </a:cubicBezTo>
                <a:cubicBezTo>
                  <a:pt x="1758" y="534"/>
                  <a:pt x="1757" y="532"/>
                  <a:pt x="1757" y="532"/>
                </a:cubicBezTo>
                <a:cubicBezTo>
                  <a:pt x="1757" y="531"/>
                  <a:pt x="1757" y="531"/>
                  <a:pt x="1757" y="531"/>
                </a:cubicBezTo>
                <a:cubicBezTo>
                  <a:pt x="1760" y="532"/>
                  <a:pt x="1760" y="532"/>
                  <a:pt x="1760" y="532"/>
                </a:cubicBezTo>
                <a:cubicBezTo>
                  <a:pt x="1764" y="533"/>
                  <a:pt x="1764" y="533"/>
                  <a:pt x="1764" y="533"/>
                </a:cubicBezTo>
                <a:cubicBezTo>
                  <a:pt x="1765" y="531"/>
                  <a:pt x="1765" y="531"/>
                  <a:pt x="1765" y="531"/>
                </a:cubicBezTo>
                <a:cubicBezTo>
                  <a:pt x="1762" y="530"/>
                  <a:pt x="1762" y="530"/>
                  <a:pt x="1762" y="530"/>
                </a:cubicBezTo>
                <a:cubicBezTo>
                  <a:pt x="1765" y="531"/>
                  <a:pt x="1765" y="531"/>
                  <a:pt x="1765" y="531"/>
                </a:cubicBezTo>
                <a:cubicBezTo>
                  <a:pt x="1765" y="531"/>
                  <a:pt x="1766" y="531"/>
                  <a:pt x="1766" y="530"/>
                </a:cubicBezTo>
                <a:cubicBezTo>
                  <a:pt x="1766" y="528"/>
                  <a:pt x="1767" y="525"/>
                  <a:pt x="1767" y="525"/>
                </a:cubicBezTo>
                <a:cubicBezTo>
                  <a:pt x="1769" y="524"/>
                  <a:pt x="1768" y="527"/>
                  <a:pt x="1768" y="528"/>
                </a:cubicBezTo>
                <a:cubicBezTo>
                  <a:pt x="1771" y="528"/>
                  <a:pt x="1771" y="528"/>
                  <a:pt x="1771" y="528"/>
                </a:cubicBezTo>
                <a:cubicBezTo>
                  <a:pt x="1771" y="528"/>
                  <a:pt x="1771" y="530"/>
                  <a:pt x="1772" y="530"/>
                </a:cubicBezTo>
                <a:cubicBezTo>
                  <a:pt x="1774" y="530"/>
                  <a:pt x="1775" y="532"/>
                  <a:pt x="1775" y="530"/>
                </a:cubicBezTo>
                <a:cubicBezTo>
                  <a:pt x="1776" y="529"/>
                  <a:pt x="1776" y="526"/>
                  <a:pt x="1777" y="527"/>
                </a:cubicBezTo>
                <a:cubicBezTo>
                  <a:pt x="1777" y="528"/>
                  <a:pt x="1777" y="528"/>
                  <a:pt x="1778" y="529"/>
                </a:cubicBezTo>
                <a:cubicBezTo>
                  <a:pt x="1779" y="530"/>
                  <a:pt x="1777" y="528"/>
                  <a:pt x="1779" y="531"/>
                </a:cubicBezTo>
                <a:cubicBezTo>
                  <a:pt x="1780" y="533"/>
                  <a:pt x="1783" y="534"/>
                  <a:pt x="1783" y="534"/>
                </a:cubicBezTo>
                <a:cubicBezTo>
                  <a:pt x="1785" y="540"/>
                  <a:pt x="1785" y="540"/>
                  <a:pt x="1785" y="540"/>
                </a:cubicBezTo>
                <a:cubicBezTo>
                  <a:pt x="1787" y="543"/>
                  <a:pt x="1787" y="543"/>
                  <a:pt x="1787" y="543"/>
                </a:cubicBezTo>
                <a:cubicBezTo>
                  <a:pt x="1786" y="543"/>
                  <a:pt x="1786" y="543"/>
                  <a:pt x="1786" y="543"/>
                </a:cubicBezTo>
                <a:cubicBezTo>
                  <a:pt x="1786" y="545"/>
                  <a:pt x="1786" y="545"/>
                  <a:pt x="1786" y="545"/>
                </a:cubicBezTo>
                <a:cubicBezTo>
                  <a:pt x="1789" y="548"/>
                  <a:pt x="1789" y="548"/>
                  <a:pt x="1789" y="548"/>
                </a:cubicBezTo>
                <a:cubicBezTo>
                  <a:pt x="1789" y="551"/>
                  <a:pt x="1789" y="551"/>
                  <a:pt x="1789" y="551"/>
                </a:cubicBezTo>
                <a:cubicBezTo>
                  <a:pt x="1794" y="555"/>
                  <a:pt x="1794" y="555"/>
                  <a:pt x="1794" y="555"/>
                </a:cubicBezTo>
                <a:cubicBezTo>
                  <a:pt x="1797" y="554"/>
                  <a:pt x="1797" y="554"/>
                  <a:pt x="1797" y="554"/>
                </a:cubicBezTo>
                <a:cubicBezTo>
                  <a:pt x="1800" y="556"/>
                  <a:pt x="1800" y="556"/>
                  <a:pt x="1800" y="556"/>
                </a:cubicBezTo>
                <a:cubicBezTo>
                  <a:pt x="1803" y="559"/>
                  <a:pt x="1803" y="559"/>
                  <a:pt x="1803" y="559"/>
                </a:cubicBezTo>
                <a:cubicBezTo>
                  <a:pt x="1805" y="560"/>
                  <a:pt x="1805" y="560"/>
                  <a:pt x="1805" y="560"/>
                </a:cubicBezTo>
                <a:cubicBezTo>
                  <a:pt x="1805" y="560"/>
                  <a:pt x="1806" y="562"/>
                  <a:pt x="1808" y="563"/>
                </a:cubicBezTo>
                <a:cubicBezTo>
                  <a:pt x="1813" y="564"/>
                  <a:pt x="1813" y="568"/>
                  <a:pt x="1814" y="568"/>
                </a:cubicBezTo>
                <a:cubicBezTo>
                  <a:pt x="1823" y="568"/>
                  <a:pt x="1823" y="568"/>
                  <a:pt x="1823" y="568"/>
                </a:cubicBezTo>
                <a:cubicBezTo>
                  <a:pt x="1824" y="569"/>
                  <a:pt x="1824" y="569"/>
                  <a:pt x="1824" y="569"/>
                </a:cubicBezTo>
                <a:cubicBezTo>
                  <a:pt x="1828" y="568"/>
                  <a:pt x="1828" y="568"/>
                  <a:pt x="1832" y="567"/>
                </a:cubicBezTo>
                <a:cubicBezTo>
                  <a:pt x="1833" y="564"/>
                  <a:pt x="1833" y="564"/>
                  <a:pt x="1833" y="564"/>
                </a:cubicBezTo>
                <a:cubicBezTo>
                  <a:pt x="1835" y="565"/>
                  <a:pt x="1835" y="565"/>
                  <a:pt x="1835" y="565"/>
                </a:cubicBezTo>
                <a:cubicBezTo>
                  <a:pt x="1833" y="567"/>
                  <a:pt x="1833" y="567"/>
                  <a:pt x="1833" y="567"/>
                </a:cubicBezTo>
                <a:cubicBezTo>
                  <a:pt x="1833" y="567"/>
                  <a:pt x="1827" y="571"/>
                  <a:pt x="1830" y="570"/>
                </a:cubicBezTo>
                <a:cubicBezTo>
                  <a:pt x="1833" y="569"/>
                  <a:pt x="1833" y="569"/>
                  <a:pt x="1834" y="568"/>
                </a:cubicBezTo>
                <a:cubicBezTo>
                  <a:pt x="1838" y="567"/>
                  <a:pt x="1837" y="568"/>
                  <a:pt x="1839" y="566"/>
                </a:cubicBezTo>
                <a:cubicBezTo>
                  <a:pt x="1837" y="564"/>
                  <a:pt x="1837" y="564"/>
                  <a:pt x="1837" y="564"/>
                </a:cubicBezTo>
                <a:cubicBezTo>
                  <a:pt x="1839" y="562"/>
                  <a:pt x="1839" y="562"/>
                  <a:pt x="1839" y="562"/>
                </a:cubicBezTo>
                <a:cubicBezTo>
                  <a:pt x="1842" y="564"/>
                  <a:pt x="1842" y="564"/>
                  <a:pt x="1842" y="564"/>
                </a:cubicBezTo>
                <a:cubicBezTo>
                  <a:pt x="1845" y="563"/>
                  <a:pt x="1845" y="563"/>
                  <a:pt x="1845" y="563"/>
                </a:cubicBezTo>
                <a:cubicBezTo>
                  <a:pt x="1848" y="566"/>
                  <a:pt x="1848" y="566"/>
                  <a:pt x="1848" y="566"/>
                </a:cubicBezTo>
                <a:cubicBezTo>
                  <a:pt x="1848" y="566"/>
                  <a:pt x="1848" y="569"/>
                  <a:pt x="1848" y="570"/>
                </a:cubicBezTo>
                <a:cubicBezTo>
                  <a:pt x="1848" y="571"/>
                  <a:pt x="1849" y="572"/>
                  <a:pt x="1849" y="573"/>
                </a:cubicBezTo>
                <a:cubicBezTo>
                  <a:pt x="1849" y="574"/>
                  <a:pt x="1849" y="575"/>
                  <a:pt x="1850" y="576"/>
                </a:cubicBezTo>
                <a:cubicBezTo>
                  <a:pt x="1850" y="577"/>
                  <a:pt x="1852" y="578"/>
                  <a:pt x="1852" y="578"/>
                </a:cubicBezTo>
                <a:cubicBezTo>
                  <a:pt x="1853" y="578"/>
                  <a:pt x="1857" y="580"/>
                  <a:pt x="1859" y="580"/>
                </a:cubicBezTo>
                <a:cubicBezTo>
                  <a:pt x="1860" y="580"/>
                  <a:pt x="1866" y="580"/>
                  <a:pt x="1867" y="580"/>
                </a:cubicBezTo>
                <a:cubicBezTo>
                  <a:pt x="1867" y="580"/>
                  <a:pt x="1867" y="580"/>
                  <a:pt x="1867" y="580"/>
                </a:cubicBezTo>
                <a:cubicBezTo>
                  <a:pt x="1867" y="580"/>
                  <a:pt x="1867" y="581"/>
                  <a:pt x="1869" y="581"/>
                </a:cubicBezTo>
                <a:cubicBezTo>
                  <a:pt x="1870" y="582"/>
                  <a:pt x="1871" y="582"/>
                  <a:pt x="1871" y="582"/>
                </a:cubicBezTo>
                <a:cubicBezTo>
                  <a:pt x="1874" y="581"/>
                  <a:pt x="1874" y="581"/>
                  <a:pt x="1874" y="581"/>
                </a:cubicBezTo>
                <a:cubicBezTo>
                  <a:pt x="1875" y="582"/>
                  <a:pt x="1875" y="582"/>
                  <a:pt x="1875" y="582"/>
                </a:cubicBezTo>
                <a:cubicBezTo>
                  <a:pt x="1875" y="582"/>
                  <a:pt x="1878" y="583"/>
                  <a:pt x="1879" y="583"/>
                </a:cubicBezTo>
                <a:cubicBezTo>
                  <a:pt x="1882" y="582"/>
                  <a:pt x="1882" y="582"/>
                  <a:pt x="1882" y="582"/>
                </a:cubicBezTo>
                <a:cubicBezTo>
                  <a:pt x="1882" y="582"/>
                  <a:pt x="1882" y="583"/>
                  <a:pt x="1883" y="583"/>
                </a:cubicBezTo>
                <a:cubicBezTo>
                  <a:pt x="1883" y="583"/>
                  <a:pt x="1886" y="584"/>
                  <a:pt x="1886" y="584"/>
                </a:cubicBezTo>
                <a:cubicBezTo>
                  <a:pt x="1886" y="584"/>
                  <a:pt x="1887" y="584"/>
                  <a:pt x="1888" y="584"/>
                </a:cubicBezTo>
                <a:cubicBezTo>
                  <a:pt x="1890" y="586"/>
                  <a:pt x="1891" y="585"/>
                  <a:pt x="1891" y="584"/>
                </a:cubicBezTo>
                <a:cubicBezTo>
                  <a:pt x="1892" y="584"/>
                  <a:pt x="1892" y="584"/>
                  <a:pt x="1892" y="584"/>
                </a:cubicBezTo>
                <a:cubicBezTo>
                  <a:pt x="1892" y="584"/>
                  <a:pt x="1892" y="584"/>
                  <a:pt x="1892" y="583"/>
                </a:cubicBezTo>
                <a:cubicBezTo>
                  <a:pt x="1892" y="585"/>
                  <a:pt x="1892" y="585"/>
                  <a:pt x="1892" y="585"/>
                </a:cubicBezTo>
                <a:cubicBezTo>
                  <a:pt x="1895" y="586"/>
                  <a:pt x="1895" y="586"/>
                  <a:pt x="1895" y="586"/>
                </a:cubicBezTo>
                <a:cubicBezTo>
                  <a:pt x="1901" y="584"/>
                  <a:pt x="1901" y="584"/>
                  <a:pt x="1901" y="584"/>
                </a:cubicBezTo>
                <a:cubicBezTo>
                  <a:pt x="1903" y="584"/>
                  <a:pt x="1903" y="584"/>
                  <a:pt x="1903" y="584"/>
                </a:cubicBezTo>
                <a:cubicBezTo>
                  <a:pt x="1907" y="584"/>
                  <a:pt x="1907" y="584"/>
                  <a:pt x="1907" y="584"/>
                </a:cubicBezTo>
                <a:cubicBezTo>
                  <a:pt x="1910" y="584"/>
                  <a:pt x="1910" y="584"/>
                  <a:pt x="1910" y="584"/>
                </a:cubicBezTo>
                <a:cubicBezTo>
                  <a:pt x="1912" y="582"/>
                  <a:pt x="1912" y="582"/>
                  <a:pt x="1912" y="582"/>
                </a:cubicBezTo>
                <a:cubicBezTo>
                  <a:pt x="1916" y="582"/>
                  <a:pt x="1916" y="582"/>
                  <a:pt x="1916" y="582"/>
                </a:cubicBezTo>
                <a:cubicBezTo>
                  <a:pt x="1920" y="584"/>
                  <a:pt x="1920" y="584"/>
                  <a:pt x="1920" y="584"/>
                </a:cubicBezTo>
                <a:cubicBezTo>
                  <a:pt x="1922" y="583"/>
                  <a:pt x="1922" y="583"/>
                  <a:pt x="1922" y="583"/>
                </a:cubicBezTo>
                <a:cubicBezTo>
                  <a:pt x="1928" y="583"/>
                  <a:pt x="1928" y="583"/>
                  <a:pt x="1928" y="583"/>
                </a:cubicBezTo>
                <a:cubicBezTo>
                  <a:pt x="1934" y="581"/>
                  <a:pt x="1934" y="581"/>
                  <a:pt x="1934" y="581"/>
                </a:cubicBezTo>
                <a:cubicBezTo>
                  <a:pt x="1936" y="580"/>
                  <a:pt x="1936" y="580"/>
                  <a:pt x="1936" y="580"/>
                </a:cubicBezTo>
                <a:cubicBezTo>
                  <a:pt x="1938" y="581"/>
                  <a:pt x="1938" y="581"/>
                  <a:pt x="1938" y="581"/>
                </a:cubicBezTo>
                <a:cubicBezTo>
                  <a:pt x="1941" y="585"/>
                  <a:pt x="1941" y="585"/>
                  <a:pt x="1941" y="585"/>
                </a:cubicBezTo>
                <a:cubicBezTo>
                  <a:pt x="1941" y="588"/>
                  <a:pt x="1941" y="588"/>
                  <a:pt x="1941" y="588"/>
                </a:cubicBezTo>
                <a:cubicBezTo>
                  <a:pt x="1946" y="589"/>
                  <a:pt x="1946" y="589"/>
                  <a:pt x="1946" y="589"/>
                </a:cubicBezTo>
                <a:cubicBezTo>
                  <a:pt x="1947" y="592"/>
                  <a:pt x="1947" y="592"/>
                  <a:pt x="1947" y="592"/>
                </a:cubicBezTo>
                <a:cubicBezTo>
                  <a:pt x="1948" y="594"/>
                  <a:pt x="1948" y="594"/>
                  <a:pt x="1948" y="594"/>
                </a:cubicBezTo>
                <a:cubicBezTo>
                  <a:pt x="1949" y="597"/>
                  <a:pt x="1947" y="595"/>
                  <a:pt x="1950" y="598"/>
                </a:cubicBezTo>
                <a:cubicBezTo>
                  <a:pt x="1953" y="600"/>
                  <a:pt x="1952" y="600"/>
                  <a:pt x="1955" y="600"/>
                </a:cubicBezTo>
                <a:cubicBezTo>
                  <a:pt x="1956" y="600"/>
                  <a:pt x="1957" y="599"/>
                  <a:pt x="1957" y="599"/>
                </a:cubicBezTo>
                <a:cubicBezTo>
                  <a:pt x="1958" y="598"/>
                  <a:pt x="1958" y="598"/>
                  <a:pt x="1958" y="598"/>
                </a:cubicBezTo>
                <a:cubicBezTo>
                  <a:pt x="1956" y="602"/>
                  <a:pt x="1956" y="602"/>
                  <a:pt x="1956" y="602"/>
                </a:cubicBezTo>
                <a:cubicBezTo>
                  <a:pt x="1960" y="601"/>
                  <a:pt x="1959" y="601"/>
                  <a:pt x="1963" y="599"/>
                </a:cubicBezTo>
                <a:cubicBezTo>
                  <a:pt x="1963" y="599"/>
                  <a:pt x="1963" y="599"/>
                  <a:pt x="1963" y="599"/>
                </a:cubicBezTo>
                <a:cubicBezTo>
                  <a:pt x="1960" y="601"/>
                  <a:pt x="1960" y="601"/>
                  <a:pt x="1960" y="601"/>
                </a:cubicBezTo>
                <a:cubicBezTo>
                  <a:pt x="1960" y="603"/>
                  <a:pt x="1960" y="606"/>
                  <a:pt x="1962" y="607"/>
                </a:cubicBezTo>
                <a:cubicBezTo>
                  <a:pt x="1963" y="608"/>
                  <a:pt x="1967" y="610"/>
                  <a:pt x="1968" y="611"/>
                </a:cubicBezTo>
                <a:cubicBezTo>
                  <a:pt x="1973" y="612"/>
                  <a:pt x="1971" y="612"/>
                  <a:pt x="1974" y="611"/>
                </a:cubicBezTo>
                <a:cubicBezTo>
                  <a:pt x="1977" y="610"/>
                  <a:pt x="1977" y="610"/>
                  <a:pt x="1977" y="610"/>
                </a:cubicBezTo>
                <a:cubicBezTo>
                  <a:pt x="1978" y="608"/>
                  <a:pt x="1978" y="608"/>
                  <a:pt x="1978" y="608"/>
                </a:cubicBezTo>
                <a:cubicBezTo>
                  <a:pt x="1979" y="607"/>
                  <a:pt x="1979" y="607"/>
                  <a:pt x="1979" y="607"/>
                </a:cubicBezTo>
                <a:cubicBezTo>
                  <a:pt x="1980" y="609"/>
                  <a:pt x="1980" y="609"/>
                  <a:pt x="1980" y="609"/>
                </a:cubicBezTo>
                <a:cubicBezTo>
                  <a:pt x="1978" y="610"/>
                  <a:pt x="1978" y="610"/>
                  <a:pt x="1978" y="610"/>
                </a:cubicBezTo>
                <a:cubicBezTo>
                  <a:pt x="1978" y="612"/>
                  <a:pt x="1978" y="612"/>
                  <a:pt x="1978" y="612"/>
                </a:cubicBezTo>
                <a:cubicBezTo>
                  <a:pt x="1976" y="614"/>
                  <a:pt x="1976" y="614"/>
                  <a:pt x="1976" y="614"/>
                </a:cubicBezTo>
                <a:cubicBezTo>
                  <a:pt x="1971" y="615"/>
                  <a:pt x="1971" y="615"/>
                  <a:pt x="1971" y="615"/>
                </a:cubicBezTo>
                <a:cubicBezTo>
                  <a:pt x="1968" y="617"/>
                  <a:pt x="1968" y="617"/>
                  <a:pt x="1968" y="617"/>
                </a:cubicBezTo>
                <a:cubicBezTo>
                  <a:pt x="1968" y="615"/>
                  <a:pt x="1968" y="615"/>
                  <a:pt x="1968" y="615"/>
                </a:cubicBezTo>
                <a:cubicBezTo>
                  <a:pt x="1966" y="614"/>
                  <a:pt x="1966" y="614"/>
                  <a:pt x="1966" y="614"/>
                </a:cubicBezTo>
                <a:cubicBezTo>
                  <a:pt x="1965" y="615"/>
                  <a:pt x="1965" y="615"/>
                  <a:pt x="1965" y="615"/>
                </a:cubicBezTo>
                <a:cubicBezTo>
                  <a:pt x="1967" y="619"/>
                  <a:pt x="1967" y="619"/>
                  <a:pt x="1967" y="619"/>
                </a:cubicBezTo>
                <a:cubicBezTo>
                  <a:pt x="1976" y="627"/>
                  <a:pt x="1976" y="627"/>
                  <a:pt x="1976" y="627"/>
                </a:cubicBezTo>
                <a:cubicBezTo>
                  <a:pt x="1982" y="633"/>
                  <a:pt x="1978" y="631"/>
                  <a:pt x="1986" y="634"/>
                </a:cubicBezTo>
                <a:cubicBezTo>
                  <a:pt x="1988" y="633"/>
                  <a:pt x="1995" y="629"/>
                  <a:pt x="1996" y="628"/>
                </a:cubicBezTo>
                <a:cubicBezTo>
                  <a:pt x="1998" y="626"/>
                  <a:pt x="1998" y="626"/>
                  <a:pt x="1998" y="626"/>
                </a:cubicBezTo>
                <a:cubicBezTo>
                  <a:pt x="1998" y="624"/>
                  <a:pt x="1998" y="624"/>
                  <a:pt x="1998" y="624"/>
                </a:cubicBezTo>
                <a:cubicBezTo>
                  <a:pt x="1997" y="622"/>
                  <a:pt x="1997" y="622"/>
                  <a:pt x="1997" y="622"/>
                </a:cubicBezTo>
                <a:cubicBezTo>
                  <a:pt x="1996" y="622"/>
                  <a:pt x="1996" y="622"/>
                  <a:pt x="1996" y="622"/>
                </a:cubicBezTo>
                <a:cubicBezTo>
                  <a:pt x="1995" y="622"/>
                  <a:pt x="1995" y="622"/>
                  <a:pt x="1995" y="622"/>
                </a:cubicBezTo>
                <a:cubicBezTo>
                  <a:pt x="1997" y="621"/>
                  <a:pt x="1997" y="621"/>
                  <a:pt x="1997" y="621"/>
                </a:cubicBezTo>
                <a:cubicBezTo>
                  <a:pt x="1998" y="618"/>
                  <a:pt x="1998" y="618"/>
                  <a:pt x="1998" y="618"/>
                </a:cubicBezTo>
                <a:cubicBezTo>
                  <a:pt x="1998" y="616"/>
                  <a:pt x="1998" y="616"/>
                  <a:pt x="1998" y="616"/>
                </a:cubicBezTo>
                <a:cubicBezTo>
                  <a:pt x="2004" y="617"/>
                  <a:pt x="2004" y="617"/>
                  <a:pt x="2004" y="617"/>
                </a:cubicBezTo>
                <a:cubicBezTo>
                  <a:pt x="2002" y="617"/>
                  <a:pt x="2002" y="617"/>
                  <a:pt x="2000" y="619"/>
                </a:cubicBezTo>
                <a:cubicBezTo>
                  <a:pt x="2000" y="620"/>
                  <a:pt x="2000" y="620"/>
                  <a:pt x="2000" y="620"/>
                </a:cubicBezTo>
                <a:cubicBezTo>
                  <a:pt x="2001" y="621"/>
                  <a:pt x="2001" y="621"/>
                  <a:pt x="2001" y="621"/>
                </a:cubicBezTo>
                <a:cubicBezTo>
                  <a:pt x="2001" y="623"/>
                  <a:pt x="2001" y="623"/>
                  <a:pt x="2001" y="623"/>
                </a:cubicBezTo>
                <a:cubicBezTo>
                  <a:pt x="2004" y="623"/>
                  <a:pt x="2004" y="623"/>
                  <a:pt x="2004" y="623"/>
                </a:cubicBezTo>
                <a:cubicBezTo>
                  <a:pt x="2001" y="625"/>
                  <a:pt x="2001" y="625"/>
                  <a:pt x="2001" y="625"/>
                </a:cubicBezTo>
                <a:cubicBezTo>
                  <a:pt x="2002" y="628"/>
                  <a:pt x="2002" y="628"/>
                  <a:pt x="2002" y="628"/>
                </a:cubicBezTo>
                <a:cubicBezTo>
                  <a:pt x="2004" y="629"/>
                  <a:pt x="2004" y="629"/>
                  <a:pt x="2004" y="629"/>
                </a:cubicBezTo>
                <a:cubicBezTo>
                  <a:pt x="2006" y="633"/>
                  <a:pt x="2006" y="633"/>
                  <a:pt x="2006" y="633"/>
                </a:cubicBezTo>
                <a:cubicBezTo>
                  <a:pt x="2005" y="637"/>
                  <a:pt x="2005" y="637"/>
                  <a:pt x="2005" y="637"/>
                </a:cubicBezTo>
                <a:cubicBezTo>
                  <a:pt x="2004" y="642"/>
                  <a:pt x="2004" y="642"/>
                  <a:pt x="2004" y="642"/>
                </a:cubicBezTo>
                <a:cubicBezTo>
                  <a:pt x="2003" y="644"/>
                  <a:pt x="2006" y="646"/>
                  <a:pt x="2006" y="648"/>
                </a:cubicBezTo>
                <a:cubicBezTo>
                  <a:pt x="2007" y="651"/>
                  <a:pt x="2006" y="655"/>
                  <a:pt x="2007" y="659"/>
                </a:cubicBezTo>
                <a:cubicBezTo>
                  <a:pt x="2008" y="663"/>
                  <a:pt x="2011" y="667"/>
                  <a:pt x="2012" y="672"/>
                </a:cubicBezTo>
                <a:cubicBezTo>
                  <a:pt x="2014" y="676"/>
                  <a:pt x="2013" y="681"/>
                  <a:pt x="2015" y="686"/>
                </a:cubicBezTo>
                <a:cubicBezTo>
                  <a:pt x="2016" y="689"/>
                  <a:pt x="2018" y="691"/>
                  <a:pt x="2020" y="693"/>
                </a:cubicBezTo>
                <a:cubicBezTo>
                  <a:pt x="2020" y="695"/>
                  <a:pt x="2020" y="696"/>
                  <a:pt x="2021" y="698"/>
                </a:cubicBezTo>
                <a:cubicBezTo>
                  <a:pt x="2022" y="699"/>
                  <a:pt x="2024" y="699"/>
                  <a:pt x="2025" y="700"/>
                </a:cubicBezTo>
                <a:cubicBezTo>
                  <a:pt x="2030" y="708"/>
                  <a:pt x="2030" y="721"/>
                  <a:pt x="2035" y="730"/>
                </a:cubicBezTo>
                <a:cubicBezTo>
                  <a:pt x="2035" y="731"/>
                  <a:pt x="2036" y="730"/>
                  <a:pt x="2037" y="731"/>
                </a:cubicBezTo>
                <a:cubicBezTo>
                  <a:pt x="2038" y="733"/>
                  <a:pt x="2040" y="735"/>
                  <a:pt x="2041" y="737"/>
                </a:cubicBezTo>
                <a:cubicBezTo>
                  <a:pt x="2042" y="738"/>
                  <a:pt x="2041" y="739"/>
                  <a:pt x="2042" y="740"/>
                </a:cubicBezTo>
                <a:cubicBezTo>
                  <a:pt x="2043" y="745"/>
                  <a:pt x="2046" y="748"/>
                  <a:pt x="2048" y="752"/>
                </a:cubicBezTo>
                <a:cubicBezTo>
                  <a:pt x="2049" y="757"/>
                  <a:pt x="2047" y="758"/>
                  <a:pt x="2048" y="759"/>
                </a:cubicBezTo>
                <a:cubicBezTo>
                  <a:pt x="2048" y="761"/>
                  <a:pt x="2049" y="763"/>
                  <a:pt x="2050" y="764"/>
                </a:cubicBezTo>
                <a:cubicBezTo>
                  <a:pt x="2051" y="765"/>
                  <a:pt x="2051" y="767"/>
                  <a:pt x="2051" y="768"/>
                </a:cubicBezTo>
                <a:cubicBezTo>
                  <a:pt x="2052" y="769"/>
                  <a:pt x="2054" y="769"/>
                  <a:pt x="2055" y="770"/>
                </a:cubicBezTo>
                <a:cubicBezTo>
                  <a:pt x="2056" y="771"/>
                  <a:pt x="2055" y="772"/>
                  <a:pt x="2056" y="773"/>
                </a:cubicBezTo>
                <a:cubicBezTo>
                  <a:pt x="2059" y="775"/>
                  <a:pt x="2062" y="774"/>
                  <a:pt x="2065" y="772"/>
                </a:cubicBezTo>
                <a:cubicBezTo>
                  <a:pt x="2067" y="770"/>
                  <a:pt x="2066" y="765"/>
                  <a:pt x="2067" y="764"/>
                </a:cubicBezTo>
                <a:cubicBezTo>
                  <a:pt x="2068" y="763"/>
                  <a:pt x="2069" y="763"/>
                  <a:pt x="2070" y="763"/>
                </a:cubicBezTo>
                <a:cubicBezTo>
                  <a:pt x="2071" y="762"/>
                  <a:pt x="2071" y="761"/>
                  <a:pt x="2072" y="761"/>
                </a:cubicBezTo>
                <a:cubicBezTo>
                  <a:pt x="2072" y="761"/>
                  <a:pt x="2074" y="762"/>
                  <a:pt x="2074" y="761"/>
                </a:cubicBezTo>
                <a:cubicBezTo>
                  <a:pt x="2074" y="760"/>
                  <a:pt x="2073" y="759"/>
                  <a:pt x="2073" y="759"/>
                </a:cubicBezTo>
                <a:cubicBezTo>
                  <a:pt x="2073" y="757"/>
                  <a:pt x="2074" y="756"/>
                  <a:pt x="2075" y="755"/>
                </a:cubicBezTo>
                <a:cubicBezTo>
                  <a:pt x="2076" y="754"/>
                  <a:pt x="2076" y="752"/>
                  <a:pt x="2076" y="751"/>
                </a:cubicBezTo>
                <a:cubicBezTo>
                  <a:pt x="2078" y="748"/>
                  <a:pt x="2081" y="750"/>
                  <a:pt x="2082" y="749"/>
                </a:cubicBezTo>
                <a:cubicBezTo>
                  <a:pt x="2083" y="748"/>
                  <a:pt x="2081" y="747"/>
                  <a:pt x="2081" y="746"/>
                </a:cubicBezTo>
                <a:cubicBezTo>
                  <a:pt x="2081" y="743"/>
                  <a:pt x="2082" y="739"/>
                  <a:pt x="2081" y="737"/>
                </a:cubicBezTo>
                <a:cubicBezTo>
                  <a:pt x="2081" y="736"/>
                  <a:pt x="2080" y="735"/>
                  <a:pt x="2080" y="735"/>
                </a:cubicBezTo>
                <a:cubicBezTo>
                  <a:pt x="2080" y="729"/>
                  <a:pt x="2083" y="728"/>
                  <a:pt x="2084" y="726"/>
                </a:cubicBezTo>
                <a:cubicBezTo>
                  <a:pt x="2085" y="724"/>
                  <a:pt x="2085" y="717"/>
                  <a:pt x="2084" y="715"/>
                </a:cubicBezTo>
                <a:cubicBezTo>
                  <a:pt x="2084" y="714"/>
                  <a:pt x="2082" y="715"/>
                  <a:pt x="2081" y="714"/>
                </a:cubicBezTo>
                <a:cubicBezTo>
                  <a:pt x="2081" y="714"/>
                  <a:pt x="2081" y="713"/>
                  <a:pt x="2081" y="712"/>
                </a:cubicBezTo>
                <a:cubicBezTo>
                  <a:pt x="2082" y="712"/>
                  <a:pt x="2084" y="714"/>
                  <a:pt x="2083" y="709"/>
                </a:cubicBezTo>
                <a:cubicBezTo>
                  <a:pt x="2082" y="708"/>
                  <a:pt x="2081" y="708"/>
                  <a:pt x="2081" y="707"/>
                </a:cubicBezTo>
                <a:cubicBezTo>
                  <a:pt x="2081" y="706"/>
                  <a:pt x="2082" y="705"/>
                  <a:pt x="2082" y="704"/>
                </a:cubicBezTo>
                <a:cubicBezTo>
                  <a:pt x="2083" y="699"/>
                  <a:pt x="2080" y="701"/>
                  <a:pt x="2080" y="694"/>
                </a:cubicBezTo>
                <a:cubicBezTo>
                  <a:pt x="2081" y="692"/>
                  <a:pt x="2080" y="690"/>
                  <a:pt x="2081" y="689"/>
                </a:cubicBezTo>
                <a:cubicBezTo>
                  <a:pt x="2083" y="688"/>
                  <a:pt x="2086" y="689"/>
                  <a:pt x="2088" y="688"/>
                </a:cubicBezTo>
                <a:cubicBezTo>
                  <a:pt x="2091" y="688"/>
                  <a:pt x="2089" y="686"/>
                  <a:pt x="2090" y="684"/>
                </a:cubicBezTo>
                <a:cubicBezTo>
                  <a:pt x="2090" y="683"/>
                  <a:pt x="2091" y="683"/>
                  <a:pt x="2091" y="682"/>
                </a:cubicBezTo>
                <a:cubicBezTo>
                  <a:pt x="2093" y="683"/>
                  <a:pt x="2094" y="683"/>
                  <a:pt x="2095" y="682"/>
                </a:cubicBezTo>
                <a:cubicBezTo>
                  <a:pt x="2096" y="681"/>
                  <a:pt x="2100" y="680"/>
                  <a:pt x="2102" y="679"/>
                </a:cubicBezTo>
                <a:cubicBezTo>
                  <a:pt x="2101" y="678"/>
                  <a:pt x="2101" y="678"/>
                  <a:pt x="2100" y="677"/>
                </a:cubicBezTo>
                <a:cubicBezTo>
                  <a:pt x="2100" y="676"/>
                  <a:pt x="2099" y="676"/>
                  <a:pt x="2099" y="675"/>
                </a:cubicBezTo>
                <a:cubicBezTo>
                  <a:pt x="2099" y="673"/>
                  <a:pt x="2103" y="672"/>
                  <a:pt x="2103" y="672"/>
                </a:cubicBezTo>
                <a:cubicBezTo>
                  <a:pt x="2110" y="666"/>
                  <a:pt x="2107" y="666"/>
                  <a:pt x="2109" y="665"/>
                </a:cubicBezTo>
                <a:cubicBezTo>
                  <a:pt x="2111" y="663"/>
                  <a:pt x="2117" y="661"/>
                  <a:pt x="2119" y="658"/>
                </a:cubicBezTo>
                <a:cubicBezTo>
                  <a:pt x="2120" y="656"/>
                  <a:pt x="2119" y="654"/>
                  <a:pt x="2120" y="652"/>
                </a:cubicBezTo>
                <a:cubicBezTo>
                  <a:pt x="2121" y="651"/>
                  <a:pt x="2122" y="649"/>
                  <a:pt x="2124" y="648"/>
                </a:cubicBezTo>
                <a:cubicBezTo>
                  <a:pt x="2124" y="648"/>
                  <a:pt x="2125" y="648"/>
                  <a:pt x="2126" y="647"/>
                </a:cubicBezTo>
                <a:cubicBezTo>
                  <a:pt x="2126" y="647"/>
                  <a:pt x="2126" y="647"/>
                  <a:pt x="2126" y="646"/>
                </a:cubicBezTo>
                <a:cubicBezTo>
                  <a:pt x="2126" y="646"/>
                  <a:pt x="2124" y="646"/>
                  <a:pt x="2124" y="645"/>
                </a:cubicBezTo>
                <a:cubicBezTo>
                  <a:pt x="2124" y="645"/>
                  <a:pt x="2125" y="644"/>
                  <a:pt x="2126" y="643"/>
                </a:cubicBezTo>
                <a:cubicBezTo>
                  <a:pt x="2126" y="643"/>
                  <a:pt x="2127" y="643"/>
                  <a:pt x="2128" y="643"/>
                </a:cubicBezTo>
                <a:cubicBezTo>
                  <a:pt x="2128" y="646"/>
                  <a:pt x="2127" y="645"/>
                  <a:pt x="2129" y="645"/>
                </a:cubicBezTo>
                <a:cubicBezTo>
                  <a:pt x="2130" y="644"/>
                  <a:pt x="2131" y="645"/>
                  <a:pt x="2132" y="644"/>
                </a:cubicBezTo>
                <a:cubicBezTo>
                  <a:pt x="2136" y="643"/>
                  <a:pt x="2132" y="641"/>
                  <a:pt x="2133" y="641"/>
                </a:cubicBezTo>
                <a:cubicBezTo>
                  <a:pt x="2133" y="640"/>
                  <a:pt x="2134" y="642"/>
                  <a:pt x="2135" y="642"/>
                </a:cubicBezTo>
                <a:cubicBezTo>
                  <a:pt x="2135" y="642"/>
                  <a:pt x="2135" y="641"/>
                  <a:pt x="2135" y="640"/>
                </a:cubicBezTo>
                <a:cubicBezTo>
                  <a:pt x="2136" y="640"/>
                  <a:pt x="2137" y="640"/>
                  <a:pt x="2137" y="640"/>
                </a:cubicBezTo>
                <a:cubicBezTo>
                  <a:pt x="2138" y="638"/>
                  <a:pt x="2138" y="637"/>
                  <a:pt x="2138" y="636"/>
                </a:cubicBezTo>
                <a:cubicBezTo>
                  <a:pt x="2140" y="635"/>
                  <a:pt x="2140" y="635"/>
                  <a:pt x="2140" y="635"/>
                </a:cubicBezTo>
                <a:cubicBezTo>
                  <a:pt x="2139" y="630"/>
                  <a:pt x="2139" y="633"/>
                  <a:pt x="2138" y="627"/>
                </a:cubicBezTo>
                <a:cubicBezTo>
                  <a:pt x="2141" y="625"/>
                  <a:pt x="2141" y="625"/>
                  <a:pt x="2141" y="625"/>
                </a:cubicBezTo>
                <a:cubicBezTo>
                  <a:pt x="2141" y="625"/>
                  <a:pt x="2144" y="624"/>
                  <a:pt x="2144" y="624"/>
                </a:cubicBezTo>
                <a:cubicBezTo>
                  <a:pt x="2146" y="624"/>
                  <a:pt x="2147" y="623"/>
                  <a:pt x="2148" y="622"/>
                </a:cubicBezTo>
                <a:cubicBezTo>
                  <a:pt x="2147" y="619"/>
                  <a:pt x="2147" y="619"/>
                  <a:pt x="2147" y="616"/>
                </a:cubicBezTo>
                <a:cubicBezTo>
                  <a:pt x="2148" y="622"/>
                  <a:pt x="2148" y="622"/>
                  <a:pt x="2148" y="622"/>
                </a:cubicBezTo>
                <a:cubicBezTo>
                  <a:pt x="2150" y="624"/>
                  <a:pt x="2150" y="624"/>
                  <a:pt x="2150" y="624"/>
                </a:cubicBezTo>
                <a:cubicBezTo>
                  <a:pt x="2153" y="621"/>
                  <a:pt x="2152" y="622"/>
                  <a:pt x="2153" y="618"/>
                </a:cubicBezTo>
                <a:cubicBezTo>
                  <a:pt x="2154" y="617"/>
                  <a:pt x="2154" y="617"/>
                  <a:pt x="2154" y="617"/>
                </a:cubicBezTo>
                <a:cubicBezTo>
                  <a:pt x="2154" y="622"/>
                  <a:pt x="2154" y="622"/>
                  <a:pt x="2154" y="622"/>
                </a:cubicBezTo>
                <a:cubicBezTo>
                  <a:pt x="2156" y="621"/>
                  <a:pt x="2156" y="621"/>
                  <a:pt x="2156" y="621"/>
                </a:cubicBezTo>
                <a:cubicBezTo>
                  <a:pt x="2157" y="620"/>
                  <a:pt x="2157" y="619"/>
                  <a:pt x="2157" y="619"/>
                </a:cubicBezTo>
                <a:cubicBezTo>
                  <a:pt x="2157" y="619"/>
                  <a:pt x="2157" y="619"/>
                  <a:pt x="2157" y="619"/>
                </a:cubicBezTo>
                <a:cubicBezTo>
                  <a:pt x="2157" y="620"/>
                  <a:pt x="2156" y="622"/>
                  <a:pt x="2156" y="622"/>
                </a:cubicBezTo>
                <a:cubicBezTo>
                  <a:pt x="2156" y="623"/>
                  <a:pt x="2158" y="622"/>
                  <a:pt x="2159" y="622"/>
                </a:cubicBezTo>
                <a:cubicBezTo>
                  <a:pt x="2159" y="623"/>
                  <a:pt x="2159" y="624"/>
                  <a:pt x="2159" y="624"/>
                </a:cubicBezTo>
                <a:cubicBezTo>
                  <a:pt x="2161" y="624"/>
                  <a:pt x="2161" y="621"/>
                  <a:pt x="2161" y="621"/>
                </a:cubicBezTo>
                <a:cubicBezTo>
                  <a:pt x="2163" y="620"/>
                  <a:pt x="2163" y="618"/>
                  <a:pt x="2165" y="621"/>
                </a:cubicBezTo>
                <a:cubicBezTo>
                  <a:pt x="2165" y="621"/>
                  <a:pt x="2167" y="621"/>
                  <a:pt x="2169" y="621"/>
                </a:cubicBezTo>
                <a:cubicBezTo>
                  <a:pt x="2171" y="621"/>
                  <a:pt x="2171" y="620"/>
                  <a:pt x="2172" y="620"/>
                </a:cubicBezTo>
                <a:cubicBezTo>
                  <a:pt x="2173" y="619"/>
                  <a:pt x="2172" y="619"/>
                  <a:pt x="2173" y="618"/>
                </a:cubicBezTo>
                <a:cubicBezTo>
                  <a:pt x="2174" y="615"/>
                  <a:pt x="2173" y="614"/>
                  <a:pt x="2171" y="610"/>
                </a:cubicBezTo>
                <a:cubicBezTo>
                  <a:pt x="2171" y="610"/>
                  <a:pt x="2169" y="607"/>
                  <a:pt x="2168" y="607"/>
                </a:cubicBezTo>
                <a:cubicBezTo>
                  <a:pt x="2168" y="606"/>
                  <a:pt x="2169" y="604"/>
                  <a:pt x="2169" y="604"/>
                </a:cubicBezTo>
                <a:cubicBezTo>
                  <a:pt x="2169" y="602"/>
                  <a:pt x="2169" y="602"/>
                  <a:pt x="2169" y="602"/>
                </a:cubicBezTo>
                <a:cubicBezTo>
                  <a:pt x="2170" y="604"/>
                  <a:pt x="2171" y="605"/>
                  <a:pt x="2171" y="607"/>
                </a:cubicBezTo>
                <a:cubicBezTo>
                  <a:pt x="2171" y="610"/>
                  <a:pt x="2176" y="612"/>
                  <a:pt x="2176" y="612"/>
                </a:cubicBezTo>
                <a:cubicBezTo>
                  <a:pt x="2180" y="612"/>
                  <a:pt x="2180" y="612"/>
                  <a:pt x="2180" y="612"/>
                </a:cubicBezTo>
                <a:cubicBezTo>
                  <a:pt x="2184" y="616"/>
                  <a:pt x="2184" y="616"/>
                  <a:pt x="2184" y="616"/>
                </a:cubicBezTo>
                <a:cubicBezTo>
                  <a:pt x="2184" y="617"/>
                  <a:pt x="2186" y="622"/>
                  <a:pt x="2186" y="623"/>
                </a:cubicBezTo>
                <a:cubicBezTo>
                  <a:pt x="2186" y="625"/>
                  <a:pt x="2188" y="626"/>
                  <a:pt x="2188" y="626"/>
                </a:cubicBezTo>
                <a:cubicBezTo>
                  <a:pt x="2188" y="626"/>
                  <a:pt x="2189" y="631"/>
                  <a:pt x="2189" y="632"/>
                </a:cubicBezTo>
                <a:cubicBezTo>
                  <a:pt x="2189" y="632"/>
                  <a:pt x="2190" y="632"/>
                  <a:pt x="2191" y="632"/>
                </a:cubicBezTo>
                <a:cubicBezTo>
                  <a:pt x="2191" y="634"/>
                  <a:pt x="2191" y="634"/>
                  <a:pt x="2191" y="634"/>
                </a:cubicBezTo>
                <a:cubicBezTo>
                  <a:pt x="2194" y="639"/>
                  <a:pt x="2194" y="639"/>
                  <a:pt x="2194" y="639"/>
                </a:cubicBezTo>
                <a:cubicBezTo>
                  <a:pt x="2197" y="641"/>
                  <a:pt x="2197" y="641"/>
                  <a:pt x="2197" y="641"/>
                </a:cubicBezTo>
                <a:cubicBezTo>
                  <a:pt x="2198" y="644"/>
                  <a:pt x="2198" y="644"/>
                  <a:pt x="2198" y="644"/>
                </a:cubicBezTo>
                <a:cubicBezTo>
                  <a:pt x="2200" y="644"/>
                  <a:pt x="2200" y="644"/>
                  <a:pt x="2200" y="644"/>
                </a:cubicBezTo>
                <a:cubicBezTo>
                  <a:pt x="2200" y="643"/>
                  <a:pt x="2200" y="643"/>
                  <a:pt x="2201" y="641"/>
                </a:cubicBezTo>
                <a:cubicBezTo>
                  <a:pt x="2204" y="643"/>
                  <a:pt x="2204" y="643"/>
                  <a:pt x="2204" y="643"/>
                </a:cubicBezTo>
                <a:cubicBezTo>
                  <a:pt x="2204" y="646"/>
                  <a:pt x="2204" y="646"/>
                  <a:pt x="2204" y="646"/>
                </a:cubicBezTo>
                <a:cubicBezTo>
                  <a:pt x="2208" y="648"/>
                  <a:pt x="2208" y="648"/>
                  <a:pt x="2208" y="648"/>
                </a:cubicBezTo>
                <a:cubicBezTo>
                  <a:pt x="2210" y="649"/>
                  <a:pt x="2210" y="649"/>
                  <a:pt x="2210" y="649"/>
                </a:cubicBezTo>
                <a:cubicBezTo>
                  <a:pt x="2210" y="652"/>
                  <a:pt x="2210" y="652"/>
                  <a:pt x="2210" y="652"/>
                </a:cubicBezTo>
                <a:cubicBezTo>
                  <a:pt x="2209" y="651"/>
                  <a:pt x="2209" y="651"/>
                  <a:pt x="2209" y="651"/>
                </a:cubicBezTo>
                <a:cubicBezTo>
                  <a:pt x="2208" y="651"/>
                  <a:pt x="2208" y="651"/>
                  <a:pt x="2208" y="651"/>
                </a:cubicBezTo>
                <a:cubicBezTo>
                  <a:pt x="2207" y="650"/>
                  <a:pt x="2206" y="650"/>
                  <a:pt x="2205" y="649"/>
                </a:cubicBezTo>
                <a:cubicBezTo>
                  <a:pt x="2204" y="650"/>
                  <a:pt x="2204" y="650"/>
                  <a:pt x="2204" y="650"/>
                </a:cubicBezTo>
                <a:cubicBezTo>
                  <a:pt x="2205" y="651"/>
                  <a:pt x="2205" y="651"/>
                  <a:pt x="2205" y="651"/>
                </a:cubicBezTo>
                <a:cubicBezTo>
                  <a:pt x="2208" y="654"/>
                  <a:pt x="2208" y="654"/>
                  <a:pt x="2208" y="654"/>
                </a:cubicBezTo>
                <a:cubicBezTo>
                  <a:pt x="2209" y="654"/>
                  <a:pt x="2209" y="654"/>
                  <a:pt x="2209" y="654"/>
                </a:cubicBezTo>
                <a:cubicBezTo>
                  <a:pt x="2210" y="653"/>
                  <a:pt x="2210" y="653"/>
                  <a:pt x="2210" y="653"/>
                </a:cubicBezTo>
                <a:cubicBezTo>
                  <a:pt x="2210" y="655"/>
                  <a:pt x="2210" y="655"/>
                  <a:pt x="2210" y="655"/>
                </a:cubicBezTo>
                <a:cubicBezTo>
                  <a:pt x="2212" y="657"/>
                  <a:pt x="2212" y="657"/>
                  <a:pt x="2212" y="657"/>
                </a:cubicBezTo>
                <a:cubicBezTo>
                  <a:pt x="2213" y="658"/>
                  <a:pt x="2214" y="663"/>
                  <a:pt x="2215" y="665"/>
                </a:cubicBezTo>
                <a:cubicBezTo>
                  <a:pt x="2216" y="665"/>
                  <a:pt x="2217" y="669"/>
                  <a:pt x="2217" y="669"/>
                </a:cubicBezTo>
                <a:cubicBezTo>
                  <a:pt x="2216" y="677"/>
                  <a:pt x="2216" y="677"/>
                  <a:pt x="2216" y="677"/>
                </a:cubicBezTo>
                <a:cubicBezTo>
                  <a:pt x="2215" y="680"/>
                  <a:pt x="2215" y="680"/>
                  <a:pt x="2215" y="680"/>
                </a:cubicBezTo>
                <a:cubicBezTo>
                  <a:pt x="2214" y="683"/>
                  <a:pt x="2214" y="683"/>
                  <a:pt x="2214" y="683"/>
                </a:cubicBezTo>
                <a:cubicBezTo>
                  <a:pt x="2214" y="683"/>
                  <a:pt x="2216" y="686"/>
                  <a:pt x="2217" y="686"/>
                </a:cubicBezTo>
                <a:cubicBezTo>
                  <a:pt x="2217" y="685"/>
                  <a:pt x="2218" y="683"/>
                  <a:pt x="2219" y="683"/>
                </a:cubicBezTo>
                <a:cubicBezTo>
                  <a:pt x="2220" y="682"/>
                  <a:pt x="2220" y="682"/>
                  <a:pt x="2220" y="682"/>
                </a:cubicBezTo>
                <a:cubicBezTo>
                  <a:pt x="2219" y="685"/>
                  <a:pt x="2219" y="684"/>
                  <a:pt x="2219" y="688"/>
                </a:cubicBezTo>
                <a:cubicBezTo>
                  <a:pt x="2221" y="689"/>
                  <a:pt x="2221" y="689"/>
                  <a:pt x="2221" y="689"/>
                </a:cubicBezTo>
                <a:cubicBezTo>
                  <a:pt x="2223" y="685"/>
                  <a:pt x="2223" y="685"/>
                  <a:pt x="2223" y="685"/>
                </a:cubicBezTo>
                <a:cubicBezTo>
                  <a:pt x="2222" y="689"/>
                  <a:pt x="2222" y="689"/>
                  <a:pt x="2222" y="689"/>
                </a:cubicBezTo>
                <a:cubicBezTo>
                  <a:pt x="2224" y="689"/>
                  <a:pt x="2224" y="689"/>
                  <a:pt x="2224" y="689"/>
                </a:cubicBezTo>
                <a:cubicBezTo>
                  <a:pt x="2224" y="689"/>
                  <a:pt x="2224" y="689"/>
                  <a:pt x="2224" y="689"/>
                </a:cubicBezTo>
                <a:cubicBezTo>
                  <a:pt x="2226" y="686"/>
                  <a:pt x="2226" y="686"/>
                  <a:pt x="2226" y="686"/>
                </a:cubicBezTo>
                <a:cubicBezTo>
                  <a:pt x="2226" y="688"/>
                  <a:pt x="2226" y="688"/>
                  <a:pt x="2226" y="690"/>
                </a:cubicBezTo>
                <a:cubicBezTo>
                  <a:pt x="2231" y="688"/>
                  <a:pt x="2231" y="688"/>
                  <a:pt x="2231" y="688"/>
                </a:cubicBezTo>
                <a:cubicBezTo>
                  <a:pt x="2231" y="685"/>
                  <a:pt x="2231" y="685"/>
                  <a:pt x="2231" y="685"/>
                </a:cubicBezTo>
                <a:cubicBezTo>
                  <a:pt x="2233" y="684"/>
                  <a:pt x="2233" y="683"/>
                  <a:pt x="2234" y="682"/>
                </a:cubicBezTo>
                <a:cubicBezTo>
                  <a:pt x="2236" y="681"/>
                  <a:pt x="2236" y="681"/>
                  <a:pt x="2236" y="681"/>
                </a:cubicBezTo>
                <a:cubicBezTo>
                  <a:pt x="2240" y="680"/>
                  <a:pt x="2240" y="680"/>
                  <a:pt x="2240" y="680"/>
                </a:cubicBezTo>
                <a:cubicBezTo>
                  <a:pt x="2240" y="676"/>
                  <a:pt x="2240" y="675"/>
                  <a:pt x="2240" y="671"/>
                </a:cubicBezTo>
                <a:cubicBezTo>
                  <a:pt x="2241" y="674"/>
                  <a:pt x="2241" y="674"/>
                  <a:pt x="2241" y="674"/>
                </a:cubicBezTo>
                <a:cubicBezTo>
                  <a:pt x="2243" y="675"/>
                  <a:pt x="2243" y="675"/>
                  <a:pt x="2243" y="675"/>
                </a:cubicBezTo>
                <a:cubicBezTo>
                  <a:pt x="2244" y="677"/>
                  <a:pt x="2244" y="677"/>
                  <a:pt x="2244" y="677"/>
                </a:cubicBezTo>
                <a:cubicBezTo>
                  <a:pt x="2246" y="680"/>
                  <a:pt x="2246" y="680"/>
                  <a:pt x="2246" y="680"/>
                </a:cubicBezTo>
                <a:cubicBezTo>
                  <a:pt x="2247" y="681"/>
                  <a:pt x="2247" y="681"/>
                  <a:pt x="2247" y="681"/>
                </a:cubicBezTo>
                <a:cubicBezTo>
                  <a:pt x="2249" y="685"/>
                  <a:pt x="2249" y="685"/>
                  <a:pt x="2249" y="685"/>
                </a:cubicBezTo>
                <a:cubicBezTo>
                  <a:pt x="2249" y="690"/>
                  <a:pt x="2249" y="690"/>
                  <a:pt x="2249" y="690"/>
                </a:cubicBezTo>
                <a:cubicBezTo>
                  <a:pt x="2251" y="692"/>
                  <a:pt x="2251" y="692"/>
                  <a:pt x="2251" y="692"/>
                </a:cubicBezTo>
                <a:cubicBezTo>
                  <a:pt x="2251" y="699"/>
                  <a:pt x="2251" y="699"/>
                  <a:pt x="2251" y="699"/>
                </a:cubicBezTo>
                <a:cubicBezTo>
                  <a:pt x="2252" y="700"/>
                  <a:pt x="2257" y="709"/>
                  <a:pt x="2257" y="709"/>
                </a:cubicBezTo>
                <a:cubicBezTo>
                  <a:pt x="2257" y="710"/>
                  <a:pt x="2258" y="712"/>
                  <a:pt x="2258" y="712"/>
                </a:cubicBezTo>
                <a:cubicBezTo>
                  <a:pt x="2259" y="714"/>
                  <a:pt x="2259" y="714"/>
                  <a:pt x="2259" y="714"/>
                </a:cubicBezTo>
                <a:cubicBezTo>
                  <a:pt x="2261" y="718"/>
                  <a:pt x="2261" y="718"/>
                  <a:pt x="2261" y="718"/>
                </a:cubicBezTo>
                <a:cubicBezTo>
                  <a:pt x="2261" y="720"/>
                  <a:pt x="2261" y="723"/>
                  <a:pt x="2261" y="724"/>
                </a:cubicBezTo>
                <a:cubicBezTo>
                  <a:pt x="2261" y="724"/>
                  <a:pt x="2262" y="728"/>
                  <a:pt x="2262" y="729"/>
                </a:cubicBezTo>
                <a:cubicBezTo>
                  <a:pt x="2262" y="729"/>
                  <a:pt x="2262" y="731"/>
                  <a:pt x="2262" y="731"/>
                </a:cubicBezTo>
                <a:cubicBezTo>
                  <a:pt x="2262" y="731"/>
                  <a:pt x="2262" y="731"/>
                  <a:pt x="2262" y="731"/>
                </a:cubicBezTo>
                <a:cubicBezTo>
                  <a:pt x="2261" y="733"/>
                  <a:pt x="2261" y="733"/>
                  <a:pt x="2261" y="733"/>
                </a:cubicBezTo>
                <a:cubicBezTo>
                  <a:pt x="2260" y="734"/>
                  <a:pt x="2260" y="734"/>
                  <a:pt x="2260" y="734"/>
                </a:cubicBezTo>
                <a:cubicBezTo>
                  <a:pt x="2260" y="734"/>
                  <a:pt x="2259" y="736"/>
                  <a:pt x="2259" y="736"/>
                </a:cubicBezTo>
                <a:cubicBezTo>
                  <a:pt x="2259" y="736"/>
                  <a:pt x="2259" y="737"/>
                  <a:pt x="2259" y="737"/>
                </a:cubicBezTo>
                <a:cubicBezTo>
                  <a:pt x="2260" y="735"/>
                  <a:pt x="2260" y="735"/>
                  <a:pt x="2260" y="735"/>
                </a:cubicBezTo>
                <a:cubicBezTo>
                  <a:pt x="2260" y="735"/>
                  <a:pt x="2260" y="735"/>
                  <a:pt x="2260" y="735"/>
                </a:cubicBezTo>
                <a:cubicBezTo>
                  <a:pt x="2261" y="735"/>
                  <a:pt x="2261" y="735"/>
                  <a:pt x="2262" y="734"/>
                </a:cubicBezTo>
                <a:cubicBezTo>
                  <a:pt x="2262" y="736"/>
                  <a:pt x="2262" y="736"/>
                  <a:pt x="2262" y="736"/>
                </a:cubicBezTo>
                <a:cubicBezTo>
                  <a:pt x="2262" y="734"/>
                  <a:pt x="2262" y="735"/>
                  <a:pt x="2263" y="734"/>
                </a:cubicBezTo>
                <a:cubicBezTo>
                  <a:pt x="2265" y="737"/>
                  <a:pt x="2265" y="736"/>
                  <a:pt x="2264" y="738"/>
                </a:cubicBezTo>
                <a:cubicBezTo>
                  <a:pt x="2263" y="739"/>
                  <a:pt x="2264" y="743"/>
                  <a:pt x="2264" y="744"/>
                </a:cubicBezTo>
                <a:cubicBezTo>
                  <a:pt x="2264" y="744"/>
                  <a:pt x="2263" y="746"/>
                  <a:pt x="2263" y="747"/>
                </a:cubicBezTo>
                <a:cubicBezTo>
                  <a:pt x="2263" y="753"/>
                  <a:pt x="2263" y="753"/>
                  <a:pt x="2263" y="753"/>
                </a:cubicBezTo>
                <a:cubicBezTo>
                  <a:pt x="2264" y="754"/>
                  <a:pt x="2264" y="754"/>
                  <a:pt x="2264" y="754"/>
                </a:cubicBezTo>
                <a:cubicBezTo>
                  <a:pt x="2264" y="753"/>
                  <a:pt x="2265" y="747"/>
                  <a:pt x="2265" y="747"/>
                </a:cubicBezTo>
                <a:cubicBezTo>
                  <a:pt x="2265" y="747"/>
                  <a:pt x="2264" y="753"/>
                  <a:pt x="2264" y="754"/>
                </a:cubicBezTo>
                <a:cubicBezTo>
                  <a:pt x="2263" y="755"/>
                  <a:pt x="2263" y="762"/>
                  <a:pt x="2263" y="762"/>
                </a:cubicBezTo>
                <a:cubicBezTo>
                  <a:pt x="2261" y="765"/>
                  <a:pt x="2261" y="765"/>
                  <a:pt x="2261" y="765"/>
                </a:cubicBezTo>
                <a:cubicBezTo>
                  <a:pt x="2261" y="769"/>
                  <a:pt x="2261" y="769"/>
                  <a:pt x="2261" y="769"/>
                </a:cubicBezTo>
                <a:cubicBezTo>
                  <a:pt x="2261" y="769"/>
                  <a:pt x="2259" y="771"/>
                  <a:pt x="2261" y="771"/>
                </a:cubicBezTo>
                <a:cubicBezTo>
                  <a:pt x="2263" y="772"/>
                  <a:pt x="2263" y="776"/>
                  <a:pt x="2263" y="777"/>
                </a:cubicBezTo>
                <a:cubicBezTo>
                  <a:pt x="2264" y="777"/>
                  <a:pt x="2264" y="777"/>
                  <a:pt x="2264" y="777"/>
                </a:cubicBezTo>
                <a:cubicBezTo>
                  <a:pt x="2264" y="772"/>
                  <a:pt x="2264" y="772"/>
                  <a:pt x="2264" y="772"/>
                </a:cubicBezTo>
                <a:cubicBezTo>
                  <a:pt x="2266" y="772"/>
                  <a:pt x="2266" y="772"/>
                  <a:pt x="2266" y="772"/>
                </a:cubicBezTo>
                <a:cubicBezTo>
                  <a:pt x="2267" y="776"/>
                  <a:pt x="2267" y="776"/>
                  <a:pt x="2267" y="776"/>
                </a:cubicBezTo>
                <a:cubicBezTo>
                  <a:pt x="2269" y="777"/>
                  <a:pt x="2269" y="777"/>
                  <a:pt x="2269" y="777"/>
                </a:cubicBezTo>
                <a:cubicBezTo>
                  <a:pt x="2270" y="781"/>
                  <a:pt x="2270" y="781"/>
                  <a:pt x="2270" y="781"/>
                </a:cubicBezTo>
                <a:cubicBezTo>
                  <a:pt x="2272" y="781"/>
                  <a:pt x="2272" y="781"/>
                  <a:pt x="2272" y="781"/>
                </a:cubicBezTo>
                <a:cubicBezTo>
                  <a:pt x="2274" y="782"/>
                  <a:pt x="2274" y="782"/>
                  <a:pt x="2274" y="782"/>
                </a:cubicBezTo>
                <a:cubicBezTo>
                  <a:pt x="2274" y="784"/>
                  <a:pt x="2274" y="784"/>
                  <a:pt x="2274" y="784"/>
                </a:cubicBezTo>
                <a:cubicBezTo>
                  <a:pt x="2275" y="784"/>
                  <a:pt x="2275" y="784"/>
                  <a:pt x="2275" y="784"/>
                </a:cubicBezTo>
                <a:cubicBezTo>
                  <a:pt x="2277" y="786"/>
                  <a:pt x="2277" y="786"/>
                  <a:pt x="2277" y="786"/>
                </a:cubicBezTo>
                <a:cubicBezTo>
                  <a:pt x="2279" y="789"/>
                  <a:pt x="2279" y="789"/>
                  <a:pt x="2279" y="789"/>
                </a:cubicBezTo>
                <a:cubicBezTo>
                  <a:pt x="2281" y="792"/>
                  <a:pt x="2281" y="792"/>
                  <a:pt x="2281" y="792"/>
                </a:cubicBezTo>
                <a:cubicBezTo>
                  <a:pt x="2285" y="791"/>
                  <a:pt x="2285" y="791"/>
                  <a:pt x="2285" y="791"/>
                </a:cubicBezTo>
                <a:cubicBezTo>
                  <a:pt x="2281" y="792"/>
                  <a:pt x="2281" y="792"/>
                  <a:pt x="2281" y="792"/>
                </a:cubicBezTo>
                <a:cubicBezTo>
                  <a:pt x="2282" y="795"/>
                  <a:pt x="2281" y="794"/>
                  <a:pt x="2284" y="797"/>
                </a:cubicBezTo>
                <a:cubicBezTo>
                  <a:pt x="2283" y="800"/>
                  <a:pt x="2284" y="798"/>
                  <a:pt x="2284" y="801"/>
                </a:cubicBezTo>
                <a:cubicBezTo>
                  <a:pt x="2284" y="804"/>
                  <a:pt x="2283" y="802"/>
                  <a:pt x="2282" y="803"/>
                </a:cubicBezTo>
                <a:cubicBezTo>
                  <a:pt x="2282" y="805"/>
                  <a:pt x="2282" y="805"/>
                  <a:pt x="2282" y="805"/>
                </a:cubicBezTo>
                <a:cubicBezTo>
                  <a:pt x="2284" y="805"/>
                  <a:pt x="2284" y="805"/>
                  <a:pt x="2284" y="805"/>
                </a:cubicBezTo>
                <a:cubicBezTo>
                  <a:pt x="2284" y="806"/>
                  <a:pt x="2284" y="808"/>
                  <a:pt x="2284" y="808"/>
                </a:cubicBezTo>
                <a:cubicBezTo>
                  <a:pt x="2286" y="810"/>
                  <a:pt x="2286" y="810"/>
                  <a:pt x="2286" y="810"/>
                </a:cubicBezTo>
                <a:cubicBezTo>
                  <a:pt x="2286" y="813"/>
                  <a:pt x="2286" y="813"/>
                  <a:pt x="2286" y="813"/>
                </a:cubicBezTo>
                <a:cubicBezTo>
                  <a:pt x="2287" y="816"/>
                  <a:pt x="2287" y="816"/>
                  <a:pt x="2287" y="816"/>
                </a:cubicBezTo>
                <a:cubicBezTo>
                  <a:pt x="2287" y="819"/>
                  <a:pt x="2287" y="819"/>
                  <a:pt x="2287" y="819"/>
                </a:cubicBezTo>
                <a:cubicBezTo>
                  <a:pt x="2289" y="820"/>
                  <a:pt x="2289" y="820"/>
                  <a:pt x="2289" y="820"/>
                </a:cubicBezTo>
                <a:cubicBezTo>
                  <a:pt x="2289" y="822"/>
                  <a:pt x="2289" y="822"/>
                  <a:pt x="2289" y="822"/>
                </a:cubicBezTo>
                <a:cubicBezTo>
                  <a:pt x="2289" y="822"/>
                  <a:pt x="2290" y="824"/>
                  <a:pt x="2291" y="824"/>
                </a:cubicBezTo>
                <a:cubicBezTo>
                  <a:pt x="2292" y="824"/>
                  <a:pt x="2294" y="825"/>
                  <a:pt x="2294" y="825"/>
                </a:cubicBezTo>
                <a:cubicBezTo>
                  <a:pt x="2294" y="829"/>
                  <a:pt x="2294" y="829"/>
                  <a:pt x="2294" y="829"/>
                </a:cubicBezTo>
                <a:cubicBezTo>
                  <a:pt x="2293" y="833"/>
                  <a:pt x="2293" y="833"/>
                  <a:pt x="2293" y="833"/>
                </a:cubicBezTo>
                <a:cubicBezTo>
                  <a:pt x="2295" y="833"/>
                  <a:pt x="2295" y="833"/>
                  <a:pt x="2295" y="833"/>
                </a:cubicBezTo>
                <a:cubicBezTo>
                  <a:pt x="2299" y="836"/>
                  <a:pt x="2299" y="836"/>
                  <a:pt x="2299" y="836"/>
                </a:cubicBezTo>
                <a:cubicBezTo>
                  <a:pt x="2306" y="840"/>
                  <a:pt x="2306" y="840"/>
                  <a:pt x="2306" y="840"/>
                </a:cubicBezTo>
                <a:cubicBezTo>
                  <a:pt x="2306" y="841"/>
                  <a:pt x="2311" y="844"/>
                  <a:pt x="2312" y="844"/>
                </a:cubicBezTo>
                <a:cubicBezTo>
                  <a:pt x="2313" y="844"/>
                  <a:pt x="2316" y="848"/>
                  <a:pt x="2316" y="848"/>
                </a:cubicBezTo>
                <a:cubicBezTo>
                  <a:pt x="2318" y="849"/>
                  <a:pt x="2318" y="849"/>
                  <a:pt x="2318" y="849"/>
                </a:cubicBezTo>
                <a:cubicBezTo>
                  <a:pt x="2319" y="851"/>
                  <a:pt x="2319" y="851"/>
                  <a:pt x="2319" y="851"/>
                </a:cubicBezTo>
                <a:cubicBezTo>
                  <a:pt x="2321" y="852"/>
                  <a:pt x="2321" y="852"/>
                  <a:pt x="2321" y="852"/>
                </a:cubicBezTo>
                <a:cubicBezTo>
                  <a:pt x="2320" y="852"/>
                  <a:pt x="2319" y="853"/>
                  <a:pt x="2319" y="853"/>
                </a:cubicBezTo>
                <a:cubicBezTo>
                  <a:pt x="2319" y="854"/>
                  <a:pt x="2319" y="854"/>
                  <a:pt x="2319" y="854"/>
                </a:cubicBezTo>
                <a:cubicBezTo>
                  <a:pt x="2317" y="855"/>
                  <a:pt x="2321" y="855"/>
                  <a:pt x="2321" y="854"/>
                </a:cubicBezTo>
                <a:cubicBezTo>
                  <a:pt x="2321" y="853"/>
                  <a:pt x="2321" y="853"/>
                  <a:pt x="2321" y="853"/>
                </a:cubicBezTo>
                <a:cubicBezTo>
                  <a:pt x="2323" y="853"/>
                  <a:pt x="2322" y="854"/>
                  <a:pt x="2323" y="854"/>
                </a:cubicBezTo>
                <a:cubicBezTo>
                  <a:pt x="2323" y="854"/>
                  <a:pt x="2325" y="853"/>
                  <a:pt x="2325" y="853"/>
                </a:cubicBezTo>
                <a:cubicBezTo>
                  <a:pt x="2324" y="852"/>
                  <a:pt x="2324" y="852"/>
                  <a:pt x="2324" y="852"/>
                </a:cubicBezTo>
                <a:cubicBezTo>
                  <a:pt x="2325" y="852"/>
                  <a:pt x="2325" y="852"/>
                  <a:pt x="2325" y="852"/>
                </a:cubicBezTo>
                <a:cubicBezTo>
                  <a:pt x="2326" y="855"/>
                  <a:pt x="2327" y="854"/>
                  <a:pt x="2327" y="854"/>
                </a:cubicBezTo>
                <a:cubicBezTo>
                  <a:pt x="2328" y="853"/>
                  <a:pt x="2328" y="852"/>
                  <a:pt x="2328" y="851"/>
                </a:cubicBezTo>
                <a:cubicBezTo>
                  <a:pt x="2326" y="850"/>
                  <a:pt x="2326" y="850"/>
                  <a:pt x="2324" y="851"/>
                </a:cubicBezTo>
                <a:cubicBezTo>
                  <a:pt x="2324" y="852"/>
                  <a:pt x="2324" y="852"/>
                  <a:pt x="2324" y="852"/>
                </a:cubicBezTo>
                <a:cubicBezTo>
                  <a:pt x="2322" y="852"/>
                  <a:pt x="2322" y="852"/>
                  <a:pt x="2322" y="852"/>
                </a:cubicBezTo>
                <a:cubicBezTo>
                  <a:pt x="2322" y="851"/>
                  <a:pt x="2322" y="851"/>
                  <a:pt x="2322" y="851"/>
                </a:cubicBezTo>
                <a:cubicBezTo>
                  <a:pt x="2324" y="848"/>
                  <a:pt x="2324" y="848"/>
                  <a:pt x="2324" y="848"/>
                </a:cubicBezTo>
                <a:cubicBezTo>
                  <a:pt x="2322" y="843"/>
                  <a:pt x="2322" y="843"/>
                  <a:pt x="2322" y="843"/>
                </a:cubicBezTo>
                <a:cubicBezTo>
                  <a:pt x="2319" y="839"/>
                  <a:pt x="2319" y="839"/>
                  <a:pt x="2319" y="839"/>
                </a:cubicBezTo>
                <a:cubicBezTo>
                  <a:pt x="2319" y="836"/>
                  <a:pt x="2319" y="836"/>
                  <a:pt x="2319" y="836"/>
                </a:cubicBezTo>
                <a:cubicBezTo>
                  <a:pt x="2319" y="836"/>
                  <a:pt x="2315" y="831"/>
                  <a:pt x="2315" y="831"/>
                </a:cubicBezTo>
                <a:cubicBezTo>
                  <a:pt x="2315" y="825"/>
                  <a:pt x="2315" y="825"/>
                  <a:pt x="2315" y="825"/>
                </a:cubicBezTo>
                <a:cubicBezTo>
                  <a:pt x="2314" y="822"/>
                  <a:pt x="2314" y="822"/>
                  <a:pt x="2314" y="822"/>
                </a:cubicBezTo>
                <a:cubicBezTo>
                  <a:pt x="2314" y="818"/>
                  <a:pt x="2314" y="818"/>
                  <a:pt x="2314" y="818"/>
                </a:cubicBezTo>
                <a:cubicBezTo>
                  <a:pt x="2314" y="818"/>
                  <a:pt x="2314" y="811"/>
                  <a:pt x="2314" y="810"/>
                </a:cubicBezTo>
                <a:cubicBezTo>
                  <a:pt x="2314" y="809"/>
                  <a:pt x="2311" y="805"/>
                  <a:pt x="2311" y="805"/>
                </a:cubicBezTo>
                <a:cubicBezTo>
                  <a:pt x="2308" y="800"/>
                  <a:pt x="2308" y="800"/>
                  <a:pt x="2308" y="800"/>
                </a:cubicBezTo>
                <a:cubicBezTo>
                  <a:pt x="2305" y="799"/>
                  <a:pt x="2305" y="799"/>
                  <a:pt x="2305" y="799"/>
                </a:cubicBezTo>
                <a:cubicBezTo>
                  <a:pt x="2304" y="796"/>
                  <a:pt x="2304" y="796"/>
                  <a:pt x="2304" y="796"/>
                </a:cubicBezTo>
                <a:cubicBezTo>
                  <a:pt x="2301" y="794"/>
                  <a:pt x="2301" y="794"/>
                  <a:pt x="2301" y="794"/>
                </a:cubicBezTo>
                <a:cubicBezTo>
                  <a:pt x="2300" y="795"/>
                  <a:pt x="2300" y="795"/>
                  <a:pt x="2300" y="795"/>
                </a:cubicBezTo>
                <a:cubicBezTo>
                  <a:pt x="2301" y="795"/>
                  <a:pt x="2301" y="795"/>
                  <a:pt x="2301" y="795"/>
                </a:cubicBezTo>
                <a:cubicBezTo>
                  <a:pt x="2300" y="795"/>
                  <a:pt x="2300" y="795"/>
                  <a:pt x="2300" y="795"/>
                </a:cubicBezTo>
                <a:cubicBezTo>
                  <a:pt x="2298" y="793"/>
                  <a:pt x="2296" y="789"/>
                  <a:pt x="2295" y="787"/>
                </a:cubicBezTo>
                <a:cubicBezTo>
                  <a:pt x="2291" y="787"/>
                  <a:pt x="2291" y="787"/>
                  <a:pt x="2287" y="788"/>
                </a:cubicBezTo>
                <a:cubicBezTo>
                  <a:pt x="2286" y="785"/>
                  <a:pt x="2286" y="786"/>
                  <a:pt x="2286" y="784"/>
                </a:cubicBezTo>
                <a:cubicBezTo>
                  <a:pt x="2284" y="783"/>
                  <a:pt x="2283" y="783"/>
                  <a:pt x="2282" y="782"/>
                </a:cubicBezTo>
                <a:cubicBezTo>
                  <a:pt x="2280" y="778"/>
                  <a:pt x="2280" y="778"/>
                  <a:pt x="2280" y="778"/>
                </a:cubicBezTo>
                <a:cubicBezTo>
                  <a:pt x="2283" y="777"/>
                  <a:pt x="2283" y="777"/>
                  <a:pt x="2283" y="777"/>
                </a:cubicBezTo>
                <a:cubicBezTo>
                  <a:pt x="2282" y="774"/>
                  <a:pt x="2282" y="774"/>
                  <a:pt x="2282" y="774"/>
                </a:cubicBezTo>
                <a:cubicBezTo>
                  <a:pt x="2282" y="770"/>
                  <a:pt x="2282" y="770"/>
                  <a:pt x="2282" y="770"/>
                </a:cubicBezTo>
                <a:cubicBezTo>
                  <a:pt x="2282" y="770"/>
                  <a:pt x="2279" y="768"/>
                  <a:pt x="2279" y="767"/>
                </a:cubicBezTo>
                <a:cubicBezTo>
                  <a:pt x="2279" y="764"/>
                  <a:pt x="2279" y="764"/>
                  <a:pt x="2279" y="764"/>
                </a:cubicBezTo>
                <a:cubicBezTo>
                  <a:pt x="2278" y="760"/>
                  <a:pt x="2278" y="760"/>
                  <a:pt x="2278" y="760"/>
                </a:cubicBezTo>
                <a:cubicBezTo>
                  <a:pt x="2274" y="760"/>
                  <a:pt x="2275" y="760"/>
                  <a:pt x="2272" y="761"/>
                </a:cubicBezTo>
                <a:cubicBezTo>
                  <a:pt x="2271" y="758"/>
                  <a:pt x="2271" y="759"/>
                  <a:pt x="2271" y="757"/>
                </a:cubicBezTo>
                <a:cubicBezTo>
                  <a:pt x="2269" y="752"/>
                  <a:pt x="2269" y="752"/>
                  <a:pt x="2269" y="752"/>
                </a:cubicBezTo>
                <a:cubicBezTo>
                  <a:pt x="2269" y="752"/>
                  <a:pt x="2269" y="750"/>
                  <a:pt x="2269" y="749"/>
                </a:cubicBezTo>
                <a:cubicBezTo>
                  <a:pt x="2269" y="752"/>
                  <a:pt x="2272" y="743"/>
                  <a:pt x="2272" y="743"/>
                </a:cubicBezTo>
                <a:cubicBezTo>
                  <a:pt x="2272" y="741"/>
                  <a:pt x="2271" y="741"/>
                  <a:pt x="2272" y="737"/>
                </a:cubicBezTo>
                <a:cubicBezTo>
                  <a:pt x="2274" y="733"/>
                  <a:pt x="2274" y="733"/>
                  <a:pt x="2274" y="733"/>
                </a:cubicBezTo>
                <a:cubicBezTo>
                  <a:pt x="2276" y="728"/>
                  <a:pt x="2276" y="728"/>
                  <a:pt x="2276" y="728"/>
                </a:cubicBezTo>
                <a:cubicBezTo>
                  <a:pt x="2276" y="726"/>
                  <a:pt x="2275" y="722"/>
                  <a:pt x="2274" y="721"/>
                </a:cubicBezTo>
                <a:cubicBezTo>
                  <a:pt x="2275" y="718"/>
                  <a:pt x="2275" y="718"/>
                  <a:pt x="2275" y="718"/>
                </a:cubicBezTo>
                <a:cubicBezTo>
                  <a:pt x="2275" y="716"/>
                  <a:pt x="2275" y="716"/>
                  <a:pt x="2275" y="716"/>
                </a:cubicBezTo>
                <a:cubicBezTo>
                  <a:pt x="2278" y="713"/>
                  <a:pt x="2278" y="713"/>
                  <a:pt x="2278" y="713"/>
                </a:cubicBezTo>
                <a:cubicBezTo>
                  <a:pt x="2286" y="714"/>
                  <a:pt x="2286" y="714"/>
                  <a:pt x="2286" y="714"/>
                </a:cubicBezTo>
                <a:cubicBezTo>
                  <a:pt x="2284" y="723"/>
                  <a:pt x="2284" y="723"/>
                  <a:pt x="2284" y="723"/>
                </a:cubicBezTo>
                <a:cubicBezTo>
                  <a:pt x="2290" y="724"/>
                  <a:pt x="2290" y="724"/>
                  <a:pt x="2290" y="724"/>
                </a:cubicBezTo>
                <a:cubicBezTo>
                  <a:pt x="2292" y="723"/>
                  <a:pt x="2292" y="723"/>
                  <a:pt x="2292" y="723"/>
                </a:cubicBezTo>
                <a:cubicBezTo>
                  <a:pt x="2296" y="726"/>
                  <a:pt x="2297" y="727"/>
                  <a:pt x="2300" y="731"/>
                </a:cubicBezTo>
                <a:cubicBezTo>
                  <a:pt x="2301" y="729"/>
                  <a:pt x="2301" y="729"/>
                  <a:pt x="2301" y="729"/>
                </a:cubicBezTo>
                <a:cubicBezTo>
                  <a:pt x="2302" y="729"/>
                  <a:pt x="2302" y="729"/>
                  <a:pt x="2302" y="729"/>
                </a:cubicBezTo>
                <a:cubicBezTo>
                  <a:pt x="2302" y="730"/>
                  <a:pt x="2302" y="730"/>
                  <a:pt x="2304" y="733"/>
                </a:cubicBezTo>
                <a:cubicBezTo>
                  <a:pt x="2304" y="736"/>
                  <a:pt x="2305" y="736"/>
                  <a:pt x="2309" y="737"/>
                </a:cubicBezTo>
                <a:cubicBezTo>
                  <a:pt x="2308" y="742"/>
                  <a:pt x="2308" y="742"/>
                  <a:pt x="2308" y="742"/>
                </a:cubicBezTo>
                <a:cubicBezTo>
                  <a:pt x="2309" y="744"/>
                  <a:pt x="2309" y="744"/>
                  <a:pt x="2309" y="744"/>
                </a:cubicBezTo>
                <a:cubicBezTo>
                  <a:pt x="2311" y="741"/>
                  <a:pt x="2311" y="741"/>
                  <a:pt x="2311" y="741"/>
                </a:cubicBezTo>
                <a:cubicBezTo>
                  <a:pt x="2314" y="742"/>
                  <a:pt x="2314" y="742"/>
                  <a:pt x="2314" y="742"/>
                </a:cubicBezTo>
                <a:cubicBezTo>
                  <a:pt x="2314" y="742"/>
                  <a:pt x="2314" y="743"/>
                  <a:pt x="2315" y="744"/>
                </a:cubicBezTo>
                <a:cubicBezTo>
                  <a:pt x="2316" y="744"/>
                  <a:pt x="2317" y="745"/>
                  <a:pt x="2318" y="745"/>
                </a:cubicBezTo>
                <a:cubicBezTo>
                  <a:pt x="2318" y="745"/>
                  <a:pt x="2315" y="749"/>
                  <a:pt x="2315" y="749"/>
                </a:cubicBezTo>
                <a:cubicBezTo>
                  <a:pt x="2315" y="751"/>
                  <a:pt x="2315" y="751"/>
                  <a:pt x="2315" y="751"/>
                </a:cubicBezTo>
                <a:cubicBezTo>
                  <a:pt x="2318" y="754"/>
                  <a:pt x="2318" y="754"/>
                  <a:pt x="2318" y="754"/>
                </a:cubicBezTo>
                <a:cubicBezTo>
                  <a:pt x="2318" y="748"/>
                  <a:pt x="2318" y="748"/>
                  <a:pt x="2318" y="748"/>
                </a:cubicBezTo>
                <a:cubicBezTo>
                  <a:pt x="2321" y="748"/>
                  <a:pt x="2321" y="748"/>
                  <a:pt x="2321" y="748"/>
                </a:cubicBezTo>
                <a:cubicBezTo>
                  <a:pt x="2322" y="748"/>
                  <a:pt x="2323" y="747"/>
                  <a:pt x="2323" y="746"/>
                </a:cubicBezTo>
                <a:cubicBezTo>
                  <a:pt x="2323" y="748"/>
                  <a:pt x="2323" y="748"/>
                  <a:pt x="2323" y="748"/>
                </a:cubicBezTo>
                <a:cubicBezTo>
                  <a:pt x="2323" y="748"/>
                  <a:pt x="2322" y="747"/>
                  <a:pt x="2322" y="748"/>
                </a:cubicBezTo>
                <a:cubicBezTo>
                  <a:pt x="2322" y="749"/>
                  <a:pt x="2324" y="749"/>
                  <a:pt x="2323" y="750"/>
                </a:cubicBezTo>
                <a:cubicBezTo>
                  <a:pt x="2322" y="751"/>
                  <a:pt x="2321" y="751"/>
                  <a:pt x="2322" y="751"/>
                </a:cubicBezTo>
                <a:cubicBezTo>
                  <a:pt x="2323" y="751"/>
                  <a:pt x="2324" y="751"/>
                  <a:pt x="2324" y="751"/>
                </a:cubicBezTo>
                <a:cubicBezTo>
                  <a:pt x="2324" y="751"/>
                  <a:pt x="2324" y="751"/>
                  <a:pt x="2325" y="751"/>
                </a:cubicBezTo>
                <a:cubicBezTo>
                  <a:pt x="2326" y="752"/>
                  <a:pt x="2326" y="751"/>
                  <a:pt x="2326" y="752"/>
                </a:cubicBezTo>
                <a:cubicBezTo>
                  <a:pt x="2327" y="753"/>
                  <a:pt x="2328" y="753"/>
                  <a:pt x="2325" y="754"/>
                </a:cubicBezTo>
                <a:cubicBezTo>
                  <a:pt x="2325" y="759"/>
                  <a:pt x="2325" y="759"/>
                  <a:pt x="2325" y="759"/>
                </a:cubicBezTo>
                <a:cubicBezTo>
                  <a:pt x="2324" y="763"/>
                  <a:pt x="2323" y="762"/>
                  <a:pt x="2325" y="766"/>
                </a:cubicBezTo>
                <a:cubicBezTo>
                  <a:pt x="2324" y="768"/>
                  <a:pt x="2324" y="768"/>
                  <a:pt x="2324" y="768"/>
                </a:cubicBezTo>
                <a:cubicBezTo>
                  <a:pt x="2324" y="768"/>
                  <a:pt x="2322" y="769"/>
                  <a:pt x="2324" y="769"/>
                </a:cubicBezTo>
                <a:cubicBezTo>
                  <a:pt x="2327" y="769"/>
                  <a:pt x="2330" y="768"/>
                  <a:pt x="2330" y="768"/>
                </a:cubicBezTo>
                <a:cubicBezTo>
                  <a:pt x="2331" y="765"/>
                  <a:pt x="2331" y="765"/>
                  <a:pt x="2331" y="765"/>
                </a:cubicBezTo>
                <a:cubicBezTo>
                  <a:pt x="2329" y="765"/>
                  <a:pt x="2336" y="762"/>
                  <a:pt x="2336" y="762"/>
                </a:cubicBezTo>
                <a:cubicBezTo>
                  <a:pt x="2337" y="762"/>
                  <a:pt x="2338" y="759"/>
                  <a:pt x="2338" y="759"/>
                </a:cubicBezTo>
                <a:cubicBezTo>
                  <a:pt x="2338" y="759"/>
                  <a:pt x="2339" y="757"/>
                  <a:pt x="2338" y="756"/>
                </a:cubicBezTo>
                <a:cubicBezTo>
                  <a:pt x="2337" y="755"/>
                  <a:pt x="2331" y="750"/>
                  <a:pt x="2329" y="748"/>
                </a:cubicBezTo>
                <a:cubicBezTo>
                  <a:pt x="2328" y="747"/>
                  <a:pt x="2329" y="747"/>
                  <a:pt x="2329" y="747"/>
                </a:cubicBezTo>
                <a:cubicBezTo>
                  <a:pt x="2340" y="758"/>
                  <a:pt x="2340" y="758"/>
                  <a:pt x="2340" y="758"/>
                </a:cubicBezTo>
                <a:cubicBezTo>
                  <a:pt x="2343" y="756"/>
                  <a:pt x="2343" y="756"/>
                  <a:pt x="2343" y="756"/>
                </a:cubicBezTo>
                <a:cubicBezTo>
                  <a:pt x="2342" y="754"/>
                  <a:pt x="2342" y="754"/>
                  <a:pt x="2342" y="754"/>
                </a:cubicBezTo>
                <a:cubicBezTo>
                  <a:pt x="2339" y="752"/>
                  <a:pt x="2339" y="752"/>
                  <a:pt x="2339" y="752"/>
                </a:cubicBezTo>
                <a:cubicBezTo>
                  <a:pt x="2336" y="750"/>
                  <a:pt x="2336" y="750"/>
                  <a:pt x="2336" y="750"/>
                </a:cubicBezTo>
                <a:cubicBezTo>
                  <a:pt x="2334" y="749"/>
                  <a:pt x="2334" y="749"/>
                  <a:pt x="2334" y="749"/>
                </a:cubicBezTo>
                <a:cubicBezTo>
                  <a:pt x="2334" y="749"/>
                  <a:pt x="2335" y="749"/>
                  <a:pt x="2336" y="749"/>
                </a:cubicBezTo>
                <a:cubicBezTo>
                  <a:pt x="2336" y="749"/>
                  <a:pt x="2338" y="751"/>
                  <a:pt x="2339" y="751"/>
                </a:cubicBezTo>
                <a:cubicBezTo>
                  <a:pt x="2341" y="752"/>
                  <a:pt x="2344" y="756"/>
                  <a:pt x="2343" y="753"/>
                </a:cubicBezTo>
                <a:cubicBezTo>
                  <a:pt x="2340" y="749"/>
                  <a:pt x="2341" y="752"/>
                  <a:pt x="2340" y="749"/>
                </a:cubicBezTo>
                <a:cubicBezTo>
                  <a:pt x="2342" y="748"/>
                  <a:pt x="2342" y="748"/>
                  <a:pt x="2342" y="748"/>
                </a:cubicBezTo>
                <a:cubicBezTo>
                  <a:pt x="2342" y="748"/>
                  <a:pt x="2345" y="749"/>
                  <a:pt x="2343" y="747"/>
                </a:cubicBezTo>
                <a:cubicBezTo>
                  <a:pt x="2344" y="746"/>
                  <a:pt x="2344" y="746"/>
                  <a:pt x="2344" y="746"/>
                </a:cubicBezTo>
                <a:cubicBezTo>
                  <a:pt x="2346" y="748"/>
                  <a:pt x="2346" y="747"/>
                  <a:pt x="2347" y="750"/>
                </a:cubicBezTo>
                <a:cubicBezTo>
                  <a:pt x="2351" y="746"/>
                  <a:pt x="2351" y="746"/>
                  <a:pt x="2351" y="746"/>
                </a:cubicBezTo>
                <a:cubicBezTo>
                  <a:pt x="2354" y="744"/>
                  <a:pt x="2354" y="744"/>
                  <a:pt x="2354" y="744"/>
                </a:cubicBezTo>
                <a:cubicBezTo>
                  <a:pt x="2357" y="744"/>
                  <a:pt x="2357" y="744"/>
                  <a:pt x="2357" y="744"/>
                </a:cubicBezTo>
                <a:cubicBezTo>
                  <a:pt x="2357" y="742"/>
                  <a:pt x="2357" y="742"/>
                  <a:pt x="2357" y="742"/>
                </a:cubicBezTo>
                <a:cubicBezTo>
                  <a:pt x="2358" y="742"/>
                  <a:pt x="2364" y="739"/>
                  <a:pt x="2364" y="739"/>
                </a:cubicBezTo>
                <a:cubicBezTo>
                  <a:pt x="2364" y="738"/>
                  <a:pt x="2366" y="735"/>
                  <a:pt x="2366" y="735"/>
                </a:cubicBezTo>
                <a:cubicBezTo>
                  <a:pt x="2366" y="730"/>
                  <a:pt x="2366" y="730"/>
                  <a:pt x="2366" y="730"/>
                </a:cubicBezTo>
                <a:cubicBezTo>
                  <a:pt x="2365" y="727"/>
                  <a:pt x="2365" y="727"/>
                  <a:pt x="2365" y="727"/>
                </a:cubicBezTo>
                <a:cubicBezTo>
                  <a:pt x="2365" y="724"/>
                  <a:pt x="2365" y="724"/>
                  <a:pt x="2365" y="724"/>
                </a:cubicBezTo>
                <a:cubicBezTo>
                  <a:pt x="2366" y="722"/>
                  <a:pt x="2366" y="722"/>
                  <a:pt x="2366" y="722"/>
                </a:cubicBezTo>
                <a:cubicBezTo>
                  <a:pt x="2364" y="717"/>
                  <a:pt x="2364" y="717"/>
                  <a:pt x="2364" y="717"/>
                </a:cubicBezTo>
                <a:cubicBezTo>
                  <a:pt x="2365" y="713"/>
                  <a:pt x="2365" y="713"/>
                  <a:pt x="2365" y="713"/>
                </a:cubicBezTo>
                <a:cubicBezTo>
                  <a:pt x="2361" y="701"/>
                  <a:pt x="2361" y="701"/>
                  <a:pt x="2361" y="701"/>
                </a:cubicBezTo>
                <a:cubicBezTo>
                  <a:pt x="2359" y="696"/>
                  <a:pt x="2359" y="696"/>
                  <a:pt x="2359" y="696"/>
                </a:cubicBezTo>
                <a:cubicBezTo>
                  <a:pt x="2355" y="692"/>
                  <a:pt x="2355" y="692"/>
                  <a:pt x="2355" y="692"/>
                </a:cubicBezTo>
                <a:cubicBezTo>
                  <a:pt x="2353" y="689"/>
                  <a:pt x="2353" y="689"/>
                  <a:pt x="2353" y="689"/>
                </a:cubicBezTo>
                <a:cubicBezTo>
                  <a:pt x="2349" y="685"/>
                  <a:pt x="2349" y="685"/>
                  <a:pt x="2349" y="685"/>
                </a:cubicBezTo>
                <a:cubicBezTo>
                  <a:pt x="2345" y="683"/>
                  <a:pt x="2345" y="683"/>
                  <a:pt x="2345" y="683"/>
                </a:cubicBezTo>
                <a:cubicBezTo>
                  <a:pt x="2345" y="680"/>
                  <a:pt x="2345" y="680"/>
                  <a:pt x="2345" y="680"/>
                </a:cubicBezTo>
                <a:cubicBezTo>
                  <a:pt x="2339" y="676"/>
                  <a:pt x="2342" y="678"/>
                  <a:pt x="2337" y="673"/>
                </a:cubicBezTo>
                <a:cubicBezTo>
                  <a:pt x="2333" y="669"/>
                  <a:pt x="2333" y="669"/>
                  <a:pt x="2333" y="669"/>
                </a:cubicBezTo>
                <a:cubicBezTo>
                  <a:pt x="2332" y="669"/>
                  <a:pt x="2332" y="666"/>
                  <a:pt x="2332" y="665"/>
                </a:cubicBezTo>
                <a:cubicBezTo>
                  <a:pt x="2330" y="664"/>
                  <a:pt x="2330" y="664"/>
                  <a:pt x="2330" y="664"/>
                </a:cubicBezTo>
                <a:cubicBezTo>
                  <a:pt x="2328" y="661"/>
                  <a:pt x="2328" y="661"/>
                  <a:pt x="2328" y="661"/>
                </a:cubicBezTo>
                <a:cubicBezTo>
                  <a:pt x="2324" y="659"/>
                  <a:pt x="2324" y="659"/>
                  <a:pt x="2324" y="659"/>
                </a:cubicBezTo>
                <a:cubicBezTo>
                  <a:pt x="2322" y="654"/>
                  <a:pt x="2322" y="654"/>
                  <a:pt x="2322" y="654"/>
                </a:cubicBezTo>
                <a:cubicBezTo>
                  <a:pt x="2322" y="651"/>
                  <a:pt x="2322" y="651"/>
                  <a:pt x="2322" y="651"/>
                </a:cubicBezTo>
                <a:cubicBezTo>
                  <a:pt x="2323" y="648"/>
                  <a:pt x="2323" y="648"/>
                  <a:pt x="2323" y="648"/>
                </a:cubicBezTo>
                <a:cubicBezTo>
                  <a:pt x="2323" y="644"/>
                  <a:pt x="2323" y="644"/>
                  <a:pt x="2323" y="644"/>
                </a:cubicBezTo>
                <a:cubicBezTo>
                  <a:pt x="2325" y="642"/>
                  <a:pt x="2325" y="642"/>
                  <a:pt x="2325" y="642"/>
                </a:cubicBezTo>
                <a:cubicBezTo>
                  <a:pt x="2327" y="640"/>
                  <a:pt x="2327" y="640"/>
                  <a:pt x="2327" y="640"/>
                </a:cubicBezTo>
                <a:cubicBezTo>
                  <a:pt x="2328" y="637"/>
                  <a:pt x="2328" y="637"/>
                  <a:pt x="2328" y="637"/>
                </a:cubicBezTo>
                <a:cubicBezTo>
                  <a:pt x="2329" y="634"/>
                  <a:pt x="2329" y="634"/>
                  <a:pt x="2329" y="634"/>
                </a:cubicBezTo>
                <a:cubicBezTo>
                  <a:pt x="2330" y="633"/>
                  <a:pt x="2330" y="633"/>
                  <a:pt x="2330" y="633"/>
                </a:cubicBezTo>
                <a:cubicBezTo>
                  <a:pt x="2332" y="631"/>
                  <a:pt x="2332" y="631"/>
                  <a:pt x="2332" y="631"/>
                </a:cubicBezTo>
                <a:cubicBezTo>
                  <a:pt x="2334" y="631"/>
                  <a:pt x="2334" y="631"/>
                  <a:pt x="2334" y="631"/>
                </a:cubicBezTo>
                <a:cubicBezTo>
                  <a:pt x="2335" y="628"/>
                  <a:pt x="2335" y="628"/>
                  <a:pt x="2335" y="628"/>
                </a:cubicBezTo>
                <a:cubicBezTo>
                  <a:pt x="2337" y="627"/>
                  <a:pt x="2337" y="627"/>
                  <a:pt x="2337" y="626"/>
                </a:cubicBezTo>
                <a:cubicBezTo>
                  <a:pt x="2337" y="625"/>
                  <a:pt x="2336" y="625"/>
                  <a:pt x="2336" y="625"/>
                </a:cubicBezTo>
                <a:cubicBezTo>
                  <a:pt x="2337" y="625"/>
                  <a:pt x="2337" y="625"/>
                  <a:pt x="2338" y="626"/>
                </a:cubicBezTo>
                <a:cubicBezTo>
                  <a:pt x="2343" y="624"/>
                  <a:pt x="2343" y="624"/>
                  <a:pt x="2343" y="624"/>
                </a:cubicBezTo>
                <a:cubicBezTo>
                  <a:pt x="2344" y="621"/>
                  <a:pt x="2344" y="621"/>
                  <a:pt x="2344" y="621"/>
                </a:cubicBezTo>
                <a:cubicBezTo>
                  <a:pt x="2349" y="623"/>
                  <a:pt x="2348" y="622"/>
                  <a:pt x="2352" y="625"/>
                </a:cubicBezTo>
                <a:cubicBezTo>
                  <a:pt x="2356" y="625"/>
                  <a:pt x="2354" y="625"/>
                  <a:pt x="2358" y="626"/>
                </a:cubicBezTo>
                <a:cubicBezTo>
                  <a:pt x="2355" y="630"/>
                  <a:pt x="2355" y="630"/>
                  <a:pt x="2355" y="630"/>
                </a:cubicBezTo>
                <a:cubicBezTo>
                  <a:pt x="2358" y="634"/>
                  <a:pt x="2358" y="634"/>
                  <a:pt x="2358" y="634"/>
                </a:cubicBezTo>
                <a:cubicBezTo>
                  <a:pt x="2358" y="640"/>
                  <a:pt x="2357" y="637"/>
                  <a:pt x="2361" y="640"/>
                </a:cubicBezTo>
                <a:cubicBezTo>
                  <a:pt x="2362" y="641"/>
                  <a:pt x="2363" y="640"/>
                  <a:pt x="2364" y="640"/>
                </a:cubicBezTo>
                <a:cubicBezTo>
                  <a:pt x="2365" y="640"/>
                  <a:pt x="2365" y="640"/>
                  <a:pt x="2366" y="639"/>
                </a:cubicBezTo>
                <a:cubicBezTo>
                  <a:pt x="2368" y="638"/>
                  <a:pt x="2366" y="638"/>
                  <a:pt x="2366" y="636"/>
                </a:cubicBezTo>
                <a:cubicBezTo>
                  <a:pt x="2365" y="635"/>
                  <a:pt x="2363" y="634"/>
                  <a:pt x="2363" y="634"/>
                </a:cubicBezTo>
                <a:cubicBezTo>
                  <a:pt x="2363" y="634"/>
                  <a:pt x="2361" y="632"/>
                  <a:pt x="2362" y="631"/>
                </a:cubicBezTo>
                <a:cubicBezTo>
                  <a:pt x="2363" y="630"/>
                  <a:pt x="2364" y="629"/>
                  <a:pt x="2364" y="628"/>
                </a:cubicBezTo>
                <a:cubicBezTo>
                  <a:pt x="2365" y="628"/>
                  <a:pt x="2365" y="628"/>
                  <a:pt x="2365" y="628"/>
                </a:cubicBezTo>
                <a:cubicBezTo>
                  <a:pt x="2365" y="627"/>
                  <a:pt x="2366" y="627"/>
                  <a:pt x="2367" y="627"/>
                </a:cubicBezTo>
                <a:cubicBezTo>
                  <a:pt x="2368" y="625"/>
                  <a:pt x="2370" y="628"/>
                  <a:pt x="2369" y="626"/>
                </a:cubicBezTo>
                <a:cubicBezTo>
                  <a:pt x="2371" y="626"/>
                  <a:pt x="2372" y="626"/>
                  <a:pt x="2372" y="625"/>
                </a:cubicBezTo>
                <a:cubicBezTo>
                  <a:pt x="2374" y="625"/>
                  <a:pt x="2375" y="626"/>
                  <a:pt x="2375" y="623"/>
                </a:cubicBezTo>
                <a:cubicBezTo>
                  <a:pt x="2376" y="623"/>
                  <a:pt x="2378" y="623"/>
                  <a:pt x="2378" y="623"/>
                </a:cubicBezTo>
                <a:cubicBezTo>
                  <a:pt x="2378" y="621"/>
                  <a:pt x="2378" y="621"/>
                  <a:pt x="2378" y="621"/>
                </a:cubicBezTo>
                <a:cubicBezTo>
                  <a:pt x="2379" y="621"/>
                  <a:pt x="2380" y="622"/>
                  <a:pt x="2381" y="623"/>
                </a:cubicBezTo>
                <a:cubicBezTo>
                  <a:pt x="2379" y="624"/>
                  <a:pt x="2383" y="623"/>
                  <a:pt x="2383" y="622"/>
                </a:cubicBezTo>
                <a:cubicBezTo>
                  <a:pt x="2383" y="622"/>
                  <a:pt x="2384" y="622"/>
                  <a:pt x="2385" y="621"/>
                </a:cubicBezTo>
                <a:cubicBezTo>
                  <a:pt x="2385" y="621"/>
                  <a:pt x="2386" y="621"/>
                  <a:pt x="2386" y="621"/>
                </a:cubicBezTo>
                <a:cubicBezTo>
                  <a:pt x="2386" y="621"/>
                  <a:pt x="2387" y="620"/>
                  <a:pt x="2387" y="620"/>
                </a:cubicBezTo>
                <a:cubicBezTo>
                  <a:pt x="2387" y="620"/>
                  <a:pt x="2387" y="618"/>
                  <a:pt x="2388" y="618"/>
                </a:cubicBezTo>
                <a:cubicBezTo>
                  <a:pt x="2388" y="619"/>
                  <a:pt x="2388" y="619"/>
                  <a:pt x="2388" y="619"/>
                </a:cubicBezTo>
                <a:cubicBezTo>
                  <a:pt x="2390" y="618"/>
                  <a:pt x="2391" y="618"/>
                  <a:pt x="2393" y="617"/>
                </a:cubicBezTo>
                <a:cubicBezTo>
                  <a:pt x="2391" y="613"/>
                  <a:pt x="2391" y="613"/>
                  <a:pt x="2391" y="613"/>
                </a:cubicBezTo>
                <a:cubicBezTo>
                  <a:pt x="2388" y="612"/>
                  <a:pt x="2388" y="612"/>
                  <a:pt x="2388" y="612"/>
                </a:cubicBezTo>
                <a:cubicBezTo>
                  <a:pt x="2388" y="610"/>
                  <a:pt x="2388" y="610"/>
                  <a:pt x="2388" y="610"/>
                </a:cubicBezTo>
                <a:cubicBezTo>
                  <a:pt x="2389" y="610"/>
                  <a:pt x="2390" y="607"/>
                  <a:pt x="2390" y="607"/>
                </a:cubicBezTo>
                <a:cubicBezTo>
                  <a:pt x="2390" y="609"/>
                  <a:pt x="2390" y="609"/>
                  <a:pt x="2390" y="609"/>
                </a:cubicBezTo>
                <a:cubicBezTo>
                  <a:pt x="2390" y="609"/>
                  <a:pt x="2393" y="612"/>
                  <a:pt x="2393" y="612"/>
                </a:cubicBezTo>
                <a:cubicBezTo>
                  <a:pt x="2393" y="613"/>
                  <a:pt x="2394" y="613"/>
                  <a:pt x="2394" y="614"/>
                </a:cubicBezTo>
                <a:cubicBezTo>
                  <a:pt x="2394" y="614"/>
                  <a:pt x="2395" y="615"/>
                  <a:pt x="2395" y="615"/>
                </a:cubicBezTo>
                <a:cubicBezTo>
                  <a:pt x="2395" y="615"/>
                  <a:pt x="2400" y="614"/>
                  <a:pt x="2400" y="613"/>
                </a:cubicBezTo>
                <a:cubicBezTo>
                  <a:pt x="2401" y="613"/>
                  <a:pt x="2404" y="613"/>
                  <a:pt x="2404" y="612"/>
                </a:cubicBezTo>
                <a:cubicBezTo>
                  <a:pt x="2405" y="611"/>
                  <a:pt x="2405" y="611"/>
                  <a:pt x="2405" y="611"/>
                </a:cubicBezTo>
                <a:cubicBezTo>
                  <a:pt x="2406" y="611"/>
                  <a:pt x="2412" y="610"/>
                  <a:pt x="2411" y="610"/>
                </a:cubicBezTo>
                <a:cubicBezTo>
                  <a:pt x="2412" y="610"/>
                  <a:pt x="2412" y="610"/>
                  <a:pt x="2412" y="610"/>
                </a:cubicBezTo>
                <a:cubicBezTo>
                  <a:pt x="2412" y="611"/>
                  <a:pt x="2413" y="611"/>
                  <a:pt x="2413" y="611"/>
                </a:cubicBezTo>
                <a:cubicBezTo>
                  <a:pt x="2415" y="611"/>
                  <a:pt x="2415" y="611"/>
                  <a:pt x="2416" y="609"/>
                </a:cubicBezTo>
                <a:cubicBezTo>
                  <a:pt x="2419" y="609"/>
                  <a:pt x="2419" y="609"/>
                  <a:pt x="2419" y="609"/>
                </a:cubicBezTo>
                <a:cubicBezTo>
                  <a:pt x="2419" y="606"/>
                  <a:pt x="2419" y="606"/>
                  <a:pt x="2419" y="606"/>
                </a:cubicBezTo>
                <a:cubicBezTo>
                  <a:pt x="2423" y="603"/>
                  <a:pt x="2423" y="603"/>
                  <a:pt x="2423" y="603"/>
                </a:cubicBezTo>
                <a:cubicBezTo>
                  <a:pt x="2423" y="601"/>
                  <a:pt x="2423" y="601"/>
                  <a:pt x="2423" y="601"/>
                </a:cubicBezTo>
                <a:cubicBezTo>
                  <a:pt x="2426" y="600"/>
                  <a:pt x="2427" y="600"/>
                  <a:pt x="2429" y="599"/>
                </a:cubicBezTo>
                <a:cubicBezTo>
                  <a:pt x="2430" y="596"/>
                  <a:pt x="2431" y="596"/>
                  <a:pt x="2431" y="593"/>
                </a:cubicBezTo>
                <a:cubicBezTo>
                  <a:pt x="2433" y="592"/>
                  <a:pt x="2433" y="592"/>
                  <a:pt x="2433" y="592"/>
                </a:cubicBezTo>
                <a:cubicBezTo>
                  <a:pt x="2433" y="591"/>
                  <a:pt x="2433" y="591"/>
                  <a:pt x="2433" y="591"/>
                </a:cubicBezTo>
                <a:cubicBezTo>
                  <a:pt x="2433" y="591"/>
                  <a:pt x="2433" y="591"/>
                  <a:pt x="2433" y="591"/>
                </a:cubicBezTo>
                <a:cubicBezTo>
                  <a:pt x="2434" y="591"/>
                  <a:pt x="2435" y="592"/>
                  <a:pt x="2435" y="592"/>
                </a:cubicBezTo>
                <a:cubicBezTo>
                  <a:pt x="2439" y="590"/>
                  <a:pt x="2438" y="591"/>
                  <a:pt x="2435" y="589"/>
                </a:cubicBezTo>
                <a:cubicBezTo>
                  <a:pt x="2437" y="589"/>
                  <a:pt x="2437" y="589"/>
                  <a:pt x="2437" y="589"/>
                </a:cubicBezTo>
                <a:cubicBezTo>
                  <a:pt x="2438" y="585"/>
                  <a:pt x="2438" y="585"/>
                  <a:pt x="2438" y="585"/>
                </a:cubicBezTo>
                <a:cubicBezTo>
                  <a:pt x="2440" y="586"/>
                  <a:pt x="2441" y="585"/>
                  <a:pt x="2441" y="585"/>
                </a:cubicBezTo>
                <a:cubicBezTo>
                  <a:pt x="2441" y="584"/>
                  <a:pt x="2439" y="583"/>
                  <a:pt x="2439" y="583"/>
                </a:cubicBezTo>
                <a:cubicBezTo>
                  <a:pt x="2440" y="580"/>
                  <a:pt x="2440" y="582"/>
                  <a:pt x="2441" y="583"/>
                </a:cubicBezTo>
                <a:cubicBezTo>
                  <a:pt x="2443" y="583"/>
                  <a:pt x="2444" y="582"/>
                  <a:pt x="2445" y="580"/>
                </a:cubicBezTo>
                <a:cubicBezTo>
                  <a:pt x="2444" y="580"/>
                  <a:pt x="2443" y="581"/>
                  <a:pt x="2443" y="581"/>
                </a:cubicBezTo>
                <a:cubicBezTo>
                  <a:pt x="2442" y="580"/>
                  <a:pt x="2445" y="574"/>
                  <a:pt x="2445" y="572"/>
                </a:cubicBezTo>
                <a:cubicBezTo>
                  <a:pt x="2445" y="571"/>
                  <a:pt x="2445" y="569"/>
                  <a:pt x="2445" y="567"/>
                </a:cubicBezTo>
                <a:cubicBezTo>
                  <a:pt x="2445" y="566"/>
                  <a:pt x="2444" y="564"/>
                  <a:pt x="2445" y="562"/>
                </a:cubicBezTo>
                <a:cubicBezTo>
                  <a:pt x="2446" y="561"/>
                  <a:pt x="2449" y="561"/>
                  <a:pt x="2450" y="560"/>
                </a:cubicBezTo>
                <a:cubicBezTo>
                  <a:pt x="2451" y="557"/>
                  <a:pt x="2448" y="554"/>
                  <a:pt x="2449" y="550"/>
                </a:cubicBezTo>
                <a:cubicBezTo>
                  <a:pt x="2449" y="550"/>
                  <a:pt x="2450" y="553"/>
                  <a:pt x="2454" y="550"/>
                </a:cubicBezTo>
                <a:cubicBezTo>
                  <a:pt x="2457" y="548"/>
                  <a:pt x="2454" y="549"/>
                  <a:pt x="2454" y="549"/>
                </a:cubicBezTo>
                <a:cubicBezTo>
                  <a:pt x="2454" y="545"/>
                  <a:pt x="2455" y="545"/>
                  <a:pt x="2450" y="546"/>
                </a:cubicBezTo>
                <a:cubicBezTo>
                  <a:pt x="2450" y="546"/>
                  <a:pt x="2450" y="545"/>
                  <a:pt x="2450" y="545"/>
                </a:cubicBezTo>
                <a:cubicBezTo>
                  <a:pt x="2452" y="545"/>
                  <a:pt x="2452" y="545"/>
                  <a:pt x="2454" y="543"/>
                </a:cubicBezTo>
                <a:cubicBezTo>
                  <a:pt x="2454" y="543"/>
                  <a:pt x="2452" y="543"/>
                  <a:pt x="2452" y="542"/>
                </a:cubicBezTo>
                <a:cubicBezTo>
                  <a:pt x="2453" y="541"/>
                  <a:pt x="2455" y="539"/>
                  <a:pt x="2455" y="537"/>
                </a:cubicBezTo>
                <a:cubicBezTo>
                  <a:pt x="2454" y="534"/>
                  <a:pt x="2452" y="531"/>
                  <a:pt x="2450" y="529"/>
                </a:cubicBezTo>
                <a:cubicBezTo>
                  <a:pt x="2447" y="526"/>
                  <a:pt x="2443" y="529"/>
                  <a:pt x="2440" y="530"/>
                </a:cubicBezTo>
                <a:cubicBezTo>
                  <a:pt x="2440" y="529"/>
                  <a:pt x="2439" y="528"/>
                  <a:pt x="2438" y="528"/>
                </a:cubicBezTo>
                <a:cubicBezTo>
                  <a:pt x="2438" y="528"/>
                  <a:pt x="2436" y="528"/>
                  <a:pt x="2435" y="528"/>
                </a:cubicBezTo>
                <a:cubicBezTo>
                  <a:pt x="2435" y="528"/>
                  <a:pt x="2435" y="527"/>
                  <a:pt x="2435" y="527"/>
                </a:cubicBezTo>
                <a:cubicBezTo>
                  <a:pt x="2436" y="527"/>
                  <a:pt x="2439" y="527"/>
                  <a:pt x="2440" y="527"/>
                </a:cubicBezTo>
                <a:cubicBezTo>
                  <a:pt x="2441" y="527"/>
                  <a:pt x="2441" y="527"/>
                  <a:pt x="2441" y="527"/>
                </a:cubicBezTo>
                <a:cubicBezTo>
                  <a:pt x="2441" y="525"/>
                  <a:pt x="2441" y="525"/>
                  <a:pt x="2442" y="524"/>
                </a:cubicBezTo>
                <a:cubicBezTo>
                  <a:pt x="2443" y="524"/>
                  <a:pt x="2443" y="523"/>
                  <a:pt x="2444" y="523"/>
                </a:cubicBezTo>
                <a:cubicBezTo>
                  <a:pt x="2450" y="523"/>
                  <a:pt x="2445" y="518"/>
                  <a:pt x="2445" y="517"/>
                </a:cubicBezTo>
                <a:cubicBezTo>
                  <a:pt x="2445" y="517"/>
                  <a:pt x="2443" y="514"/>
                  <a:pt x="2440" y="514"/>
                </a:cubicBezTo>
                <a:cubicBezTo>
                  <a:pt x="2439" y="514"/>
                  <a:pt x="2436" y="512"/>
                  <a:pt x="2434" y="512"/>
                </a:cubicBezTo>
                <a:cubicBezTo>
                  <a:pt x="2436" y="511"/>
                  <a:pt x="2436" y="511"/>
                  <a:pt x="2433" y="510"/>
                </a:cubicBezTo>
                <a:cubicBezTo>
                  <a:pt x="2432" y="510"/>
                  <a:pt x="2429" y="509"/>
                  <a:pt x="2429" y="509"/>
                </a:cubicBezTo>
                <a:cubicBezTo>
                  <a:pt x="2429" y="509"/>
                  <a:pt x="2428" y="509"/>
                  <a:pt x="2428" y="509"/>
                </a:cubicBezTo>
                <a:cubicBezTo>
                  <a:pt x="2426" y="508"/>
                  <a:pt x="2425" y="507"/>
                  <a:pt x="2423" y="506"/>
                </a:cubicBezTo>
                <a:cubicBezTo>
                  <a:pt x="2422" y="505"/>
                  <a:pt x="2426" y="507"/>
                  <a:pt x="2428" y="507"/>
                </a:cubicBezTo>
                <a:cubicBezTo>
                  <a:pt x="2432" y="508"/>
                  <a:pt x="2436" y="510"/>
                  <a:pt x="2440" y="511"/>
                </a:cubicBezTo>
                <a:cubicBezTo>
                  <a:pt x="2441" y="511"/>
                  <a:pt x="2443" y="513"/>
                  <a:pt x="2443" y="513"/>
                </a:cubicBezTo>
                <a:cubicBezTo>
                  <a:pt x="2446" y="513"/>
                  <a:pt x="2446" y="513"/>
                  <a:pt x="2446" y="513"/>
                </a:cubicBezTo>
                <a:cubicBezTo>
                  <a:pt x="2445" y="511"/>
                  <a:pt x="2445" y="511"/>
                  <a:pt x="2445" y="511"/>
                </a:cubicBezTo>
                <a:cubicBezTo>
                  <a:pt x="2445" y="511"/>
                  <a:pt x="2444" y="510"/>
                  <a:pt x="2444" y="510"/>
                </a:cubicBezTo>
                <a:cubicBezTo>
                  <a:pt x="2443" y="509"/>
                  <a:pt x="2442" y="507"/>
                  <a:pt x="2441" y="507"/>
                </a:cubicBezTo>
                <a:cubicBezTo>
                  <a:pt x="2438" y="504"/>
                  <a:pt x="2434" y="502"/>
                  <a:pt x="2431" y="499"/>
                </a:cubicBezTo>
                <a:cubicBezTo>
                  <a:pt x="2429" y="496"/>
                  <a:pt x="2429" y="492"/>
                  <a:pt x="2427" y="489"/>
                </a:cubicBezTo>
                <a:cubicBezTo>
                  <a:pt x="2425" y="486"/>
                  <a:pt x="2422" y="484"/>
                  <a:pt x="2419" y="482"/>
                </a:cubicBezTo>
                <a:cubicBezTo>
                  <a:pt x="2419" y="482"/>
                  <a:pt x="2413" y="478"/>
                  <a:pt x="2407" y="477"/>
                </a:cubicBezTo>
                <a:cubicBezTo>
                  <a:pt x="2408" y="475"/>
                  <a:pt x="2409" y="474"/>
                  <a:pt x="2409" y="474"/>
                </a:cubicBezTo>
                <a:cubicBezTo>
                  <a:pt x="2409" y="473"/>
                  <a:pt x="2409" y="472"/>
                  <a:pt x="2409" y="472"/>
                </a:cubicBezTo>
                <a:cubicBezTo>
                  <a:pt x="2410" y="470"/>
                  <a:pt x="2410" y="470"/>
                  <a:pt x="2410" y="470"/>
                </a:cubicBezTo>
                <a:cubicBezTo>
                  <a:pt x="2411" y="469"/>
                  <a:pt x="2413" y="467"/>
                  <a:pt x="2413" y="466"/>
                </a:cubicBezTo>
                <a:cubicBezTo>
                  <a:pt x="2413" y="466"/>
                  <a:pt x="2414" y="463"/>
                  <a:pt x="2414" y="463"/>
                </a:cubicBezTo>
                <a:cubicBezTo>
                  <a:pt x="2414" y="463"/>
                  <a:pt x="2416" y="462"/>
                  <a:pt x="2416" y="461"/>
                </a:cubicBezTo>
                <a:cubicBezTo>
                  <a:pt x="2416" y="457"/>
                  <a:pt x="2417" y="460"/>
                  <a:pt x="2420" y="458"/>
                </a:cubicBezTo>
                <a:cubicBezTo>
                  <a:pt x="2421" y="457"/>
                  <a:pt x="2422" y="455"/>
                  <a:pt x="2423" y="455"/>
                </a:cubicBezTo>
                <a:cubicBezTo>
                  <a:pt x="2423" y="455"/>
                  <a:pt x="2424" y="455"/>
                  <a:pt x="2424" y="455"/>
                </a:cubicBezTo>
                <a:cubicBezTo>
                  <a:pt x="2426" y="455"/>
                  <a:pt x="2428" y="457"/>
                  <a:pt x="2429" y="457"/>
                </a:cubicBezTo>
                <a:cubicBezTo>
                  <a:pt x="2430" y="456"/>
                  <a:pt x="2428" y="455"/>
                  <a:pt x="2428" y="454"/>
                </a:cubicBezTo>
                <a:cubicBezTo>
                  <a:pt x="2427" y="452"/>
                  <a:pt x="2429" y="451"/>
                  <a:pt x="2428" y="450"/>
                </a:cubicBezTo>
                <a:cubicBezTo>
                  <a:pt x="2428" y="449"/>
                  <a:pt x="2426" y="450"/>
                  <a:pt x="2425" y="450"/>
                </a:cubicBezTo>
                <a:cubicBezTo>
                  <a:pt x="2424" y="449"/>
                  <a:pt x="2424" y="449"/>
                  <a:pt x="2424" y="449"/>
                </a:cubicBezTo>
                <a:cubicBezTo>
                  <a:pt x="2422" y="448"/>
                  <a:pt x="2422" y="448"/>
                  <a:pt x="2422" y="448"/>
                </a:cubicBezTo>
                <a:cubicBezTo>
                  <a:pt x="2419" y="449"/>
                  <a:pt x="2419" y="449"/>
                  <a:pt x="2419" y="449"/>
                </a:cubicBezTo>
                <a:cubicBezTo>
                  <a:pt x="2417" y="449"/>
                  <a:pt x="2417" y="449"/>
                  <a:pt x="2417" y="449"/>
                </a:cubicBezTo>
                <a:cubicBezTo>
                  <a:pt x="2415" y="448"/>
                  <a:pt x="2413" y="446"/>
                  <a:pt x="2411" y="446"/>
                </a:cubicBezTo>
                <a:cubicBezTo>
                  <a:pt x="2410" y="445"/>
                  <a:pt x="2408" y="446"/>
                  <a:pt x="2407" y="446"/>
                </a:cubicBezTo>
                <a:cubicBezTo>
                  <a:pt x="2405" y="447"/>
                  <a:pt x="2405" y="448"/>
                  <a:pt x="2403" y="449"/>
                </a:cubicBezTo>
                <a:cubicBezTo>
                  <a:pt x="2402" y="451"/>
                  <a:pt x="2402" y="454"/>
                  <a:pt x="2396" y="449"/>
                </a:cubicBezTo>
                <a:cubicBezTo>
                  <a:pt x="2393" y="446"/>
                  <a:pt x="2394" y="444"/>
                  <a:pt x="2390" y="442"/>
                </a:cubicBezTo>
                <a:cubicBezTo>
                  <a:pt x="2388" y="441"/>
                  <a:pt x="2384" y="441"/>
                  <a:pt x="2383" y="441"/>
                </a:cubicBezTo>
                <a:cubicBezTo>
                  <a:pt x="2381" y="439"/>
                  <a:pt x="2378" y="437"/>
                  <a:pt x="2376" y="435"/>
                </a:cubicBezTo>
                <a:cubicBezTo>
                  <a:pt x="2376" y="433"/>
                  <a:pt x="2376" y="432"/>
                  <a:pt x="2376" y="431"/>
                </a:cubicBezTo>
                <a:cubicBezTo>
                  <a:pt x="2379" y="428"/>
                  <a:pt x="2379" y="431"/>
                  <a:pt x="2380" y="431"/>
                </a:cubicBezTo>
                <a:cubicBezTo>
                  <a:pt x="2381" y="431"/>
                  <a:pt x="2381" y="432"/>
                  <a:pt x="2382" y="431"/>
                </a:cubicBezTo>
                <a:cubicBezTo>
                  <a:pt x="2385" y="430"/>
                  <a:pt x="2385" y="430"/>
                  <a:pt x="2385" y="430"/>
                </a:cubicBezTo>
                <a:cubicBezTo>
                  <a:pt x="2385" y="430"/>
                  <a:pt x="2385" y="431"/>
                  <a:pt x="2386" y="431"/>
                </a:cubicBezTo>
                <a:cubicBezTo>
                  <a:pt x="2387" y="431"/>
                  <a:pt x="2387" y="432"/>
                  <a:pt x="2388" y="431"/>
                </a:cubicBezTo>
                <a:cubicBezTo>
                  <a:pt x="2388" y="429"/>
                  <a:pt x="2388" y="430"/>
                  <a:pt x="2388" y="428"/>
                </a:cubicBezTo>
                <a:cubicBezTo>
                  <a:pt x="2388" y="425"/>
                  <a:pt x="2387" y="426"/>
                  <a:pt x="2387" y="425"/>
                </a:cubicBezTo>
                <a:cubicBezTo>
                  <a:pt x="2387" y="424"/>
                  <a:pt x="2387" y="422"/>
                  <a:pt x="2388" y="422"/>
                </a:cubicBezTo>
                <a:cubicBezTo>
                  <a:pt x="2388" y="422"/>
                  <a:pt x="2390" y="423"/>
                  <a:pt x="2391" y="422"/>
                </a:cubicBezTo>
                <a:cubicBezTo>
                  <a:pt x="2391" y="422"/>
                  <a:pt x="2391" y="421"/>
                  <a:pt x="2392" y="420"/>
                </a:cubicBezTo>
                <a:cubicBezTo>
                  <a:pt x="2396" y="419"/>
                  <a:pt x="2395" y="416"/>
                  <a:pt x="2397" y="413"/>
                </a:cubicBezTo>
                <a:cubicBezTo>
                  <a:pt x="2397" y="412"/>
                  <a:pt x="2398" y="411"/>
                  <a:pt x="2399" y="411"/>
                </a:cubicBezTo>
                <a:cubicBezTo>
                  <a:pt x="2401" y="411"/>
                  <a:pt x="2402" y="412"/>
                  <a:pt x="2404" y="413"/>
                </a:cubicBezTo>
                <a:cubicBezTo>
                  <a:pt x="2408" y="415"/>
                  <a:pt x="2411" y="416"/>
                  <a:pt x="2409" y="420"/>
                </a:cubicBezTo>
                <a:cubicBezTo>
                  <a:pt x="2408" y="422"/>
                  <a:pt x="2406" y="422"/>
                  <a:pt x="2406" y="424"/>
                </a:cubicBezTo>
                <a:cubicBezTo>
                  <a:pt x="2405" y="425"/>
                  <a:pt x="2405" y="427"/>
                  <a:pt x="2406" y="428"/>
                </a:cubicBezTo>
                <a:cubicBezTo>
                  <a:pt x="2407" y="429"/>
                  <a:pt x="2410" y="427"/>
                  <a:pt x="2411" y="428"/>
                </a:cubicBezTo>
                <a:cubicBezTo>
                  <a:pt x="2412" y="428"/>
                  <a:pt x="2413" y="430"/>
                  <a:pt x="2412" y="431"/>
                </a:cubicBezTo>
                <a:cubicBezTo>
                  <a:pt x="2411" y="433"/>
                  <a:pt x="2408" y="431"/>
                  <a:pt x="2407" y="432"/>
                </a:cubicBezTo>
                <a:cubicBezTo>
                  <a:pt x="2406" y="433"/>
                  <a:pt x="2408" y="434"/>
                  <a:pt x="2409" y="434"/>
                </a:cubicBezTo>
                <a:cubicBezTo>
                  <a:pt x="2411" y="434"/>
                  <a:pt x="2412" y="433"/>
                  <a:pt x="2414" y="433"/>
                </a:cubicBezTo>
                <a:cubicBezTo>
                  <a:pt x="2415" y="432"/>
                  <a:pt x="2416" y="429"/>
                  <a:pt x="2417" y="428"/>
                </a:cubicBezTo>
                <a:cubicBezTo>
                  <a:pt x="2419" y="426"/>
                  <a:pt x="2423" y="425"/>
                  <a:pt x="2425" y="424"/>
                </a:cubicBezTo>
                <a:cubicBezTo>
                  <a:pt x="2427" y="423"/>
                  <a:pt x="2429" y="424"/>
                  <a:pt x="2430" y="422"/>
                </a:cubicBezTo>
                <a:cubicBezTo>
                  <a:pt x="2430" y="422"/>
                  <a:pt x="2430" y="422"/>
                  <a:pt x="2430" y="422"/>
                </a:cubicBezTo>
                <a:cubicBezTo>
                  <a:pt x="2430" y="422"/>
                  <a:pt x="2430" y="422"/>
                  <a:pt x="2430" y="422"/>
                </a:cubicBezTo>
                <a:cubicBezTo>
                  <a:pt x="2433" y="424"/>
                  <a:pt x="2432" y="424"/>
                  <a:pt x="2436" y="425"/>
                </a:cubicBezTo>
                <a:cubicBezTo>
                  <a:pt x="2438" y="425"/>
                  <a:pt x="2439" y="425"/>
                  <a:pt x="2440" y="425"/>
                </a:cubicBezTo>
                <a:cubicBezTo>
                  <a:pt x="2441" y="426"/>
                  <a:pt x="2442" y="426"/>
                  <a:pt x="2442" y="428"/>
                </a:cubicBezTo>
                <a:cubicBezTo>
                  <a:pt x="2444" y="433"/>
                  <a:pt x="2443" y="433"/>
                  <a:pt x="2443" y="436"/>
                </a:cubicBezTo>
                <a:cubicBezTo>
                  <a:pt x="2444" y="437"/>
                  <a:pt x="2444" y="439"/>
                  <a:pt x="2445" y="441"/>
                </a:cubicBezTo>
                <a:cubicBezTo>
                  <a:pt x="2446" y="443"/>
                  <a:pt x="2449" y="444"/>
                  <a:pt x="2449" y="444"/>
                </a:cubicBezTo>
                <a:cubicBezTo>
                  <a:pt x="2449" y="444"/>
                  <a:pt x="2453" y="444"/>
                  <a:pt x="2454" y="444"/>
                </a:cubicBezTo>
                <a:cubicBezTo>
                  <a:pt x="2455" y="444"/>
                  <a:pt x="2457" y="445"/>
                  <a:pt x="2458" y="445"/>
                </a:cubicBezTo>
                <a:cubicBezTo>
                  <a:pt x="2459" y="445"/>
                  <a:pt x="2459" y="445"/>
                  <a:pt x="2460" y="445"/>
                </a:cubicBezTo>
                <a:cubicBezTo>
                  <a:pt x="2460" y="445"/>
                  <a:pt x="2460" y="445"/>
                  <a:pt x="2460" y="445"/>
                </a:cubicBezTo>
                <a:cubicBezTo>
                  <a:pt x="2461" y="447"/>
                  <a:pt x="2461" y="447"/>
                  <a:pt x="2461" y="447"/>
                </a:cubicBezTo>
                <a:cubicBezTo>
                  <a:pt x="2463" y="447"/>
                  <a:pt x="2463" y="446"/>
                  <a:pt x="2464" y="448"/>
                </a:cubicBezTo>
                <a:cubicBezTo>
                  <a:pt x="2465" y="448"/>
                  <a:pt x="2465" y="448"/>
                  <a:pt x="2466" y="450"/>
                </a:cubicBezTo>
                <a:cubicBezTo>
                  <a:pt x="2467" y="451"/>
                  <a:pt x="2468" y="453"/>
                  <a:pt x="2468" y="454"/>
                </a:cubicBezTo>
                <a:cubicBezTo>
                  <a:pt x="2468" y="454"/>
                  <a:pt x="2469" y="454"/>
                  <a:pt x="2469" y="454"/>
                </a:cubicBezTo>
                <a:cubicBezTo>
                  <a:pt x="2469" y="455"/>
                  <a:pt x="2467" y="455"/>
                  <a:pt x="2467" y="455"/>
                </a:cubicBezTo>
                <a:cubicBezTo>
                  <a:pt x="2467" y="455"/>
                  <a:pt x="2466" y="453"/>
                  <a:pt x="2465" y="454"/>
                </a:cubicBezTo>
                <a:cubicBezTo>
                  <a:pt x="2462" y="456"/>
                  <a:pt x="2463" y="458"/>
                  <a:pt x="2466" y="458"/>
                </a:cubicBezTo>
                <a:cubicBezTo>
                  <a:pt x="2466" y="458"/>
                  <a:pt x="2465" y="455"/>
                  <a:pt x="2466" y="458"/>
                </a:cubicBezTo>
                <a:cubicBezTo>
                  <a:pt x="2471" y="465"/>
                  <a:pt x="2471" y="465"/>
                  <a:pt x="2471" y="465"/>
                </a:cubicBezTo>
                <a:cubicBezTo>
                  <a:pt x="2472" y="465"/>
                  <a:pt x="2472" y="465"/>
                  <a:pt x="2472" y="465"/>
                </a:cubicBezTo>
                <a:cubicBezTo>
                  <a:pt x="2472" y="466"/>
                  <a:pt x="2472" y="466"/>
                  <a:pt x="2472" y="467"/>
                </a:cubicBezTo>
                <a:cubicBezTo>
                  <a:pt x="2472" y="467"/>
                  <a:pt x="2473" y="467"/>
                  <a:pt x="2473" y="468"/>
                </a:cubicBezTo>
                <a:cubicBezTo>
                  <a:pt x="2473" y="468"/>
                  <a:pt x="2472" y="469"/>
                  <a:pt x="2471" y="469"/>
                </a:cubicBezTo>
                <a:cubicBezTo>
                  <a:pt x="2473" y="471"/>
                  <a:pt x="2472" y="471"/>
                  <a:pt x="2472" y="472"/>
                </a:cubicBezTo>
                <a:cubicBezTo>
                  <a:pt x="2472" y="473"/>
                  <a:pt x="2472" y="473"/>
                  <a:pt x="2472" y="474"/>
                </a:cubicBezTo>
                <a:cubicBezTo>
                  <a:pt x="2474" y="476"/>
                  <a:pt x="2473" y="475"/>
                  <a:pt x="2474" y="478"/>
                </a:cubicBezTo>
                <a:cubicBezTo>
                  <a:pt x="2474" y="479"/>
                  <a:pt x="2475" y="479"/>
                  <a:pt x="2475" y="479"/>
                </a:cubicBezTo>
                <a:cubicBezTo>
                  <a:pt x="2475" y="480"/>
                  <a:pt x="2475" y="480"/>
                  <a:pt x="2474" y="481"/>
                </a:cubicBezTo>
                <a:cubicBezTo>
                  <a:pt x="2474" y="481"/>
                  <a:pt x="2475" y="482"/>
                  <a:pt x="2474" y="482"/>
                </a:cubicBezTo>
                <a:cubicBezTo>
                  <a:pt x="2474" y="482"/>
                  <a:pt x="2473" y="482"/>
                  <a:pt x="2474" y="482"/>
                </a:cubicBezTo>
                <a:cubicBezTo>
                  <a:pt x="2474" y="483"/>
                  <a:pt x="2474" y="483"/>
                  <a:pt x="2474" y="483"/>
                </a:cubicBezTo>
                <a:cubicBezTo>
                  <a:pt x="2475" y="483"/>
                  <a:pt x="2476" y="484"/>
                  <a:pt x="2476" y="483"/>
                </a:cubicBezTo>
                <a:cubicBezTo>
                  <a:pt x="2477" y="481"/>
                  <a:pt x="2477" y="482"/>
                  <a:pt x="2477" y="482"/>
                </a:cubicBezTo>
                <a:cubicBezTo>
                  <a:pt x="2477" y="483"/>
                  <a:pt x="2477" y="483"/>
                  <a:pt x="2478" y="483"/>
                </a:cubicBezTo>
                <a:cubicBezTo>
                  <a:pt x="2478" y="483"/>
                  <a:pt x="2479" y="484"/>
                  <a:pt x="2479" y="483"/>
                </a:cubicBezTo>
                <a:cubicBezTo>
                  <a:pt x="2479" y="480"/>
                  <a:pt x="2479" y="481"/>
                  <a:pt x="2480" y="482"/>
                </a:cubicBezTo>
                <a:cubicBezTo>
                  <a:pt x="2482" y="482"/>
                  <a:pt x="2481" y="480"/>
                  <a:pt x="2483" y="480"/>
                </a:cubicBezTo>
                <a:cubicBezTo>
                  <a:pt x="2484" y="479"/>
                  <a:pt x="2483" y="479"/>
                  <a:pt x="2484" y="481"/>
                </a:cubicBezTo>
                <a:cubicBezTo>
                  <a:pt x="2484" y="482"/>
                  <a:pt x="2483" y="483"/>
                  <a:pt x="2484" y="482"/>
                </a:cubicBezTo>
                <a:cubicBezTo>
                  <a:pt x="2486" y="482"/>
                  <a:pt x="2486" y="483"/>
                  <a:pt x="2486" y="482"/>
                </a:cubicBezTo>
                <a:cubicBezTo>
                  <a:pt x="2486" y="480"/>
                  <a:pt x="2486" y="480"/>
                  <a:pt x="2487" y="479"/>
                </a:cubicBezTo>
                <a:cubicBezTo>
                  <a:pt x="2488" y="478"/>
                  <a:pt x="2488" y="480"/>
                  <a:pt x="2490" y="477"/>
                </a:cubicBezTo>
                <a:cubicBezTo>
                  <a:pt x="2489" y="477"/>
                  <a:pt x="2489" y="477"/>
                  <a:pt x="2488" y="477"/>
                </a:cubicBezTo>
                <a:cubicBezTo>
                  <a:pt x="2490" y="475"/>
                  <a:pt x="2490" y="478"/>
                  <a:pt x="2491" y="478"/>
                </a:cubicBezTo>
                <a:cubicBezTo>
                  <a:pt x="2492" y="478"/>
                  <a:pt x="2493" y="477"/>
                  <a:pt x="2493" y="478"/>
                </a:cubicBezTo>
                <a:cubicBezTo>
                  <a:pt x="2494" y="480"/>
                  <a:pt x="2493" y="480"/>
                  <a:pt x="2495" y="479"/>
                </a:cubicBezTo>
                <a:cubicBezTo>
                  <a:pt x="2496" y="479"/>
                  <a:pt x="2496" y="479"/>
                  <a:pt x="2496" y="478"/>
                </a:cubicBezTo>
                <a:cubicBezTo>
                  <a:pt x="2496" y="477"/>
                  <a:pt x="2496" y="477"/>
                  <a:pt x="2496" y="477"/>
                </a:cubicBezTo>
                <a:cubicBezTo>
                  <a:pt x="2495" y="476"/>
                  <a:pt x="2494" y="480"/>
                  <a:pt x="2493" y="476"/>
                </a:cubicBezTo>
                <a:cubicBezTo>
                  <a:pt x="2493" y="476"/>
                  <a:pt x="2494" y="475"/>
                  <a:pt x="2494" y="475"/>
                </a:cubicBezTo>
                <a:cubicBezTo>
                  <a:pt x="2494" y="475"/>
                  <a:pt x="2497" y="476"/>
                  <a:pt x="2498" y="476"/>
                </a:cubicBezTo>
                <a:cubicBezTo>
                  <a:pt x="2500" y="474"/>
                  <a:pt x="2499" y="472"/>
                  <a:pt x="2499" y="470"/>
                </a:cubicBezTo>
                <a:cubicBezTo>
                  <a:pt x="2499" y="470"/>
                  <a:pt x="2500" y="471"/>
                  <a:pt x="2499" y="468"/>
                </a:cubicBezTo>
                <a:cubicBezTo>
                  <a:pt x="2498" y="465"/>
                  <a:pt x="2499" y="465"/>
                  <a:pt x="2497" y="464"/>
                </a:cubicBezTo>
                <a:cubicBezTo>
                  <a:pt x="2496" y="463"/>
                  <a:pt x="2496" y="460"/>
                  <a:pt x="2495" y="460"/>
                </a:cubicBezTo>
                <a:cubicBezTo>
                  <a:pt x="2492" y="453"/>
                  <a:pt x="2492" y="453"/>
                  <a:pt x="2492" y="453"/>
                </a:cubicBezTo>
                <a:cubicBezTo>
                  <a:pt x="2492" y="453"/>
                  <a:pt x="2488" y="448"/>
                  <a:pt x="2487" y="447"/>
                </a:cubicBezTo>
                <a:cubicBezTo>
                  <a:pt x="2476" y="438"/>
                  <a:pt x="2476" y="438"/>
                  <a:pt x="2476" y="438"/>
                </a:cubicBezTo>
                <a:cubicBezTo>
                  <a:pt x="2476" y="438"/>
                  <a:pt x="2476" y="438"/>
                  <a:pt x="2476" y="438"/>
                </a:cubicBezTo>
                <a:cubicBezTo>
                  <a:pt x="2476" y="438"/>
                  <a:pt x="2476" y="437"/>
                  <a:pt x="2474" y="436"/>
                </a:cubicBezTo>
                <a:cubicBezTo>
                  <a:pt x="2470" y="434"/>
                  <a:pt x="2469" y="434"/>
                  <a:pt x="2468" y="434"/>
                </a:cubicBezTo>
                <a:cubicBezTo>
                  <a:pt x="2467" y="433"/>
                  <a:pt x="2468" y="432"/>
                  <a:pt x="2465" y="430"/>
                </a:cubicBezTo>
                <a:cubicBezTo>
                  <a:pt x="2462" y="429"/>
                  <a:pt x="2460" y="430"/>
                  <a:pt x="2460" y="428"/>
                </a:cubicBezTo>
                <a:cubicBezTo>
                  <a:pt x="2460" y="427"/>
                  <a:pt x="2459" y="426"/>
                  <a:pt x="2460" y="425"/>
                </a:cubicBezTo>
                <a:cubicBezTo>
                  <a:pt x="2461" y="423"/>
                  <a:pt x="2466" y="421"/>
                  <a:pt x="2466" y="420"/>
                </a:cubicBezTo>
                <a:cubicBezTo>
                  <a:pt x="2467" y="420"/>
                  <a:pt x="2469" y="419"/>
                  <a:pt x="2470" y="418"/>
                </a:cubicBezTo>
                <a:cubicBezTo>
                  <a:pt x="2471" y="416"/>
                  <a:pt x="2469" y="416"/>
                  <a:pt x="2471" y="414"/>
                </a:cubicBezTo>
                <a:cubicBezTo>
                  <a:pt x="2473" y="413"/>
                  <a:pt x="2473" y="412"/>
                  <a:pt x="2473" y="412"/>
                </a:cubicBezTo>
                <a:cubicBezTo>
                  <a:pt x="2474" y="411"/>
                  <a:pt x="2478" y="412"/>
                  <a:pt x="2475" y="411"/>
                </a:cubicBezTo>
                <a:cubicBezTo>
                  <a:pt x="2472" y="409"/>
                  <a:pt x="2473" y="408"/>
                  <a:pt x="2473" y="406"/>
                </a:cubicBezTo>
                <a:cubicBezTo>
                  <a:pt x="2472" y="404"/>
                  <a:pt x="2468" y="401"/>
                  <a:pt x="2469" y="400"/>
                </a:cubicBezTo>
                <a:cubicBezTo>
                  <a:pt x="2470" y="399"/>
                  <a:pt x="2475" y="395"/>
                  <a:pt x="2475" y="395"/>
                </a:cubicBezTo>
                <a:cubicBezTo>
                  <a:pt x="2475" y="394"/>
                  <a:pt x="2475" y="394"/>
                  <a:pt x="2475" y="394"/>
                </a:cubicBezTo>
                <a:cubicBezTo>
                  <a:pt x="2476" y="395"/>
                  <a:pt x="2476" y="395"/>
                  <a:pt x="2476" y="395"/>
                </a:cubicBezTo>
                <a:cubicBezTo>
                  <a:pt x="2478" y="390"/>
                  <a:pt x="2478" y="390"/>
                  <a:pt x="2478" y="390"/>
                </a:cubicBezTo>
                <a:cubicBezTo>
                  <a:pt x="2480" y="386"/>
                  <a:pt x="2480" y="386"/>
                  <a:pt x="2480" y="386"/>
                </a:cubicBezTo>
                <a:cubicBezTo>
                  <a:pt x="2480" y="386"/>
                  <a:pt x="2480" y="384"/>
                  <a:pt x="2481" y="384"/>
                </a:cubicBezTo>
                <a:cubicBezTo>
                  <a:pt x="2483" y="384"/>
                  <a:pt x="2483" y="388"/>
                  <a:pt x="2483" y="388"/>
                </a:cubicBezTo>
                <a:cubicBezTo>
                  <a:pt x="2487" y="392"/>
                  <a:pt x="2487" y="392"/>
                  <a:pt x="2487" y="392"/>
                </a:cubicBezTo>
                <a:cubicBezTo>
                  <a:pt x="2488" y="392"/>
                  <a:pt x="2493" y="391"/>
                  <a:pt x="2494" y="391"/>
                </a:cubicBezTo>
                <a:cubicBezTo>
                  <a:pt x="2495" y="391"/>
                  <a:pt x="2498" y="390"/>
                  <a:pt x="2498" y="390"/>
                </a:cubicBezTo>
                <a:cubicBezTo>
                  <a:pt x="2501" y="390"/>
                  <a:pt x="2501" y="390"/>
                  <a:pt x="2501" y="390"/>
                </a:cubicBezTo>
                <a:cubicBezTo>
                  <a:pt x="2504" y="386"/>
                  <a:pt x="2503" y="387"/>
                  <a:pt x="2508" y="383"/>
                </a:cubicBezTo>
                <a:cubicBezTo>
                  <a:pt x="2511" y="384"/>
                  <a:pt x="2508" y="377"/>
                  <a:pt x="2508" y="375"/>
                </a:cubicBezTo>
                <a:cubicBezTo>
                  <a:pt x="2508" y="372"/>
                  <a:pt x="2510" y="369"/>
                  <a:pt x="2510" y="368"/>
                </a:cubicBezTo>
                <a:cubicBezTo>
                  <a:pt x="2510" y="366"/>
                  <a:pt x="2510" y="363"/>
                  <a:pt x="2510" y="363"/>
                </a:cubicBezTo>
                <a:cubicBezTo>
                  <a:pt x="2513" y="359"/>
                  <a:pt x="2513" y="359"/>
                  <a:pt x="2513" y="359"/>
                </a:cubicBezTo>
                <a:cubicBezTo>
                  <a:pt x="2514" y="356"/>
                  <a:pt x="2515" y="353"/>
                  <a:pt x="2515" y="350"/>
                </a:cubicBezTo>
                <a:cubicBezTo>
                  <a:pt x="2516" y="348"/>
                  <a:pt x="2511" y="346"/>
                  <a:pt x="2513" y="342"/>
                </a:cubicBezTo>
                <a:cubicBezTo>
                  <a:pt x="2513" y="342"/>
                  <a:pt x="2514" y="341"/>
                  <a:pt x="2514" y="341"/>
                </a:cubicBezTo>
                <a:cubicBezTo>
                  <a:pt x="2514" y="341"/>
                  <a:pt x="2514" y="341"/>
                  <a:pt x="2514" y="339"/>
                </a:cubicBezTo>
                <a:cubicBezTo>
                  <a:pt x="2514" y="330"/>
                  <a:pt x="2520" y="333"/>
                  <a:pt x="2513" y="322"/>
                </a:cubicBezTo>
                <a:cubicBezTo>
                  <a:pt x="2513" y="322"/>
                  <a:pt x="2510" y="318"/>
                  <a:pt x="2510" y="317"/>
                </a:cubicBezTo>
                <a:cubicBezTo>
                  <a:pt x="2509" y="314"/>
                  <a:pt x="2506" y="311"/>
                  <a:pt x="2504" y="309"/>
                </a:cubicBezTo>
                <a:cubicBezTo>
                  <a:pt x="2503" y="308"/>
                  <a:pt x="2500" y="303"/>
                  <a:pt x="2500" y="302"/>
                </a:cubicBezTo>
                <a:cubicBezTo>
                  <a:pt x="2500" y="301"/>
                  <a:pt x="2499" y="298"/>
                  <a:pt x="2499" y="298"/>
                </a:cubicBezTo>
                <a:cubicBezTo>
                  <a:pt x="2499" y="294"/>
                  <a:pt x="2499" y="294"/>
                  <a:pt x="2498" y="290"/>
                </a:cubicBezTo>
                <a:cubicBezTo>
                  <a:pt x="2497" y="291"/>
                  <a:pt x="2498" y="289"/>
                  <a:pt x="2498" y="289"/>
                </a:cubicBezTo>
                <a:cubicBezTo>
                  <a:pt x="2498" y="289"/>
                  <a:pt x="2497" y="289"/>
                  <a:pt x="2497" y="288"/>
                </a:cubicBezTo>
                <a:cubicBezTo>
                  <a:pt x="2498" y="288"/>
                  <a:pt x="2493" y="287"/>
                  <a:pt x="2493" y="287"/>
                </a:cubicBezTo>
                <a:cubicBezTo>
                  <a:pt x="2493" y="287"/>
                  <a:pt x="2493" y="287"/>
                  <a:pt x="2493" y="287"/>
                </a:cubicBezTo>
                <a:cubicBezTo>
                  <a:pt x="2493" y="287"/>
                  <a:pt x="2493" y="287"/>
                  <a:pt x="2493" y="287"/>
                </a:cubicBezTo>
                <a:cubicBezTo>
                  <a:pt x="2493" y="287"/>
                  <a:pt x="2492" y="285"/>
                  <a:pt x="2491" y="283"/>
                </a:cubicBezTo>
                <a:cubicBezTo>
                  <a:pt x="2490" y="282"/>
                  <a:pt x="2490" y="282"/>
                  <a:pt x="2490" y="282"/>
                </a:cubicBezTo>
                <a:cubicBezTo>
                  <a:pt x="2490" y="282"/>
                  <a:pt x="2489" y="282"/>
                  <a:pt x="2489" y="282"/>
                </a:cubicBezTo>
                <a:cubicBezTo>
                  <a:pt x="2489" y="281"/>
                  <a:pt x="2490" y="280"/>
                  <a:pt x="2490" y="279"/>
                </a:cubicBezTo>
                <a:cubicBezTo>
                  <a:pt x="2490" y="274"/>
                  <a:pt x="2483" y="276"/>
                  <a:pt x="2478" y="272"/>
                </a:cubicBezTo>
                <a:cubicBezTo>
                  <a:pt x="2475" y="270"/>
                  <a:pt x="2474" y="269"/>
                  <a:pt x="2471" y="269"/>
                </a:cubicBezTo>
                <a:cubicBezTo>
                  <a:pt x="2469" y="269"/>
                  <a:pt x="2469" y="269"/>
                  <a:pt x="2469" y="269"/>
                </a:cubicBezTo>
                <a:cubicBezTo>
                  <a:pt x="2468" y="268"/>
                  <a:pt x="2469" y="268"/>
                  <a:pt x="2469" y="268"/>
                </a:cubicBezTo>
                <a:cubicBezTo>
                  <a:pt x="2468" y="267"/>
                  <a:pt x="2469" y="268"/>
                  <a:pt x="2467" y="266"/>
                </a:cubicBezTo>
                <a:cubicBezTo>
                  <a:pt x="2466" y="265"/>
                  <a:pt x="2465" y="266"/>
                  <a:pt x="2465" y="266"/>
                </a:cubicBezTo>
                <a:cubicBezTo>
                  <a:pt x="2464" y="266"/>
                  <a:pt x="2464" y="267"/>
                  <a:pt x="2464" y="267"/>
                </a:cubicBezTo>
                <a:cubicBezTo>
                  <a:pt x="2457" y="267"/>
                  <a:pt x="2457" y="267"/>
                  <a:pt x="2457" y="267"/>
                </a:cubicBezTo>
                <a:cubicBezTo>
                  <a:pt x="2457" y="267"/>
                  <a:pt x="2458" y="269"/>
                  <a:pt x="2459" y="269"/>
                </a:cubicBezTo>
                <a:cubicBezTo>
                  <a:pt x="2461" y="269"/>
                  <a:pt x="2461" y="268"/>
                  <a:pt x="2461" y="270"/>
                </a:cubicBezTo>
                <a:cubicBezTo>
                  <a:pt x="2461" y="274"/>
                  <a:pt x="2462" y="274"/>
                  <a:pt x="2460" y="274"/>
                </a:cubicBezTo>
                <a:cubicBezTo>
                  <a:pt x="2460" y="271"/>
                  <a:pt x="2460" y="272"/>
                  <a:pt x="2459" y="269"/>
                </a:cubicBezTo>
                <a:cubicBezTo>
                  <a:pt x="2459" y="269"/>
                  <a:pt x="2458" y="270"/>
                  <a:pt x="2457" y="270"/>
                </a:cubicBezTo>
                <a:cubicBezTo>
                  <a:pt x="2456" y="271"/>
                  <a:pt x="2458" y="271"/>
                  <a:pt x="2458" y="274"/>
                </a:cubicBezTo>
                <a:cubicBezTo>
                  <a:pt x="2454" y="273"/>
                  <a:pt x="2454" y="273"/>
                  <a:pt x="2451" y="273"/>
                </a:cubicBezTo>
                <a:cubicBezTo>
                  <a:pt x="2451" y="271"/>
                  <a:pt x="2452" y="272"/>
                  <a:pt x="2453" y="271"/>
                </a:cubicBezTo>
                <a:cubicBezTo>
                  <a:pt x="2454" y="271"/>
                  <a:pt x="2454" y="269"/>
                  <a:pt x="2453" y="268"/>
                </a:cubicBezTo>
                <a:cubicBezTo>
                  <a:pt x="2453" y="268"/>
                  <a:pt x="2451" y="268"/>
                  <a:pt x="2452" y="269"/>
                </a:cubicBezTo>
                <a:cubicBezTo>
                  <a:pt x="2451" y="269"/>
                  <a:pt x="2451" y="269"/>
                  <a:pt x="2450" y="268"/>
                </a:cubicBezTo>
                <a:cubicBezTo>
                  <a:pt x="2448" y="267"/>
                  <a:pt x="2448" y="267"/>
                  <a:pt x="2448" y="267"/>
                </a:cubicBezTo>
                <a:cubicBezTo>
                  <a:pt x="2449" y="262"/>
                  <a:pt x="2447" y="264"/>
                  <a:pt x="2446" y="266"/>
                </a:cubicBezTo>
                <a:cubicBezTo>
                  <a:pt x="2445" y="268"/>
                  <a:pt x="2444" y="267"/>
                  <a:pt x="2445" y="268"/>
                </a:cubicBezTo>
                <a:cubicBezTo>
                  <a:pt x="2446" y="269"/>
                  <a:pt x="2446" y="270"/>
                  <a:pt x="2446" y="270"/>
                </a:cubicBezTo>
                <a:cubicBezTo>
                  <a:pt x="2446" y="270"/>
                  <a:pt x="2445" y="271"/>
                  <a:pt x="2444" y="271"/>
                </a:cubicBezTo>
                <a:cubicBezTo>
                  <a:pt x="2445" y="270"/>
                  <a:pt x="2443" y="270"/>
                  <a:pt x="2443" y="269"/>
                </a:cubicBezTo>
                <a:cubicBezTo>
                  <a:pt x="2443" y="268"/>
                  <a:pt x="2443" y="268"/>
                  <a:pt x="2441" y="267"/>
                </a:cubicBezTo>
                <a:cubicBezTo>
                  <a:pt x="2441" y="266"/>
                  <a:pt x="2441" y="264"/>
                  <a:pt x="2440" y="263"/>
                </a:cubicBezTo>
                <a:cubicBezTo>
                  <a:pt x="2440" y="263"/>
                  <a:pt x="2438" y="264"/>
                  <a:pt x="2437" y="264"/>
                </a:cubicBezTo>
                <a:cubicBezTo>
                  <a:pt x="2435" y="264"/>
                  <a:pt x="2433" y="264"/>
                  <a:pt x="2431" y="264"/>
                </a:cubicBezTo>
                <a:cubicBezTo>
                  <a:pt x="2430" y="262"/>
                  <a:pt x="2430" y="263"/>
                  <a:pt x="2428" y="262"/>
                </a:cubicBezTo>
                <a:cubicBezTo>
                  <a:pt x="2427" y="262"/>
                  <a:pt x="2424" y="262"/>
                  <a:pt x="2423" y="261"/>
                </a:cubicBezTo>
                <a:cubicBezTo>
                  <a:pt x="2423" y="261"/>
                  <a:pt x="2423" y="261"/>
                  <a:pt x="2423" y="260"/>
                </a:cubicBezTo>
                <a:cubicBezTo>
                  <a:pt x="2424" y="259"/>
                  <a:pt x="2426" y="258"/>
                  <a:pt x="2427" y="257"/>
                </a:cubicBezTo>
                <a:cubicBezTo>
                  <a:pt x="2429" y="255"/>
                  <a:pt x="2429" y="253"/>
                  <a:pt x="2430" y="251"/>
                </a:cubicBezTo>
                <a:cubicBezTo>
                  <a:pt x="2431" y="249"/>
                  <a:pt x="2431" y="248"/>
                  <a:pt x="2432" y="248"/>
                </a:cubicBezTo>
                <a:cubicBezTo>
                  <a:pt x="2432" y="247"/>
                  <a:pt x="2433" y="247"/>
                  <a:pt x="2433" y="246"/>
                </a:cubicBezTo>
                <a:cubicBezTo>
                  <a:pt x="2433" y="245"/>
                  <a:pt x="2432" y="244"/>
                  <a:pt x="2432" y="244"/>
                </a:cubicBezTo>
                <a:cubicBezTo>
                  <a:pt x="2434" y="239"/>
                  <a:pt x="2432" y="240"/>
                  <a:pt x="2436" y="235"/>
                </a:cubicBezTo>
                <a:cubicBezTo>
                  <a:pt x="2439" y="230"/>
                  <a:pt x="2439" y="230"/>
                  <a:pt x="2439" y="230"/>
                </a:cubicBezTo>
                <a:cubicBezTo>
                  <a:pt x="2437" y="225"/>
                  <a:pt x="2437" y="225"/>
                  <a:pt x="2437" y="225"/>
                </a:cubicBezTo>
                <a:cubicBezTo>
                  <a:pt x="2437" y="225"/>
                  <a:pt x="2437" y="224"/>
                  <a:pt x="2438" y="223"/>
                </a:cubicBezTo>
                <a:cubicBezTo>
                  <a:pt x="2439" y="223"/>
                  <a:pt x="2442" y="221"/>
                  <a:pt x="2442" y="221"/>
                </a:cubicBezTo>
                <a:cubicBezTo>
                  <a:pt x="2442" y="221"/>
                  <a:pt x="2442" y="220"/>
                  <a:pt x="2441" y="219"/>
                </a:cubicBezTo>
                <a:cubicBezTo>
                  <a:pt x="2441" y="219"/>
                  <a:pt x="2443" y="216"/>
                  <a:pt x="2443" y="216"/>
                </a:cubicBezTo>
                <a:cubicBezTo>
                  <a:pt x="2444" y="216"/>
                  <a:pt x="2447" y="214"/>
                  <a:pt x="2447" y="214"/>
                </a:cubicBezTo>
                <a:cubicBezTo>
                  <a:pt x="2447" y="214"/>
                  <a:pt x="2451" y="214"/>
                  <a:pt x="2452" y="214"/>
                </a:cubicBezTo>
                <a:cubicBezTo>
                  <a:pt x="2453" y="214"/>
                  <a:pt x="2465" y="213"/>
                  <a:pt x="2465" y="213"/>
                </a:cubicBezTo>
                <a:cubicBezTo>
                  <a:pt x="2466" y="214"/>
                  <a:pt x="2469" y="216"/>
                  <a:pt x="2471" y="216"/>
                </a:cubicBezTo>
                <a:cubicBezTo>
                  <a:pt x="2472" y="216"/>
                  <a:pt x="2473" y="216"/>
                  <a:pt x="2473" y="215"/>
                </a:cubicBezTo>
                <a:cubicBezTo>
                  <a:pt x="2473" y="215"/>
                  <a:pt x="2472" y="214"/>
                  <a:pt x="2472" y="214"/>
                </a:cubicBezTo>
                <a:cubicBezTo>
                  <a:pt x="2472" y="213"/>
                  <a:pt x="2473" y="214"/>
                  <a:pt x="2473" y="214"/>
                </a:cubicBezTo>
                <a:cubicBezTo>
                  <a:pt x="2474" y="214"/>
                  <a:pt x="2475" y="214"/>
                  <a:pt x="2476" y="214"/>
                </a:cubicBezTo>
                <a:cubicBezTo>
                  <a:pt x="2477" y="214"/>
                  <a:pt x="2479" y="215"/>
                  <a:pt x="2480" y="215"/>
                </a:cubicBezTo>
                <a:cubicBezTo>
                  <a:pt x="2482" y="215"/>
                  <a:pt x="2483" y="214"/>
                  <a:pt x="2485" y="214"/>
                </a:cubicBezTo>
                <a:cubicBezTo>
                  <a:pt x="2486" y="214"/>
                  <a:pt x="2489" y="216"/>
                  <a:pt x="2491" y="216"/>
                </a:cubicBezTo>
                <a:cubicBezTo>
                  <a:pt x="2493" y="216"/>
                  <a:pt x="2494" y="214"/>
                  <a:pt x="2491" y="213"/>
                </a:cubicBezTo>
                <a:cubicBezTo>
                  <a:pt x="2491" y="213"/>
                  <a:pt x="2489" y="212"/>
                  <a:pt x="2490" y="211"/>
                </a:cubicBezTo>
                <a:cubicBezTo>
                  <a:pt x="2491" y="210"/>
                  <a:pt x="2492" y="210"/>
                  <a:pt x="2492" y="210"/>
                </a:cubicBezTo>
                <a:cubicBezTo>
                  <a:pt x="2496" y="211"/>
                  <a:pt x="2500" y="215"/>
                  <a:pt x="2504" y="214"/>
                </a:cubicBezTo>
                <a:cubicBezTo>
                  <a:pt x="2510" y="211"/>
                  <a:pt x="2507" y="211"/>
                  <a:pt x="2512" y="213"/>
                </a:cubicBezTo>
                <a:cubicBezTo>
                  <a:pt x="2513" y="214"/>
                  <a:pt x="2516" y="215"/>
                  <a:pt x="2516" y="215"/>
                </a:cubicBezTo>
                <a:cubicBezTo>
                  <a:pt x="2516" y="216"/>
                  <a:pt x="2517" y="217"/>
                  <a:pt x="2516" y="218"/>
                </a:cubicBezTo>
                <a:cubicBezTo>
                  <a:pt x="2515" y="219"/>
                  <a:pt x="2513" y="218"/>
                  <a:pt x="2512" y="219"/>
                </a:cubicBezTo>
                <a:cubicBezTo>
                  <a:pt x="2512" y="219"/>
                  <a:pt x="2512" y="220"/>
                  <a:pt x="2513" y="220"/>
                </a:cubicBezTo>
                <a:cubicBezTo>
                  <a:pt x="2515" y="220"/>
                  <a:pt x="2519" y="220"/>
                  <a:pt x="2519" y="220"/>
                </a:cubicBezTo>
                <a:cubicBezTo>
                  <a:pt x="2520" y="219"/>
                  <a:pt x="2521" y="217"/>
                  <a:pt x="2522" y="217"/>
                </a:cubicBezTo>
                <a:cubicBezTo>
                  <a:pt x="2524" y="217"/>
                  <a:pt x="2524" y="220"/>
                  <a:pt x="2525" y="220"/>
                </a:cubicBezTo>
                <a:cubicBezTo>
                  <a:pt x="2527" y="220"/>
                  <a:pt x="2528" y="217"/>
                  <a:pt x="2530" y="216"/>
                </a:cubicBezTo>
                <a:cubicBezTo>
                  <a:pt x="2531" y="216"/>
                  <a:pt x="2531" y="217"/>
                  <a:pt x="2532" y="217"/>
                </a:cubicBezTo>
                <a:cubicBezTo>
                  <a:pt x="2535" y="218"/>
                  <a:pt x="2537" y="219"/>
                  <a:pt x="2539" y="218"/>
                </a:cubicBezTo>
                <a:cubicBezTo>
                  <a:pt x="2541" y="218"/>
                  <a:pt x="2538" y="216"/>
                  <a:pt x="2538" y="214"/>
                </a:cubicBezTo>
                <a:cubicBezTo>
                  <a:pt x="2538" y="214"/>
                  <a:pt x="2533" y="213"/>
                  <a:pt x="2531" y="213"/>
                </a:cubicBezTo>
                <a:cubicBezTo>
                  <a:pt x="2530" y="213"/>
                  <a:pt x="2528" y="216"/>
                  <a:pt x="2528" y="214"/>
                </a:cubicBezTo>
                <a:cubicBezTo>
                  <a:pt x="2528" y="211"/>
                  <a:pt x="2528" y="210"/>
                  <a:pt x="2528" y="210"/>
                </a:cubicBezTo>
                <a:cubicBezTo>
                  <a:pt x="2528" y="210"/>
                  <a:pt x="2527" y="209"/>
                  <a:pt x="2527" y="209"/>
                </a:cubicBezTo>
                <a:cubicBezTo>
                  <a:pt x="2527" y="208"/>
                  <a:pt x="2529" y="207"/>
                  <a:pt x="2530" y="205"/>
                </a:cubicBezTo>
                <a:cubicBezTo>
                  <a:pt x="2530" y="205"/>
                  <a:pt x="2528" y="205"/>
                  <a:pt x="2528" y="204"/>
                </a:cubicBezTo>
                <a:cubicBezTo>
                  <a:pt x="2528" y="203"/>
                  <a:pt x="2530" y="203"/>
                  <a:pt x="2530" y="201"/>
                </a:cubicBezTo>
                <a:cubicBezTo>
                  <a:pt x="2531" y="200"/>
                  <a:pt x="2530" y="199"/>
                  <a:pt x="2529" y="198"/>
                </a:cubicBezTo>
                <a:cubicBezTo>
                  <a:pt x="2529" y="197"/>
                  <a:pt x="2529" y="197"/>
                  <a:pt x="2529" y="197"/>
                </a:cubicBezTo>
                <a:cubicBezTo>
                  <a:pt x="2529" y="195"/>
                  <a:pt x="2529" y="194"/>
                  <a:pt x="2529" y="193"/>
                </a:cubicBezTo>
                <a:cubicBezTo>
                  <a:pt x="2529" y="193"/>
                  <a:pt x="2532" y="190"/>
                  <a:pt x="2533" y="190"/>
                </a:cubicBezTo>
                <a:cubicBezTo>
                  <a:pt x="2534" y="190"/>
                  <a:pt x="2544" y="191"/>
                  <a:pt x="2544" y="191"/>
                </a:cubicBezTo>
                <a:cubicBezTo>
                  <a:pt x="2546" y="191"/>
                  <a:pt x="2547" y="190"/>
                  <a:pt x="2548" y="190"/>
                </a:cubicBezTo>
                <a:cubicBezTo>
                  <a:pt x="2549" y="191"/>
                  <a:pt x="2551" y="191"/>
                  <a:pt x="2552" y="191"/>
                </a:cubicBezTo>
                <a:cubicBezTo>
                  <a:pt x="2554" y="194"/>
                  <a:pt x="2553" y="195"/>
                  <a:pt x="2559" y="198"/>
                </a:cubicBezTo>
                <a:cubicBezTo>
                  <a:pt x="2560" y="198"/>
                  <a:pt x="2561" y="198"/>
                  <a:pt x="2562" y="198"/>
                </a:cubicBezTo>
                <a:cubicBezTo>
                  <a:pt x="2563" y="199"/>
                  <a:pt x="2563" y="200"/>
                  <a:pt x="2564" y="201"/>
                </a:cubicBezTo>
                <a:cubicBezTo>
                  <a:pt x="2564" y="201"/>
                  <a:pt x="2568" y="202"/>
                  <a:pt x="2569" y="202"/>
                </a:cubicBezTo>
                <a:cubicBezTo>
                  <a:pt x="2570" y="202"/>
                  <a:pt x="2570" y="195"/>
                  <a:pt x="2570" y="195"/>
                </a:cubicBezTo>
                <a:cubicBezTo>
                  <a:pt x="2572" y="193"/>
                  <a:pt x="2572" y="193"/>
                  <a:pt x="2575" y="193"/>
                </a:cubicBezTo>
                <a:cubicBezTo>
                  <a:pt x="2576" y="192"/>
                  <a:pt x="2576" y="191"/>
                  <a:pt x="2576" y="190"/>
                </a:cubicBezTo>
                <a:cubicBezTo>
                  <a:pt x="2576" y="189"/>
                  <a:pt x="2574" y="190"/>
                  <a:pt x="2573" y="189"/>
                </a:cubicBezTo>
                <a:cubicBezTo>
                  <a:pt x="2572" y="188"/>
                  <a:pt x="2571" y="186"/>
                  <a:pt x="2571" y="184"/>
                </a:cubicBezTo>
                <a:cubicBezTo>
                  <a:pt x="2571" y="184"/>
                  <a:pt x="2572" y="183"/>
                  <a:pt x="2573" y="183"/>
                </a:cubicBezTo>
                <a:cubicBezTo>
                  <a:pt x="2574" y="183"/>
                  <a:pt x="2578" y="183"/>
                  <a:pt x="2578" y="183"/>
                </a:cubicBezTo>
                <a:cubicBezTo>
                  <a:pt x="2579" y="184"/>
                  <a:pt x="2580" y="184"/>
                  <a:pt x="2581" y="185"/>
                </a:cubicBezTo>
                <a:cubicBezTo>
                  <a:pt x="2581" y="185"/>
                  <a:pt x="2578" y="186"/>
                  <a:pt x="2578" y="187"/>
                </a:cubicBezTo>
                <a:cubicBezTo>
                  <a:pt x="2578" y="188"/>
                  <a:pt x="2575" y="186"/>
                  <a:pt x="2578" y="189"/>
                </a:cubicBezTo>
                <a:cubicBezTo>
                  <a:pt x="2581" y="191"/>
                  <a:pt x="2586" y="193"/>
                  <a:pt x="2586" y="193"/>
                </a:cubicBezTo>
                <a:cubicBezTo>
                  <a:pt x="2585" y="194"/>
                  <a:pt x="2583" y="195"/>
                  <a:pt x="2584" y="196"/>
                </a:cubicBezTo>
                <a:cubicBezTo>
                  <a:pt x="2585" y="197"/>
                  <a:pt x="2587" y="195"/>
                  <a:pt x="2589" y="196"/>
                </a:cubicBezTo>
                <a:cubicBezTo>
                  <a:pt x="2590" y="196"/>
                  <a:pt x="2585" y="201"/>
                  <a:pt x="2584" y="201"/>
                </a:cubicBezTo>
                <a:cubicBezTo>
                  <a:pt x="2584" y="201"/>
                  <a:pt x="2583" y="205"/>
                  <a:pt x="2582" y="205"/>
                </a:cubicBezTo>
                <a:cubicBezTo>
                  <a:pt x="2581" y="205"/>
                  <a:pt x="2579" y="206"/>
                  <a:pt x="2579" y="206"/>
                </a:cubicBezTo>
                <a:cubicBezTo>
                  <a:pt x="2580" y="208"/>
                  <a:pt x="2581" y="209"/>
                  <a:pt x="2581" y="211"/>
                </a:cubicBezTo>
                <a:cubicBezTo>
                  <a:pt x="2581" y="213"/>
                  <a:pt x="2578" y="215"/>
                  <a:pt x="2578" y="215"/>
                </a:cubicBezTo>
                <a:cubicBezTo>
                  <a:pt x="2580" y="218"/>
                  <a:pt x="2581" y="219"/>
                  <a:pt x="2580" y="222"/>
                </a:cubicBezTo>
                <a:cubicBezTo>
                  <a:pt x="2580" y="225"/>
                  <a:pt x="2578" y="228"/>
                  <a:pt x="2575" y="229"/>
                </a:cubicBezTo>
                <a:cubicBezTo>
                  <a:pt x="2574" y="230"/>
                  <a:pt x="2572" y="229"/>
                  <a:pt x="2571" y="230"/>
                </a:cubicBezTo>
                <a:cubicBezTo>
                  <a:pt x="2570" y="231"/>
                  <a:pt x="2568" y="231"/>
                  <a:pt x="2567" y="232"/>
                </a:cubicBezTo>
                <a:cubicBezTo>
                  <a:pt x="2567" y="234"/>
                  <a:pt x="2570" y="233"/>
                  <a:pt x="2571" y="234"/>
                </a:cubicBezTo>
                <a:cubicBezTo>
                  <a:pt x="2573" y="235"/>
                  <a:pt x="2576" y="236"/>
                  <a:pt x="2577" y="239"/>
                </a:cubicBezTo>
                <a:cubicBezTo>
                  <a:pt x="2577" y="240"/>
                  <a:pt x="2574" y="240"/>
                  <a:pt x="2574" y="241"/>
                </a:cubicBezTo>
                <a:cubicBezTo>
                  <a:pt x="2574" y="243"/>
                  <a:pt x="2575" y="245"/>
                  <a:pt x="2576" y="247"/>
                </a:cubicBezTo>
                <a:cubicBezTo>
                  <a:pt x="2577" y="249"/>
                  <a:pt x="2579" y="251"/>
                  <a:pt x="2580" y="253"/>
                </a:cubicBezTo>
                <a:cubicBezTo>
                  <a:pt x="2582" y="255"/>
                  <a:pt x="2584" y="258"/>
                  <a:pt x="2586" y="260"/>
                </a:cubicBezTo>
                <a:cubicBezTo>
                  <a:pt x="2588" y="261"/>
                  <a:pt x="2590" y="260"/>
                  <a:pt x="2591" y="261"/>
                </a:cubicBezTo>
                <a:cubicBezTo>
                  <a:pt x="2593" y="263"/>
                  <a:pt x="2594" y="266"/>
                  <a:pt x="2595" y="268"/>
                </a:cubicBezTo>
                <a:cubicBezTo>
                  <a:pt x="2597" y="269"/>
                  <a:pt x="2600" y="269"/>
                  <a:pt x="2601" y="270"/>
                </a:cubicBezTo>
                <a:cubicBezTo>
                  <a:pt x="2606" y="275"/>
                  <a:pt x="2611" y="280"/>
                  <a:pt x="2616" y="285"/>
                </a:cubicBezTo>
                <a:cubicBezTo>
                  <a:pt x="2616" y="285"/>
                  <a:pt x="2618" y="288"/>
                  <a:pt x="2619" y="289"/>
                </a:cubicBezTo>
                <a:cubicBezTo>
                  <a:pt x="2620" y="291"/>
                  <a:pt x="2624" y="296"/>
                  <a:pt x="2624" y="296"/>
                </a:cubicBezTo>
                <a:cubicBezTo>
                  <a:pt x="2627" y="296"/>
                  <a:pt x="2629" y="298"/>
                  <a:pt x="2631" y="299"/>
                </a:cubicBezTo>
                <a:cubicBezTo>
                  <a:pt x="2633" y="300"/>
                  <a:pt x="2635" y="303"/>
                  <a:pt x="2637" y="304"/>
                </a:cubicBezTo>
                <a:cubicBezTo>
                  <a:pt x="2638" y="304"/>
                  <a:pt x="2640" y="301"/>
                  <a:pt x="2640" y="300"/>
                </a:cubicBezTo>
                <a:cubicBezTo>
                  <a:pt x="2642" y="297"/>
                  <a:pt x="2642" y="293"/>
                  <a:pt x="2640" y="290"/>
                </a:cubicBezTo>
                <a:cubicBezTo>
                  <a:pt x="2639" y="288"/>
                  <a:pt x="2636" y="287"/>
                  <a:pt x="2635" y="285"/>
                </a:cubicBezTo>
                <a:cubicBezTo>
                  <a:pt x="2635" y="283"/>
                  <a:pt x="2634" y="281"/>
                  <a:pt x="2635" y="280"/>
                </a:cubicBezTo>
                <a:cubicBezTo>
                  <a:pt x="2636" y="279"/>
                  <a:pt x="2638" y="280"/>
                  <a:pt x="2639" y="280"/>
                </a:cubicBezTo>
                <a:cubicBezTo>
                  <a:pt x="2639" y="280"/>
                  <a:pt x="2640" y="279"/>
                  <a:pt x="2640" y="280"/>
                </a:cubicBezTo>
                <a:cubicBezTo>
                  <a:pt x="2641" y="280"/>
                  <a:pt x="2642" y="281"/>
                  <a:pt x="2642" y="281"/>
                </a:cubicBezTo>
                <a:cubicBezTo>
                  <a:pt x="2642" y="281"/>
                  <a:pt x="2645" y="282"/>
                  <a:pt x="2644" y="280"/>
                </a:cubicBezTo>
                <a:cubicBezTo>
                  <a:pt x="2643" y="279"/>
                  <a:pt x="2638" y="274"/>
                  <a:pt x="2638" y="274"/>
                </a:cubicBezTo>
                <a:cubicBezTo>
                  <a:pt x="2637" y="272"/>
                  <a:pt x="2636" y="271"/>
                  <a:pt x="2635" y="269"/>
                </a:cubicBezTo>
                <a:cubicBezTo>
                  <a:pt x="2635" y="268"/>
                  <a:pt x="2636" y="267"/>
                  <a:pt x="2637" y="266"/>
                </a:cubicBezTo>
                <a:cubicBezTo>
                  <a:pt x="2640" y="266"/>
                  <a:pt x="2641" y="266"/>
                  <a:pt x="2644" y="265"/>
                </a:cubicBezTo>
                <a:cubicBezTo>
                  <a:pt x="2644" y="265"/>
                  <a:pt x="2646" y="264"/>
                  <a:pt x="2644" y="263"/>
                </a:cubicBezTo>
                <a:cubicBezTo>
                  <a:pt x="2642" y="261"/>
                  <a:pt x="2638" y="261"/>
                  <a:pt x="2638" y="261"/>
                </a:cubicBezTo>
                <a:cubicBezTo>
                  <a:pt x="2631" y="251"/>
                  <a:pt x="2633" y="255"/>
                  <a:pt x="2631" y="244"/>
                </a:cubicBezTo>
                <a:cubicBezTo>
                  <a:pt x="2634" y="250"/>
                  <a:pt x="2635" y="248"/>
                  <a:pt x="2635" y="249"/>
                </a:cubicBezTo>
                <a:cubicBezTo>
                  <a:pt x="2636" y="249"/>
                  <a:pt x="2637" y="249"/>
                  <a:pt x="2638" y="250"/>
                </a:cubicBezTo>
                <a:cubicBezTo>
                  <a:pt x="2638" y="250"/>
                  <a:pt x="2640" y="247"/>
                  <a:pt x="2639" y="246"/>
                </a:cubicBezTo>
                <a:cubicBezTo>
                  <a:pt x="2632" y="242"/>
                  <a:pt x="2634" y="241"/>
                  <a:pt x="2628" y="243"/>
                </a:cubicBezTo>
                <a:cubicBezTo>
                  <a:pt x="2625" y="235"/>
                  <a:pt x="2627" y="238"/>
                  <a:pt x="2621" y="236"/>
                </a:cubicBezTo>
                <a:cubicBezTo>
                  <a:pt x="2621" y="234"/>
                  <a:pt x="2622" y="232"/>
                  <a:pt x="2622" y="230"/>
                </a:cubicBezTo>
                <a:cubicBezTo>
                  <a:pt x="2619" y="227"/>
                  <a:pt x="2618" y="228"/>
                  <a:pt x="2613" y="229"/>
                </a:cubicBezTo>
                <a:cubicBezTo>
                  <a:pt x="2613" y="229"/>
                  <a:pt x="2614" y="231"/>
                  <a:pt x="2612" y="231"/>
                </a:cubicBezTo>
                <a:cubicBezTo>
                  <a:pt x="2610" y="231"/>
                  <a:pt x="2608" y="228"/>
                  <a:pt x="2608" y="228"/>
                </a:cubicBezTo>
                <a:cubicBezTo>
                  <a:pt x="2608" y="226"/>
                  <a:pt x="2607" y="224"/>
                  <a:pt x="2607" y="222"/>
                </a:cubicBezTo>
                <a:cubicBezTo>
                  <a:pt x="2607" y="222"/>
                  <a:pt x="2607" y="219"/>
                  <a:pt x="2606" y="218"/>
                </a:cubicBezTo>
                <a:cubicBezTo>
                  <a:pt x="2605" y="216"/>
                  <a:pt x="2603" y="215"/>
                  <a:pt x="2602" y="213"/>
                </a:cubicBezTo>
                <a:cubicBezTo>
                  <a:pt x="2602" y="213"/>
                  <a:pt x="2598" y="211"/>
                  <a:pt x="2599" y="211"/>
                </a:cubicBezTo>
                <a:cubicBezTo>
                  <a:pt x="2601" y="211"/>
                  <a:pt x="2602" y="209"/>
                  <a:pt x="2603" y="209"/>
                </a:cubicBezTo>
                <a:cubicBezTo>
                  <a:pt x="2605" y="209"/>
                  <a:pt x="2606" y="209"/>
                  <a:pt x="2606" y="209"/>
                </a:cubicBezTo>
                <a:cubicBezTo>
                  <a:pt x="2606" y="209"/>
                  <a:pt x="2609" y="211"/>
                  <a:pt x="2609" y="211"/>
                </a:cubicBezTo>
                <a:cubicBezTo>
                  <a:pt x="2610" y="211"/>
                  <a:pt x="2616" y="212"/>
                  <a:pt x="2616" y="212"/>
                </a:cubicBezTo>
                <a:cubicBezTo>
                  <a:pt x="2614" y="211"/>
                  <a:pt x="2612" y="210"/>
                  <a:pt x="2611" y="209"/>
                </a:cubicBezTo>
                <a:cubicBezTo>
                  <a:pt x="2611" y="208"/>
                  <a:pt x="2612" y="207"/>
                  <a:pt x="2613" y="207"/>
                </a:cubicBezTo>
                <a:cubicBezTo>
                  <a:pt x="2613" y="207"/>
                  <a:pt x="2613" y="206"/>
                  <a:pt x="2614" y="206"/>
                </a:cubicBezTo>
                <a:cubicBezTo>
                  <a:pt x="2615" y="206"/>
                  <a:pt x="2616" y="203"/>
                  <a:pt x="2617" y="206"/>
                </a:cubicBezTo>
                <a:cubicBezTo>
                  <a:pt x="2618" y="209"/>
                  <a:pt x="2623" y="212"/>
                  <a:pt x="2623" y="212"/>
                </a:cubicBezTo>
                <a:cubicBezTo>
                  <a:pt x="2623" y="211"/>
                  <a:pt x="2624" y="210"/>
                  <a:pt x="2624" y="209"/>
                </a:cubicBezTo>
                <a:cubicBezTo>
                  <a:pt x="2624" y="209"/>
                  <a:pt x="2624" y="206"/>
                  <a:pt x="2625" y="206"/>
                </a:cubicBezTo>
                <a:cubicBezTo>
                  <a:pt x="2627" y="206"/>
                  <a:pt x="2628" y="205"/>
                  <a:pt x="2631" y="205"/>
                </a:cubicBezTo>
                <a:cubicBezTo>
                  <a:pt x="2633" y="205"/>
                  <a:pt x="2639" y="204"/>
                  <a:pt x="2639" y="204"/>
                </a:cubicBezTo>
                <a:cubicBezTo>
                  <a:pt x="2639" y="204"/>
                  <a:pt x="2639" y="205"/>
                  <a:pt x="2641" y="205"/>
                </a:cubicBezTo>
                <a:cubicBezTo>
                  <a:pt x="2642" y="206"/>
                  <a:pt x="2646" y="207"/>
                  <a:pt x="2646" y="207"/>
                </a:cubicBezTo>
                <a:cubicBezTo>
                  <a:pt x="2647" y="208"/>
                  <a:pt x="2649" y="209"/>
                  <a:pt x="2649" y="209"/>
                </a:cubicBezTo>
                <a:cubicBezTo>
                  <a:pt x="2650" y="210"/>
                  <a:pt x="2652" y="210"/>
                  <a:pt x="2652" y="210"/>
                </a:cubicBezTo>
                <a:cubicBezTo>
                  <a:pt x="2652" y="210"/>
                  <a:pt x="2653" y="206"/>
                  <a:pt x="2653" y="206"/>
                </a:cubicBezTo>
                <a:cubicBezTo>
                  <a:pt x="2652" y="205"/>
                  <a:pt x="2651" y="203"/>
                  <a:pt x="2651" y="203"/>
                </a:cubicBezTo>
                <a:cubicBezTo>
                  <a:pt x="2651" y="203"/>
                  <a:pt x="2652" y="201"/>
                  <a:pt x="2653" y="201"/>
                </a:cubicBezTo>
                <a:cubicBezTo>
                  <a:pt x="2654" y="201"/>
                  <a:pt x="2654" y="200"/>
                  <a:pt x="2654" y="200"/>
                </a:cubicBezTo>
                <a:cubicBezTo>
                  <a:pt x="2654" y="199"/>
                  <a:pt x="2654" y="199"/>
                  <a:pt x="2654" y="198"/>
                </a:cubicBezTo>
                <a:cubicBezTo>
                  <a:pt x="2655" y="197"/>
                  <a:pt x="2657" y="194"/>
                  <a:pt x="2659" y="194"/>
                </a:cubicBezTo>
                <a:cubicBezTo>
                  <a:pt x="2665" y="192"/>
                  <a:pt x="2665" y="193"/>
                  <a:pt x="2665" y="189"/>
                </a:cubicBezTo>
                <a:cubicBezTo>
                  <a:pt x="2666" y="188"/>
                  <a:pt x="2668" y="187"/>
                  <a:pt x="2669" y="186"/>
                </a:cubicBezTo>
                <a:cubicBezTo>
                  <a:pt x="2670" y="185"/>
                  <a:pt x="2671" y="185"/>
                  <a:pt x="2671" y="184"/>
                </a:cubicBezTo>
                <a:cubicBezTo>
                  <a:pt x="2671" y="183"/>
                  <a:pt x="2667" y="183"/>
                  <a:pt x="2668" y="182"/>
                </a:cubicBezTo>
                <a:cubicBezTo>
                  <a:pt x="2669" y="181"/>
                  <a:pt x="2671" y="182"/>
                  <a:pt x="2673" y="182"/>
                </a:cubicBezTo>
                <a:cubicBezTo>
                  <a:pt x="2675" y="186"/>
                  <a:pt x="2675" y="182"/>
                  <a:pt x="2680" y="184"/>
                </a:cubicBezTo>
                <a:cubicBezTo>
                  <a:pt x="2681" y="185"/>
                  <a:pt x="2682" y="184"/>
                  <a:pt x="2683" y="184"/>
                </a:cubicBezTo>
                <a:cubicBezTo>
                  <a:pt x="2686" y="185"/>
                  <a:pt x="2684" y="186"/>
                  <a:pt x="2690" y="188"/>
                </a:cubicBezTo>
                <a:cubicBezTo>
                  <a:pt x="2690" y="188"/>
                  <a:pt x="2691" y="187"/>
                  <a:pt x="2691" y="186"/>
                </a:cubicBezTo>
                <a:cubicBezTo>
                  <a:pt x="2691" y="185"/>
                  <a:pt x="2689" y="182"/>
                  <a:pt x="2689" y="182"/>
                </a:cubicBezTo>
                <a:cubicBezTo>
                  <a:pt x="2689" y="182"/>
                  <a:pt x="2685" y="180"/>
                  <a:pt x="2685" y="180"/>
                </a:cubicBezTo>
                <a:cubicBezTo>
                  <a:pt x="2684" y="180"/>
                  <a:pt x="2682" y="178"/>
                  <a:pt x="2680" y="178"/>
                </a:cubicBezTo>
                <a:cubicBezTo>
                  <a:pt x="2679" y="178"/>
                  <a:pt x="2675" y="177"/>
                  <a:pt x="2674" y="177"/>
                </a:cubicBezTo>
                <a:cubicBezTo>
                  <a:pt x="2674" y="177"/>
                  <a:pt x="2670" y="174"/>
                  <a:pt x="2670" y="174"/>
                </a:cubicBezTo>
                <a:cubicBezTo>
                  <a:pt x="2670" y="174"/>
                  <a:pt x="2669" y="172"/>
                  <a:pt x="2669" y="172"/>
                </a:cubicBezTo>
                <a:cubicBezTo>
                  <a:pt x="2666" y="172"/>
                  <a:pt x="2663" y="170"/>
                  <a:pt x="2661" y="169"/>
                </a:cubicBezTo>
                <a:cubicBezTo>
                  <a:pt x="2661" y="168"/>
                  <a:pt x="2660" y="167"/>
                  <a:pt x="2660" y="167"/>
                </a:cubicBezTo>
                <a:cubicBezTo>
                  <a:pt x="2658" y="167"/>
                  <a:pt x="2658" y="169"/>
                  <a:pt x="2653" y="167"/>
                </a:cubicBezTo>
                <a:cubicBezTo>
                  <a:pt x="2650" y="166"/>
                  <a:pt x="2649" y="164"/>
                  <a:pt x="2648" y="163"/>
                </a:cubicBezTo>
                <a:cubicBezTo>
                  <a:pt x="2645" y="162"/>
                  <a:pt x="2645" y="164"/>
                  <a:pt x="2643" y="165"/>
                </a:cubicBezTo>
                <a:cubicBezTo>
                  <a:pt x="2641" y="165"/>
                  <a:pt x="2636" y="164"/>
                  <a:pt x="2636" y="162"/>
                </a:cubicBezTo>
                <a:cubicBezTo>
                  <a:pt x="2635" y="157"/>
                  <a:pt x="2642" y="161"/>
                  <a:pt x="2645" y="161"/>
                </a:cubicBezTo>
                <a:cubicBezTo>
                  <a:pt x="2646" y="161"/>
                  <a:pt x="2649" y="162"/>
                  <a:pt x="2649" y="162"/>
                </a:cubicBezTo>
                <a:cubicBezTo>
                  <a:pt x="2650" y="163"/>
                  <a:pt x="2659" y="164"/>
                  <a:pt x="2659" y="164"/>
                </a:cubicBezTo>
                <a:cubicBezTo>
                  <a:pt x="2661" y="163"/>
                  <a:pt x="2661" y="161"/>
                  <a:pt x="2662" y="159"/>
                </a:cubicBezTo>
                <a:cubicBezTo>
                  <a:pt x="2662" y="159"/>
                  <a:pt x="2661" y="159"/>
                  <a:pt x="2661" y="158"/>
                </a:cubicBezTo>
                <a:cubicBezTo>
                  <a:pt x="2660" y="156"/>
                  <a:pt x="2661" y="156"/>
                  <a:pt x="2656" y="155"/>
                </a:cubicBezTo>
                <a:cubicBezTo>
                  <a:pt x="2655" y="154"/>
                  <a:pt x="2655" y="153"/>
                  <a:pt x="2654" y="153"/>
                </a:cubicBezTo>
                <a:cubicBezTo>
                  <a:pt x="2652" y="152"/>
                  <a:pt x="2652" y="152"/>
                  <a:pt x="2650" y="150"/>
                </a:cubicBezTo>
                <a:cubicBezTo>
                  <a:pt x="2652" y="149"/>
                  <a:pt x="2652" y="149"/>
                  <a:pt x="2652" y="149"/>
                </a:cubicBezTo>
                <a:cubicBezTo>
                  <a:pt x="2650" y="146"/>
                  <a:pt x="2650" y="146"/>
                  <a:pt x="2650" y="146"/>
                </a:cubicBezTo>
                <a:cubicBezTo>
                  <a:pt x="2655" y="149"/>
                  <a:pt x="2655" y="149"/>
                  <a:pt x="2655" y="149"/>
                </a:cubicBezTo>
                <a:cubicBezTo>
                  <a:pt x="2655" y="148"/>
                  <a:pt x="2655" y="148"/>
                  <a:pt x="2655" y="148"/>
                </a:cubicBezTo>
                <a:cubicBezTo>
                  <a:pt x="2659" y="150"/>
                  <a:pt x="2659" y="150"/>
                  <a:pt x="2659" y="150"/>
                </a:cubicBezTo>
                <a:cubicBezTo>
                  <a:pt x="2661" y="152"/>
                  <a:pt x="2661" y="152"/>
                  <a:pt x="2661" y="152"/>
                </a:cubicBezTo>
                <a:cubicBezTo>
                  <a:pt x="2662" y="152"/>
                  <a:pt x="2663" y="152"/>
                  <a:pt x="2663" y="152"/>
                </a:cubicBezTo>
                <a:cubicBezTo>
                  <a:pt x="2665" y="153"/>
                  <a:pt x="2665" y="155"/>
                  <a:pt x="2667" y="155"/>
                </a:cubicBezTo>
                <a:cubicBezTo>
                  <a:pt x="2669" y="156"/>
                  <a:pt x="2678" y="154"/>
                  <a:pt x="2678" y="154"/>
                </a:cubicBezTo>
                <a:cubicBezTo>
                  <a:pt x="2678" y="155"/>
                  <a:pt x="2687" y="157"/>
                  <a:pt x="2688" y="157"/>
                </a:cubicBezTo>
                <a:cubicBezTo>
                  <a:pt x="2688" y="157"/>
                  <a:pt x="2696" y="161"/>
                  <a:pt x="2696" y="161"/>
                </a:cubicBezTo>
                <a:cubicBezTo>
                  <a:pt x="2706" y="161"/>
                  <a:pt x="2706" y="161"/>
                  <a:pt x="2706" y="161"/>
                </a:cubicBezTo>
                <a:cubicBezTo>
                  <a:pt x="2711" y="163"/>
                  <a:pt x="2711" y="163"/>
                  <a:pt x="2711" y="163"/>
                </a:cubicBezTo>
                <a:cubicBezTo>
                  <a:pt x="2716" y="167"/>
                  <a:pt x="2716" y="167"/>
                  <a:pt x="2716" y="167"/>
                </a:cubicBezTo>
                <a:cubicBezTo>
                  <a:pt x="2720" y="167"/>
                  <a:pt x="2720" y="167"/>
                  <a:pt x="2720" y="167"/>
                </a:cubicBezTo>
                <a:cubicBezTo>
                  <a:pt x="2720" y="167"/>
                  <a:pt x="2721" y="166"/>
                  <a:pt x="2720" y="165"/>
                </a:cubicBezTo>
                <a:cubicBezTo>
                  <a:pt x="2718" y="165"/>
                  <a:pt x="2718" y="164"/>
                  <a:pt x="2718" y="164"/>
                </a:cubicBezTo>
                <a:cubicBezTo>
                  <a:pt x="2727" y="169"/>
                  <a:pt x="2727" y="169"/>
                  <a:pt x="2727" y="169"/>
                </a:cubicBezTo>
                <a:cubicBezTo>
                  <a:pt x="2727" y="169"/>
                  <a:pt x="2727" y="167"/>
                  <a:pt x="2727" y="166"/>
                </a:cubicBezTo>
                <a:close/>
                <a:moveTo>
                  <a:pt x="1645" y="991"/>
                </a:moveTo>
                <a:cubicBezTo>
                  <a:pt x="1645" y="991"/>
                  <a:pt x="1645" y="991"/>
                  <a:pt x="1646" y="991"/>
                </a:cubicBezTo>
                <a:cubicBezTo>
                  <a:pt x="1646" y="994"/>
                  <a:pt x="1646" y="992"/>
                  <a:pt x="1644" y="995"/>
                </a:cubicBezTo>
                <a:cubicBezTo>
                  <a:pt x="1643" y="998"/>
                  <a:pt x="1643" y="998"/>
                  <a:pt x="1643" y="998"/>
                </a:cubicBezTo>
                <a:cubicBezTo>
                  <a:pt x="1643" y="998"/>
                  <a:pt x="1643" y="1003"/>
                  <a:pt x="1643" y="1003"/>
                </a:cubicBezTo>
                <a:cubicBezTo>
                  <a:pt x="1643" y="1004"/>
                  <a:pt x="1643" y="1009"/>
                  <a:pt x="1643" y="1010"/>
                </a:cubicBezTo>
                <a:cubicBezTo>
                  <a:pt x="1643" y="1011"/>
                  <a:pt x="1644" y="1014"/>
                  <a:pt x="1644" y="1014"/>
                </a:cubicBezTo>
                <a:cubicBezTo>
                  <a:pt x="1644" y="1014"/>
                  <a:pt x="1645" y="1015"/>
                  <a:pt x="1647" y="1017"/>
                </a:cubicBezTo>
                <a:cubicBezTo>
                  <a:pt x="1647" y="1017"/>
                  <a:pt x="1647" y="1017"/>
                  <a:pt x="1647" y="1017"/>
                </a:cubicBezTo>
                <a:cubicBezTo>
                  <a:pt x="1647" y="1017"/>
                  <a:pt x="1647" y="1017"/>
                  <a:pt x="1647" y="1017"/>
                </a:cubicBezTo>
                <a:cubicBezTo>
                  <a:pt x="1647" y="1017"/>
                  <a:pt x="1647" y="1017"/>
                  <a:pt x="1647" y="1017"/>
                </a:cubicBezTo>
                <a:cubicBezTo>
                  <a:pt x="1646" y="1021"/>
                  <a:pt x="1646" y="1021"/>
                  <a:pt x="1646" y="1021"/>
                </a:cubicBezTo>
                <a:cubicBezTo>
                  <a:pt x="1644" y="1018"/>
                  <a:pt x="1644" y="1018"/>
                  <a:pt x="1644" y="1018"/>
                </a:cubicBezTo>
                <a:cubicBezTo>
                  <a:pt x="1642" y="1019"/>
                  <a:pt x="1642" y="1019"/>
                  <a:pt x="1642" y="1019"/>
                </a:cubicBezTo>
                <a:cubicBezTo>
                  <a:pt x="1639" y="1010"/>
                  <a:pt x="1639" y="1010"/>
                  <a:pt x="1639" y="1010"/>
                </a:cubicBezTo>
                <a:cubicBezTo>
                  <a:pt x="1639" y="1009"/>
                  <a:pt x="1639" y="1003"/>
                  <a:pt x="1638" y="1001"/>
                </a:cubicBezTo>
                <a:cubicBezTo>
                  <a:pt x="1636" y="998"/>
                  <a:pt x="1637" y="999"/>
                  <a:pt x="1638" y="994"/>
                </a:cubicBezTo>
                <a:cubicBezTo>
                  <a:pt x="1638" y="992"/>
                  <a:pt x="1638" y="976"/>
                  <a:pt x="1638" y="975"/>
                </a:cubicBezTo>
                <a:cubicBezTo>
                  <a:pt x="1634" y="969"/>
                  <a:pt x="1634" y="969"/>
                  <a:pt x="1634" y="969"/>
                </a:cubicBezTo>
                <a:cubicBezTo>
                  <a:pt x="1634" y="969"/>
                  <a:pt x="1634" y="969"/>
                  <a:pt x="1634" y="969"/>
                </a:cubicBezTo>
                <a:cubicBezTo>
                  <a:pt x="1635" y="969"/>
                  <a:pt x="1637" y="968"/>
                  <a:pt x="1637" y="968"/>
                </a:cubicBezTo>
                <a:cubicBezTo>
                  <a:pt x="1637" y="968"/>
                  <a:pt x="1639" y="971"/>
                  <a:pt x="1640" y="972"/>
                </a:cubicBezTo>
                <a:cubicBezTo>
                  <a:pt x="1641" y="974"/>
                  <a:pt x="1641" y="975"/>
                  <a:pt x="1642" y="976"/>
                </a:cubicBezTo>
                <a:cubicBezTo>
                  <a:pt x="1643" y="978"/>
                  <a:pt x="1642" y="985"/>
                  <a:pt x="1644" y="987"/>
                </a:cubicBezTo>
                <a:cubicBezTo>
                  <a:pt x="1645" y="988"/>
                  <a:pt x="1645" y="991"/>
                  <a:pt x="1645" y="991"/>
                </a:cubicBezTo>
                <a:close/>
                <a:moveTo>
                  <a:pt x="1615" y="883"/>
                </a:moveTo>
                <a:cubicBezTo>
                  <a:pt x="1615" y="878"/>
                  <a:pt x="1615" y="878"/>
                  <a:pt x="1615" y="878"/>
                </a:cubicBezTo>
                <a:cubicBezTo>
                  <a:pt x="1617" y="873"/>
                  <a:pt x="1617" y="873"/>
                  <a:pt x="1617" y="873"/>
                </a:cubicBezTo>
                <a:cubicBezTo>
                  <a:pt x="1615" y="868"/>
                  <a:pt x="1615" y="868"/>
                  <a:pt x="1615" y="868"/>
                </a:cubicBezTo>
                <a:cubicBezTo>
                  <a:pt x="1615" y="868"/>
                  <a:pt x="1617" y="868"/>
                  <a:pt x="1617" y="866"/>
                </a:cubicBezTo>
                <a:cubicBezTo>
                  <a:pt x="1618" y="865"/>
                  <a:pt x="1617" y="862"/>
                  <a:pt x="1618" y="862"/>
                </a:cubicBezTo>
                <a:cubicBezTo>
                  <a:pt x="1619" y="862"/>
                  <a:pt x="1620" y="863"/>
                  <a:pt x="1622" y="861"/>
                </a:cubicBezTo>
                <a:cubicBezTo>
                  <a:pt x="1624" y="860"/>
                  <a:pt x="1628" y="859"/>
                  <a:pt x="1631" y="858"/>
                </a:cubicBezTo>
                <a:cubicBezTo>
                  <a:pt x="1632" y="859"/>
                  <a:pt x="1632" y="859"/>
                  <a:pt x="1632" y="859"/>
                </a:cubicBezTo>
                <a:cubicBezTo>
                  <a:pt x="1635" y="860"/>
                  <a:pt x="1635" y="860"/>
                  <a:pt x="1635" y="860"/>
                </a:cubicBezTo>
                <a:cubicBezTo>
                  <a:pt x="1637" y="860"/>
                  <a:pt x="1637" y="860"/>
                  <a:pt x="1637" y="860"/>
                </a:cubicBezTo>
                <a:cubicBezTo>
                  <a:pt x="1637" y="860"/>
                  <a:pt x="1637" y="860"/>
                  <a:pt x="1637" y="860"/>
                </a:cubicBezTo>
                <a:cubicBezTo>
                  <a:pt x="1635" y="861"/>
                  <a:pt x="1635" y="861"/>
                  <a:pt x="1635" y="861"/>
                </a:cubicBezTo>
                <a:cubicBezTo>
                  <a:pt x="1635" y="861"/>
                  <a:pt x="1637" y="864"/>
                  <a:pt x="1638" y="864"/>
                </a:cubicBezTo>
                <a:cubicBezTo>
                  <a:pt x="1638" y="864"/>
                  <a:pt x="1639" y="865"/>
                  <a:pt x="1640" y="865"/>
                </a:cubicBezTo>
                <a:cubicBezTo>
                  <a:pt x="1642" y="865"/>
                  <a:pt x="1642" y="864"/>
                  <a:pt x="1643" y="864"/>
                </a:cubicBezTo>
                <a:cubicBezTo>
                  <a:pt x="1644" y="864"/>
                  <a:pt x="1645" y="865"/>
                  <a:pt x="1645" y="865"/>
                </a:cubicBezTo>
                <a:cubicBezTo>
                  <a:pt x="1645" y="867"/>
                  <a:pt x="1645" y="867"/>
                  <a:pt x="1645" y="867"/>
                </a:cubicBezTo>
                <a:cubicBezTo>
                  <a:pt x="1643" y="867"/>
                  <a:pt x="1642" y="867"/>
                  <a:pt x="1640" y="868"/>
                </a:cubicBezTo>
                <a:cubicBezTo>
                  <a:pt x="1640" y="867"/>
                  <a:pt x="1640" y="867"/>
                  <a:pt x="1638" y="868"/>
                </a:cubicBezTo>
                <a:cubicBezTo>
                  <a:pt x="1637" y="870"/>
                  <a:pt x="1637" y="870"/>
                  <a:pt x="1637" y="870"/>
                </a:cubicBezTo>
                <a:cubicBezTo>
                  <a:pt x="1639" y="872"/>
                  <a:pt x="1639" y="872"/>
                  <a:pt x="1639" y="872"/>
                </a:cubicBezTo>
                <a:cubicBezTo>
                  <a:pt x="1638" y="874"/>
                  <a:pt x="1638" y="874"/>
                  <a:pt x="1638" y="874"/>
                </a:cubicBezTo>
                <a:cubicBezTo>
                  <a:pt x="1638" y="874"/>
                  <a:pt x="1638" y="874"/>
                  <a:pt x="1638" y="874"/>
                </a:cubicBezTo>
                <a:cubicBezTo>
                  <a:pt x="1636" y="879"/>
                  <a:pt x="1636" y="879"/>
                  <a:pt x="1636" y="879"/>
                </a:cubicBezTo>
                <a:cubicBezTo>
                  <a:pt x="1636" y="879"/>
                  <a:pt x="1633" y="881"/>
                  <a:pt x="1632" y="881"/>
                </a:cubicBezTo>
                <a:cubicBezTo>
                  <a:pt x="1631" y="881"/>
                  <a:pt x="1630" y="885"/>
                  <a:pt x="1630" y="885"/>
                </a:cubicBezTo>
                <a:cubicBezTo>
                  <a:pt x="1634" y="885"/>
                  <a:pt x="1634" y="885"/>
                  <a:pt x="1634" y="885"/>
                </a:cubicBezTo>
                <a:cubicBezTo>
                  <a:pt x="1634" y="886"/>
                  <a:pt x="1634" y="886"/>
                  <a:pt x="1634" y="886"/>
                </a:cubicBezTo>
                <a:cubicBezTo>
                  <a:pt x="1630" y="889"/>
                  <a:pt x="1630" y="889"/>
                  <a:pt x="1630" y="889"/>
                </a:cubicBezTo>
                <a:cubicBezTo>
                  <a:pt x="1628" y="888"/>
                  <a:pt x="1628" y="888"/>
                  <a:pt x="1628" y="888"/>
                </a:cubicBezTo>
                <a:cubicBezTo>
                  <a:pt x="1624" y="889"/>
                  <a:pt x="1624" y="889"/>
                  <a:pt x="1624" y="889"/>
                </a:cubicBezTo>
                <a:cubicBezTo>
                  <a:pt x="1621" y="889"/>
                  <a:pt x="1621" y="889"/>
                  <a:pt x="1621" y="889"/>
                </a:cubicBezTo>
                <a:cubicBezTo>
                  <a:pt x="1621" y="889"/>
                  <a:pt x="1620" y="890"/>
                  <a:pt x="1619" y="892"/>
                </a:cubicBezTo>
                <a:cubicBezTo>
                  <a:pt x="1618" y="894"/>
                  <a:pt x="1615" y="891"/>
                  <a:pt x="1615" y="891"/>
                </a:cubicBezTo>
                <a:cubicBezTo>
                  <a:pt x="1614" y="889"/>
                  <a:pt x="1614" y="889"/>
                  <a:pt x="1614" y="889"/>
                </a:cubicBezTo>
                <a:lnTo>
                  <a:pt x="1615" y="883"/>
                </a:lnTo>
                <a:close/>
                <a:moveTo>
                  <a:pt x="1613" y="958"/>
                </a:moveTo>
                <a:cubicBezTo>
                  <a:pt x="1610" y="959"/>
                  <a:pt x="1610" y="959"/>
                  <a:pt x="1608" y="959"/>
                </a:cubicBezTo>
                <a:cubicBezTo>
                  <a:pt x="1605" y="957"/>
                  <a:pt x="1605" y="957"/>
                  <a:pt x="1602" y="956"/>
                </a:cubicBezTo>
                <a:cubicBezTo>
                  <a:pt x="1602" y="954"/>
                  <a:pt x="1602" y="954"/>
                  <a:pt x="1602" y="954"/>
                </a:cubicBezTo>
                <a:cubicBezTo>
                  <a:pt x="1602" y="954"/>
                  <a:pt x="1602" y="954"/>
                  <a:pt x="1602" y="954"/>
                </a:cubicBezTo>
                <a:cubicBezTo>
                  <a:pt x="1604" y="953"/>
                  <a:pt x="1604" y="953"/>
                  <a:pt x="1604" y="953"/>
                </a:cubicBezTo>
                <a:cubicBezTo>
                  <a:pt x="1603" y="952"/>
                  <a:pt x="1602" y="951"/>
                  <a:pt x="1601" y="950"/>
                </a:cubicBezTo>
                <a:cubicBezTo>
                  <a:pt x="1600" y="947"/>
                  <a:pt x="1601" y="947"/>
                  <a:pt x="1601" y="943"/>
                </a:cubicBezTo>
                <a:cubicBezTo>
                  <a:pt x="1597" y="941"/>
                  <a:pt x="1597" y="941"/>
                  <a:pt x="1597" y="941"/>
                </a:cubicBezTo>
                <a:cubicBezTo>
                  <a:pt x="1593" y="937"/>
                  <a:pt x="1593" y="937"/>
                  <a:pt x="1593" y="937"/>
                </a:cubicBezTo>
                <a:cubicBezTo>
                  <a:pt x="1592" y="933"/>
                  <a:pt x="1592" y="933"/>
                  <a:pt x="1592" y="933"/>
                </a:cubicBezTo>
                <a:cubicBezTo>
                  <a:pt x="1591" y="930"/>
                  <a:pt x="1592" y="932"/>
                  <a:pt x="1590" y="928"/>
                </a:cubicBezTo>
                <a:cubicBezTo>
                  <a:pt x="1591" y="927"/>
                  <a:pt x="1592" y="926"/>
                  <a:pt x="1592" y="925"/>
                </a:cubicBezTo>
                <a:cubicBezTo>
                  <a:pt x="1591" y="922"/>
                  <a:pt x="1591" y="922"/>
                  <a:pt x="1591" y="922"/>
                </a:cubicBezTo>
                <a:cubicBezTo>
                  <a:pt x="1589" y="919"/>
                  <a:pt x="1589" y="919"/>
                  <a:pt x="1589" y="919"/>
                </a:cubicBezTo>
                <a:cubicBezTo>
                  <a:pt x="1589" y="914"/>
                  <a:pt x="1589" y="914"/>
                  <a:pt x="1589" y="914"/>
                </a:cubicBezTo>
                <a:cubicBezTo>
                  <a:pt x="1590" y="912"/>
                  <a:pt x="1590" y="912"/>
                  <a:pt x="1590" y="912"/>
                </a:cubicBezTo>
                <a:cubicBezTo>
                  <a:pt x="1591" y="910"/>
                  <a:pt x="1591" y="910"/>
                  <a:pt x="1591" y="910"/>
                </a:cubicBezTo>
                <a:cubicBezTo>
                  <a:pt x="1589" y="909"/>
                  <a:pt x="1589" y="909"/>
                  <a:pt x="1589" y="909"/>
                </a:cubicBezTo>
                <a:cubicBezTo>
                  <a:pt x="1589" y="905"/>
                  <a:pt x="1589" y="905"/>
                  <a:pt x="1589" y="905"/>
                </a:cubicBezTo>
                <a:cubicBezTo>
                  <a:pt x="1590" y="900"/>
                  <a:pt x="1590" y="900"/>
                  <a:pt x="1590" y="900"/>
                </a:cubicBezTo>
                <a:cubicBezTo>
                  <a:pt x="1591" y="900"/>
                  <a:pt x="1591" y="899"/>
                  <a:pt x="1591" y="899"/>
                </a:cubicBezTo>
                <a:cubicBezTo>
                  <a:pt x="1592" y="902"/>
                  <a:pt x="1592" y="902"/>
                  <a:pt x="1592" y="902"/>
                </a:cubicBezTo>
                <a:cubicBezTo>
                  <a:pt x="1592" y="904"/>
                  <a:pt x="1592" y="904"/>
                  <a:pt x="1592" y="904"/>
                </a:cubicBezTo>
                <a:cubicBezTo>
                  <a:pt x="1593" y="909"/>
                  <a:pt x="1593" y="909"/>
                  <a:pt x="1593" y="909"/>
                </a:cubicBezTo>
                <a:cubicBezTo>
                  <a:pt x="1594" y="910"/>
                  <a:pt x="1594" y="910"/>
                  <a:pt x="1594" y="910"/>
                </a:cubicBezTo>
                <a:cubicBezTo>
                  <a:pt x="1597" y="911"/>
                  <a:pt x="1597" y="911"/>
                  <a:pt x="1597" y="911"/>
                </a:cubicBezTo>
                <a:cubicBezTo>
                  <a:pt x="1595" y="911"/>
                  <a:pt x="1595" y="911"/>
                  <a:pt x="1595" y="911"/>
                </a:cubicBezTo>
                <a:cubicBezTo>
                  <a:pt x="1595" y="911"/>
                  <a:pt x="1594" y="912"/>
                  <a:pt x="1594" y="912"/>
                </a:cubicBezTo>
                <a:cubicBezTo>
                  <a:pt x="1594" y="914"/>
                  <a:pt x="1594" y="914"/>
                  <a:pt x="1594" y="914"/>
                </a:cubicBezTo>
                <a:cubicBezTo>
                  <a:pt x="1593" y="916"/>
                  <a:pt x="1593" y="916"/>
                  <a:pt x="1593" y="916"/>
                </a:cubicBezTo>
                <a:cubicBezTo>
                  <a:pt x="1593" y="916"/>
                  <a:pt x="1596" y="918"/>
                  <a:pt x="1597" y="919"/>
                </a:cubicBezTo>
                <a:cubicBezTo>
                  <a:pt x="1597" y="919"/>
                  <a:pt x="1596" y="921"/>
                  <a:pt x="1596" y="921"/>
                </a:cubicBezTo>
                <a:cubicBezTo>
                  <a:pt x="1596" y="923"/>
                  <a:pt x="1596" y="923"/>
                  <a:pt x="1596" y="923"/>
                </a:cubicBezTo>
                <a:cubicBezTo>
                  <a:pt x="1598" y="927"/>
                  <a:pt x="1598" y="927"/>
                  <a:pt x="1598" y="927"/>
                </a:cubicBezTo>
                <a:cubicBezTo>
                  <a:pt x="1596" y="929"/>
                  <a:pt x="1596" y="929"/>
                  <a:pt x="1596" y="929"/>
                </a:cubicBezTo>
                <a:cubicBezTo>
                  <a:pt x="1597" y="933"/>
                  <a:pt x="1597" y="933"/>
                  <a:pt x="1597" y="933"/>
                </a:cubicBezTo>
                <a:cubicBezTo>
                  <a:pt x="1598" y="933"/>
                  <a:pt x="1599" y="933"/>
                  <a:pt x="1600" y="935"/>
                </a:cubicBezTo>
                <a:cubicBezTo>
                  <a:pt x="1604" y="939"/>
                  <a:pt x="1604" y="938"/>
                  <a:pt x="1603" y="941"/>
                </a:cubicBezTo>
                <a:cubicBezTo>
                  <a:pt x="1603" y="944"/>
                  <a:pt x="1603" y="944"/>
                  <a:pt x="1603" y="944"/>
                </a:cubicBezTo>
                <a:cubicBezTo>
                  <a:pt x="1609" y="956"/>
                  <a:pt x="1609" y="956"/>
                  <a:pt x="1609" y="956"/>
                </a:cubicBezTo>
                <a:lnTo>
                  <a:pt x="1613" y="958"/>
                </a:lnTo>
                <a:close/>
                <a:moveTo>
                  <a:pt x="1684" y="401"/>
                </a:moveTo>
                <a:cubicBezTo>
                  <a:pt x="1683" y="402"/>
                  <a:pt x="1684" y="402"/>
                  <a:pt x="1683" y="403"/>
                </a:cubicBezTo>
                <a:cubicBezTo>
                  <a:pt x="1683" y="403"/>
                  <a:pt x="1683" y="403"/>
                  <a:pt x="1683" y="403"/>
                </a:cubicBezTo>
                <a:cubicBezTo>
                  <a:pt x="1683" y="403"/>
                  <a:pt x="1683" y="403"/>
                  <a:pt x="1683" y="403"/>
                </a:cubicBezTo>
                <a:cubicBezTo>
                  <a:pt x="1682" y="403"/>
                  <a:pt x="1681" y="405"/>
                  <a:pt x="1680" y="406"/>
                </a:cubicBezTo>
                <a:cubicBezTo>
                  <a:pt x="1671" y="410"/>
                  <a:pt x="1671" y="410"/>
                  <a:pt x="1671" y="410"/>
                </a:cubicBezTo>
                <a:cubicBezTo>
                  <a:pt x="1671" y="410"/>
                  <a:pt x="1667" y="410"/>
                  <a:pt x="1666" y="409"/>
                </a:cubicBezTo>
                <a:cubicBezTo>
                  <a:pt x="1665" y="409"/>
                  <a:pt x="1664" y="409"/>
                  <a:pt x="1663" y="409"/>
                </a:cubicBezTo>
                <a:cubicBezTo>
                  <a:pt x="1662" y="409"/>
                  <a:pt x="1657" y="410"/>
                  <a:pt x="1656" y="410"/>
                </a:cubicBezTo>
                <a:cubicBezTo>
                  <a:pt x="1656" y="411"/>
                  <a:pt x="1651" y="409"/>
                  <a:pt x="1651" y="409"/>
                </a:cubicBezTo>
                <a:cubicBezTo>
                  <a:pt x="1649" y="409"/>
                  <a:pt x="1649" y="409"/>
                  <a:pt x="1649" y="409"/>
                </a:cubicBezTo>
                <a:cubicBezTo>
                  <a:pt x="1645" y="408"/>
                  <a:pt x="1645" y="408"/>
                  <a:pt x="1645" y="408"/>
                </a:cubicBezTo>
                <a:cubicBezTo>
                  <a:pt x="1644" y="408"/>
                  <a:pt x="1641" y="404"/>
                  <a:pt x="1639" y="405"/>
                </a:cubicBezTo>
                <a:cubicBezTo>
                  <a:pt x="1637" y="406"/>
                  <a:pt x="1637" y="406"/>
                  <a:pt x="1637" y="406"/>
                </a:cubicBezTo>
                <a:cubicBezTo>
                  <a:pt x="1635" y="405"/>
                  <a:pt x="1634" y="405"/>
                  <a:pt x="1634" y="402"/>
                </a:cubicBezTo>
                <a:cubicBezTo>
                  <a:pt x="1632" y="401"/>
                  <a:pt x="1632" y="401"/>
                  <a:pt x="1632" y="401"/>
                </a:cubicBezTo>
                <a:cubicBezTo>
                  <a:pt x="1631" y="402"/>
                  <a:pt x="1627" y="402"/>
                  <a:pt x="1628" y="401"/>
                </a:cubicBezTo>
                <a:cubicBezTo>
                  <a:pt x="1625" y="400"/>
                  <a:pt x="1625" y="400"/>
                  <a:pt x="1623" y="397"/>
                </a:cubicBezTo>
                <a:cubicBezTo>
                  <a:pt x="1622" y="396"/>
                  <a:pt x="1622" y="397"/>
                  <a:pt x="1622" y="397"/>
                </a:cubicBezTo>
                <a:cubicBezTo>
                  <a:pt x="1622" y="397"/>
                  <a:pt x="1621" y="398"/>
                  <a:pt x="1621" y="398"/>
                </a:cubicBezTo>
                <a:cubicBezTo>
                  <a:pt x="1620" y="398"/>
                  <a:pt x="1617" y="399"/>
                  <a:pt x="1617" y="399"/>
                </a:cubicBezTo>
                <a:cubicBezTo>
                  <a:pt x="1610" y="398"/>
                  <a:pt x="1610" y="398"/>
                  <a:pt x="1610" y="398"/>
                </a:cubicBezTo>
                <a:cubicBezTo>
                  <a:pt x="1610" y="398"/>
                  <a:pt x="1607" y="399"/>
                  <a:pt x="1607" y="399"/>
                </a:cubicBezTo>
                <a:cubicBezTo>
                  <a:pt x="1603" y="400"/>
                  <a:pt x="1601" y="401"/>
                  <a:pt x="1600" y="401"/>
                </a:cubicBezTo>
                <a:cubicBezTo>
                  <a:pt x="1599" y="401"/>
                  <a:pt x="1597" y="402"/>
                  <a:pt x="1597" y="402"/>
                </a:cubicBezTo>
                <a:cubicBezTo>
                  <a:pt x="1596" y="403"/>
                  <a:pt x="1595" y="405"/>
                  <a:pt x="1594" y="406"/>
                </a:cubicBezTo>
                <a:cubicBezTo>
                  <a:pt x="1594" y="407"/>
                  <a:pt x="1591" y="408"/>
                  <a:pt x="1591" y="408"/>
                </a:cubicBezTo>
                <a:cubicBezTo>
                  <a:pt x="1591" y="408"/>
                  <a:pt x="1588" y="409"/>
                  <a:pt x="1587" y="409"/>
                </a:cubicBezTo>
                <a:cubicBezTo>
                  <a:pt x="1587" y="409"/>
                  <a:pt x="1584" y="407"/>
                  <a:pt x="1584" y="407"/>
                </a:cubicBezTo>
                <a:cubicBezTo>
                  <a:pt x="1584" y="407"/>
                  <a:pt x="1580" y="407"/>
                  <a:pt x="1578" y="407"/>
                </a:cubicBezTo>
                <a:cubicBezTo>
                  <a:pt x="1571" y="405"/>
                  <a:pt x="1571" y="405"/>
                  <a:pt x="1571" y="405"/>
                </a:cubicBezTo>
                <a:cubicBezTo>
                  <a:pt x="1571" y="405"/>
                  <a:pt x="1566" y="404"/>
                  <a:pt x="1565" y="403"/>
                </a:cubicBezTo>
                <a:cubicBezTo>
                  <a:pt x="1564" y="403"/>
                  <a:pt x="1564" y="400"/>
                  <a:pt x="1561" y="397"/>
                </a:cubicBezTo>
                <a:cubicBezTo>
                  <a:pt x="1559" y="398"/>
                  <a:pt x="1559" y="399"/>
                  <a:pt x="1559" y="399"/>
                </a:cubicBezTo>
                <a:cubicBezTo>
                  <a:pt x="1559" y="399"/>
                  <a:pt x="1559" y="398"/>
                  <a:pt x="1561" y="397"/>
                </a:cubicBezTo>
                <a:cubicBezTo>
                  <a:pt x="1561" y="398"/>
                  <a:pt x="1562" y="399"/>
                  <a:pt x="1562" y="400"/>
                </a:cubicBezTo>
                <a:cubicBezTo>
                  <a:pt x="1563" y="398"/>
                  <a:pt x="1563" y="398"/>
                  <a:pt x="1563" y="398"/>
                </a:cubicBezTo>
                <a:cubicBezTo>
                  <a:pt x="1562" y="398"/>
                  <a:pt x="1561" y="398"/>
                  <a:pt x="1562" y="397"/>
                </a:cubicBezTo>
                <a:cubicBezTo>
                  <a:pt x="1562" y="397"/>
                  <a:pt x="1562" y="397"/>
                  <a:pt x="1562" y="397"/>
                </a:cubicBezTo>
                <a:cubicBezTo>
                  <a:pt x="1562" y="397"/>
                  <a:pt x="1562" y="397"/>
                  <a:pt x="1561" y="396"/>
                </a:cubicBezTo>
                <a:cubicBezTo>
                  <a:pt x="1562" y="397"/>
                  <a:pt x="1562" y="397"/>
                  <a:pt x="1562" y="397"/>
                </a:cubicBezTo>
                <a:cubicBezTo>
                  <a:pt x="1561" y="397"/>
                  <a:pt x="1560" y="396"/>
                  <a:pt x="1560" y="396"/>
                </a:cubicBezTo>
                <a:cubicBezTo>
                  <a:pt x="1559" y="397"/>
                  <a:pt x="1559" y="394"/>
                  <a:pt x="1558" y="393"/>
                </a:cubicBezTo>
                <a:cubicBezTo>
                  <a:pt x="1555" y="392"/>
                  <a:pt x="1558" y="391"/>
                  <a:pt x="1559" y="390"/>
                </a:cubicBezTo>
                <a:cubicBezTo>
                  <a:pt x="1559" y="390"/>
                  <a:pt x="1559" y="389"/>
                  <a:pt x="1559" y="389"/>
                </a:cubicBezTo>
                <a:cubicBezTo>
                  <a:pt x="1560" y="388"/>
                  <a:pt x="1558" y="385"/>
                  <a:pt x="1560" y="385"/>
                </a:cubicBezTo>
                <a:cubicBezTo>
                  <a:pt x="1560" y="385"/>
                  <a:pt x="1560" y="385"/>
                  <a:pt x="1560" y="385"/>
                </a:cubicBezTo>
                <a:cubicBezTo>
                  <a:pt x="1561" y="384"/>
                  <a:pt x="1560" y="383"/>
                  <a:pt x="1561" y="383"/>
                </a:cubicBezTo>
                <a:cubicBezTo>
                  <a:pt x="1561" y="382"/>
                  <a:pt x="1563" y="383"/>
                  <a:pt x="1564" y="382"/>
                </a:cubicBezTo>
                <a:cubicBezTo>
                  <a:pt x="1565" y="382"/>
                  <a:pt x="1565" y="382"/>
                  <a:pt x="1565" y="381"/>
                </a:cubicBezTo>
                <a:cubicBezTo>
                  <a:pt x="1565" y="380"/>
                  <a:pt x="1565" y="379"/>
                  <a:pt x="1564" y="378"/>
                </a:cubicBezTo>
                <a:cubicBezTo>
                  <a:pt x="1565" y="375"/>
                  <a:pt x="1564" y="377"/>
                  <a:pt x="1565" y="372"/>
                </a:cubicBezTo>
                <a:cubicBezTo>
                  <a:pt x="1567" y="368"/>
                  <a:pt x="1567" y="372"/>
                  <a:pt x="1569" y="367"/>
                </a:cubicBezTo>
                <a:cubicBezTo>
                  <a:pt x="1573" y="366"/>
                  <a:pt x="1573" y="366"/>
                  <a:pt x="1573" y="366"/>
                </a:cubicBezTo>
                <a:cubicBezTo>
                  <a:pt x="1572" y="362"/>
                  <a:pt x="1572" y="362"/>
                  <a:pt x="1572" y="362"/>
                </a:cubicBezTo>
                <a:cubicBezTo>
                  <a:pt x="1573" y="364"/>
                  <a:pt x="1573" y="364"/>
                  <a:pt x="1573" y="364"/>
                </a:cubicBezTo>
                <a:cubicBezTo>
                  <a:pt x="1573" y="361"/>
                  <a:pt x="1573" y="361"/>
                  <a:pt x="1573" y="361"/>
                </a:cubicBezTo>
                <a:cubicBezTo>
                  <a:pt x="1572" y="359"/>
                  <a:pt x="1573" y="360"/>
                  <a:pt x="1572" y="358"/>
                </a:cubicBezTo>
                <a:cubicBezTo>
                  <a:pt x="1572" y="357"/>
                  <a:pt x="1572" y="357"/>
                  <a:pt x="1572" y="357"/>
                </a:cubicBezTo>
                <a:cubicBezTo>
                  <a:pt x="1576" y="357"/>
                  <a:pt x="1576" y="357"/>
                  <a:pt x="1576" y="357"/>
                </a:cubicBezTo>
                <a:cubicBezTo>
                  <a:pt x="1576" y="356"/>
                  <a:pt x="1576" y="355"/>
                  <a:pt x="1577" y="355"/>
                </a:cubicBezTo>
                <a:cubicBezTo>
                  <a:pt x="1578" y="355"/>
                  <a:pt x="1578" y="354"/>
                  <a:pt x="1578" y="354"/>
                </a:cubicBezTo>
                <a:cubicBezTo>
                  <a:pt x="1579" y="353"/>
                  <a:pt x="1580" y="354"/>
                  <a:pt x="1580" y="351"/>
                </a:cubicBezTo>
                <a:cubicBezTo>
                  <a:pt x="1583" y="349"/>
                  <a:pt x="1583" y="349"/>
                  <a:pt x="1583" y="349"/>
                </a:cubicBezTo>
                <a:cubicBezTo>
                  <a:pt x="1583" y="348"/>
                  <a:pt x="1585" y="348"/>
                  <a:pt x="1587" y="348"/>
                </a:cubicBezTo>
                <a:cubicBezTo>
                  <a:pt x="1587" y="346"/>
                  <a:pt x="1587" y="346"/>
                  <a:pt x="1587" y="346"/>
                </a:cubicBezTo>
                <a:cubicBezTo>
                  <a:pt x="1589" y="346"/>
                  <a:pt x="1589" y="346"/>
                  <a:pt x="1589" y="346"/>
                </a:cubicBezTo>
                <a:cubicBezTo>
                  <a:pt x="1589" y="347"/>
                  <a:pt x="1589" y="347"/>
                  <a:pt x="1589" y="347"/>
                </a:cubicBezTo>
                <a:cubicBezTo>
                  <a:pt x="1595" y="347"/>
                  <a:pt x="1595" y="347"/>
                  <a:pt x="1595" y="347"/>
                </a:cubicBezTo>
                <a:cubicBezTo>
                  <a:pt x="1596" y="348"/>
                  <a:pt x="1596" y="348"/>
                  <a:pt x="1596" y="348"/>
                </a:cubicBezTo>
                <a:cubicBezTo>
                  <a:pt x="1596" y="349"/>
                  <a:pt x="1592" y="349"/>
                  <a:pt x="1591" y="349"/>
                </a:cubicBezTo>
                <a:cubicBezTo>
                  <a:pt x="1590" y="350"/>
                  <a:pt x="1590" y="350"/>
                  <a:pt x="1590" y="350"/>
                </a:cubicBezTo>
                <a:cubicBezTo>
                  <a:pt x="1589" y="351"/>
                  <a:pt x="1589" y="351"/>
                  <a:pt x="1589" y="351"/>
                </a:cubicBezTo>
                <a:cubicBezTo>
                  <a:pt x="1589" y="351"/>
                  <a:pt x="1590" y="352"/>
                  <a:pt x="1590" y="352"/>
                </a:cubicBezTo>
                <a:cubicBezTo>
                  <a:pt x="1591" y="352"/>
                  <a:pt x="1596" y="353"/>
                  <a:pt x="1596" y="353"/>
                </a:cubicBezTo>
                <a:cubicBezTo>
                  <a:pt x="1602" y="353"/>
                  <a:pt x="1602" y="353"/>
                  <a:pt x="1602" y="353"/>
                </a:cubicBezTo>
                <a:cubicBezTo>
                  <a:pt x="1602" y="353"/>
                  <a:pt x="1605" y="355"/>
                  <a:pt x="1606" y="354"/>
                </a:cubicBezTo>
                <a:cubicBezTo>
                  <a:pt x="1606" y="354"/>
                  <a:pt x="1606" y="354"/>
                  <a:pt x="1606" y="354"/>
                </a:cubicBezTo>
                <a:cubicBezTo>
                  <a:pt x="1607" y="355"/>
                  <a:pt x="1608" y="355"/>
                  <a:pt x="1605" y="356"/>
                </a:cubicBezTo>
                <a:cubicBezTo>
                  <a:pt x="1602" y="357"/>
                  <a:pt x="1599" y="359"/>
                  <a:pt x="1599" y="359"/>
                </a:cubicBezTo>
                <a:cubicBezTo>
                  <a:pt x="1598" y="360"/>
                  <a:pt x="1597" y="360"/>
                  <a:pt x="1597" y="361"/>
                </a:cubicBezTo>
                <a:cubicBezTo>
                  <a:pt x="1597" y="362"/>
                  <a:pt x="1598" y="362"/>
                  <a:pt x="1600" y="362"/>
                </a:cubicBezTo>
                <a:cubicBezTo>
                  <a:pt x="1602" y="362"/>
                  <a:pt x="1600" y="362"/>
                  <a:pt x="1602" y="362"/>
                </a:cubicBezTo>
                <a:cubicBezTo>
                  <a:pt x="1606" y="364"/>
                  <a:pt x="1604" y="362"/>
                  <a:pt x="1607" y="365"/>
                </a:cubicBezTo>
                <a:cubicBezTo>
                  <a:pt x="1607" y="368"/>
                  <a:pt x="1607" y="367"/>
                  <a:pt x="1606" y="370"/>
                </a:cubicBezTo>
                <a:cubicBezTo>
                  <a:pt x="1607" y="372"/>
                  <a:pt x="1607" y="372"/>
                  <a:pt x="1607" y="372"/>
                </a:cubicBezTo>
                <a:cubicBezTo>
                  <a:pt x="1611" y="372"/>
                  <a:pt x="1610" y="372"/>
                  <a:pt x="1613" y="371"/>
                </a:cubicBezTo>
                <a:cubicBezTo>
                  <a:pt x="1615" y="368"/>
                  <a:pt x="1615" y="368"/>
                  <a:pt x="1615" y="368"/>
                </a:cubicBezTo>
                <a:cubicBezTo>
                  <a:pt x="1616" y="368"/>
                  <a:pt x="1618" y="368"/>
                  <a:pt x="1619" y="367"/>
                </a:cubicBezTo>
                <a:cubicBezTo>
                  <a:pt x="1620" y="367"/>
                  <a:pt x="1620" y="367"/>
                  <a:pt x="1620" y="367"/>
                </a:cubicBezTo>
                <a:cubicBezTo>
                  <a:pt x="1623" y="364"/>
                  <a:pt x="1624" y="365"/>
                  <a:pt x="1627" y="366"/>
                </a:cubicBezTo>
                <a:cubicBezTo>
                  <a:pt x="1629" y="366"/>
                  <a:pt x="1632" y="365"/>
                  <a:pt x="1632" y="364"/>
                </a:cubicBezTo>
                <a:cubicBezTo>
                  <a:pt x="1632" y="363"/>
                  <a:pt x="1631" y="363"/>
                  <a:pt x="1631" y="363"/>
                </a:cubicBezTo>
                <a:cubicBezTo>
                  <a:pt x="1631" y="363"/>
                  <a:pt x="1632" y="363"/>
                  <a:pt x="1632" y="362"/>
                </a:cubicBezTo>
                <a:cubicBezTo>
                  <a:pt x="1632" y="362"/>
                  <a:pt x="1633" y="361"/>
                  <a:pt x="1633" y="361"/>
                </a:cubicBezTo>
                <a:cubicBezTo>
                  <a:pt x="1632" y="360"/>
                  <a:pt x="1631" y="361"/>
                  <a:pt x="1630" y="360"/>
                </a:cubicBezTo>
                <a:cubicBezTo>
                  <a:pt x="1627" y="360"/>
                  <a:pt x="1627" y="361"/>
                  <a:pt x="1625" y="361"/>
                </a:cubicBezTo>
                <a:cubicBezTo>
                  <a:pt x="1624" y="361"/>
                  <a:pt x="1620" y="361"/>
                  <a:pt x="1620" y="361"/>
                </a:cubicBezTo>
                <a:cubicBezTo>
                  <a:pt x="1620" y="358"/>
                  <a:pt x="1620" y="358"/>
                  <a:pt x="1620" y="358"/>
                </a:cubicBezTo>
                <a:cubicBezTo>
                  <a:pt x="1619" y="357"/>
                  <a:pt x="1619" y="357"/>
                  <a:pt x="1619" y="357"/>
                </a:cubicBezTo>
                <a:cubicBezTo>
                  <a:pt x="1616" y="356"/>
                  <a:pt x="1616" y="356"/>
                  <a:pt x="1616" y="356"/>
                </a:cubicBezTo>
                <a:cubicBezTo>
                  <a:pt x="1611" y="354"/>
                  <a:pt x="1611" y="354"/>
                  <a:pt x="1611" y="354"/>
                </a:cubicBezTo>
                <a:cubicBezTo>
                  <a:pt x="1609" y="354"/>
                  <a:pt x="1609" y="354"/>
                  <a:pt x="1609" y="354"/>
                </a:cubicBezTo>
                <a:cubicBezTo>
                  <a:pt x="1609" y="352"/>
                  <a:pt x="1609" y="352"/>
                  <a:pt x="1609" y="352"/>
                </a:cubicBezTo>
                <a:cubicBezTo>
                  <a:pt x="1611" y="352"/>
                  <a:pt x="1610" y="352"/>
                  <a:pt x="1613" y="353"/>
                </a:cubicBezTo>
                <a:cubicBezTo>
                  <a:pt x="1614" y="352"/>
                  <a:pt x="1614" y="352"/>
                  <a:pt x="1618" y="352"/>
                </a:cubicBezTo>
                <a:cubicBezTo>
                  <a:pt x="1621" y="350"/>
                  <a:pt x="1619" y="351"/>
                  <a:pt x="1622" y="350"/>
                </a:cubicBezTo>
                <a:cubicBezTo>
                  <a:pt x="1623" y="350"/>
                  <a:pt x="1623" y="349"/>
                  <a:pt x="1624" y="348"/>
                </a:cubicBezTo>
                <a:cubicBezTo>
                  <a:pt x="1628" y="348"/>
                  <a:pt x="1628" y="348"/>
                  <a:pt x="1628" y="348"/>
                </a:cubicBezTo>
                <a:cubicBezTo>
                  <a:pt x="1630" y="347"/>
                  <a:pt x="1630" y="347"/>
                  <a:pt x="1630" y="347"/>
                </a:cubicBezTo>
                <a:cubicBezTo>
                  <a:pt x="1635" y="346"/>
                  <a:pt x="1635" y="346"/>
                  <a:pt x="1635" y="346"/>
                </a:cubicBezTo>
                <a:cubicBezTo>
                  <a:pt x="1636" y="344"/>
                  <a:pt x="1636" y="344"/>
                  <a:pt x="1636" y="344"/>
                </a:cubicBezTo>
                <a:cubicBezTo>
                  <a:pt x="1640" y="344"/>
                  <a:pt x="1638" y="344"/>
                  <a:pt x="1641" y="342"/>
                </a:cubicBezTo>
                <a:cubicBezTo>
                  <a:pt x="1644" y="341"/>
                  <a:pt x="1644" y="341"/>
                  <a:pt x="1644" y="341"/>
                </a:cubicBezTo>
                <a:cubicBezTo>
                  <a:pt x="1644" y="342"/>
                  <a:pt x="1644" y="342"/>
                  <a:pt x="1644" y="343"/>
                </a:cubicBezTo>
                <a:cubicBezTo>
                  <a:pt x="1651" y="341"/>
                  <a:pt x="1651" y="341"/>
                  <a:pt x="1651" y="341"/>
                </a:cubicBezTo>
                <a:cubicBezTo>
                  <a:pt x="1654" y="342"/>
                  <a:pt x="1654" y="342"/>
                  <a:pt x="1654" y="342"/>
                </a:cubicBezTo>
                <a:cubicBezTo>
                  <a:pt x="1654" y="342"/>
                  <a:pt x="1654" y="344"/>
                  <a:pt x="1653" y="344"/>
                </a:cubicBezTo>
                <a:cubicBezTo>
                  <a:pt x="1652" y="344"/>
                  <a:pt x="1649" y="345"/>
                  <a:pt x="1647" y="345"/>
                </a:cubicBezTo>
                <a:cubicBezTo>
                  <a:pt x="1647" y="347"/>
                  <a:pt x="1647" y="347"/>
                  <a:pt x="1648" y="347"/>
                </a:cubicBezTo>
                <a:cubicBezTo>
                  <a:pt x="1647" y="348"/>
                  <a:pt x="1647" y="348"/>
                  <a:pt x="1646" y="348"/>
                </a:cubicBezTo>
                <a:cubicBezTo>
                  <a:pt x="1644" y="348"/>
                  <a:pt x="1643" y="348"/>
                  <a:pt x="1641" y="348"/>
                </a:cubicBezTo>
                <a:cubicBezTo>
                  <a:pt x="1645" y="351"/>
                  <a:pt x="1645" y="351"/>
                  <a:pt x="1645" y="351"/>
                </a:cubicBezTo>
                <a:cubicBezTo>
                  <a:pt x="1648" y="353"/>
                  <a:pt x="1646" y="351"/>
                  <a:pt x="1650" y="354"/>
                </a:cubicBezTo>
                <a:cubicBezTo>
                  <a:pt x="1648" y="355"/>
                  <a:pt x="1648" y="355"/>
                  <a:pt x="1646" y="354"/>
                </a:cubicBezTo>
                <a:cubicBezTo>
                  <a:pt x="1646" y="355"/>
                  <a:pt x="1645" y="356"/>
                  <a:pt x="1645" y="357"/>
                </a:cubicBezTo>
                <a:cubicBezTo>
                  <a:pt x="1645" y="354"/>
                  <a:pt x="1645" y="354"/>
                  <a:pt x="1645" y="354"/>
                </a:cubicBezTo>
                <a:cubicBezTo>
                  <a:pt x="1642" y="355"/>
                  <a:pt x="1643" y="357"/>
                  <a:pt x="1642" y="359"/>
                </a:cubicBezTo>
                <a:cubicBezTo>
                  <a:pt x="1642" y="359"/>
                  <a:pt x="1642" y="359"/>
                  <a:pt x="1642" y="359"/>
                </a:cubicBezTo>
                <a:cubicBezTo>
                  <a:pt x="1643" y="362"/>
                  <a:pt x="1643" y="362"/>
                  <a:pt x="1643" y="362"/>
                </a:cubicBezTo>
                <a:cubicBezTo>
                  <a:pt x="1642" y="363"/>
                  <a:pt x="1642" y="363"/>
                  <a:pt x="1642" y="363"/>
                </a:cubicBezTo>
                <a:cubicBezTo>
                  <a:pt x="1640" y="362"/>
                  <a:pt x="1640" y="362"/>
                  <a:pt x="1640" y="362"/>
                </a:cubicBezTo>
                <a:cubicBezTo>
                  <a:pt x="1637" y="362"/>
                  <a:pt x="1639" y="364"/>
                  <a:pt x="1636" y="361"/>
                </a:cubicBezTo>
                <a:cubicBezTo>
                  <a:pt x="1633" y="364"/>
                  <a:pt x="1633" y="364"/>
                  <a:pt x="1633" y="364"/>
                </a:cubicBezTo>
                <a:cubicBezTo>
                  <a:pt x="1634" y="364"/>
                  <a:pt x="1638" y="365"/>
                  <a:pt x="1638" y="365"/>
                </a:cubicBezTo>
                <a:cubicBezTo>
                  <a:pt x="1642" y="370"/>
                  <a:pt x="1642" y="370"/>
                  <a:pt x="1642" y="370"/>
                </a:cubicBezTo>
                <a:cubicBezTo>
                  <a:pt x="1646" y="370"/>
                  <a:pt x="1646" y="370"/>
                  <a:pt x="1646" y="370"/>
                </a:cubicBezTo>
                <a:cubicBezTo>
                  <a:pt x="1648" y="372"/>
                  <a:pt x="1648" y="372"/>
                  <a:pt x="1648" y="372"/>
                </a:cubicBezTo>
                <a:cubicBezTo>
                  <a:pt x="1653" y="375"/>
                  <a:pt x="1653" y="375"/>
                  <a:pt x="1653" y="375"/>
                </a:cubicBezTo>
                <a:cubicBezTo>
                  <a:pt x="1655" y="375"/>
                  <a:pt x="1655" y="375"/>
                  <a:pt x="1655" y="375"/>
                </a:cubicBezTo>
                <a:cubicBezTo>
                  <a:pt x="1659" y="377"/>
                  <a:pt x="1659" y="377"/>
                  <a:pt x="1659" y="377"/>
                </a:cubicBezTo>
                <a:cubicBezTo>
                  <a:pt x="1661" y="378"/>
                  <a:pt x="1663" y="381"/>
                  <a:pt x="1665" y="383"/>
                </a:cubicBezTo>
                <a:cubicBezTo>
                  <a:pt x="1666" y="382"/>
                  <a:pt x="1667" y="381"/>
                  <a:pt x="1668" y="381"/>
                </a:cubicBezTo>
                <a:cubicBezTo>
                  <a:pt x="1667" y="381"/>
                  <a:pt x="1667" y="382"/>
                  <a:pt x="1665" y="382"/>
                </a:cubicBezTo>
                <a:cubicBezTo>
                  <a:pt x="1665" y="384"/>
                  <a:pt x="1665" y="384"/>
                  <a:pt x="1665" y="384"/>
                </a:cubicBezTo>
                <a:cubicBezTo>
                  <a:pt x="1665" y="384"/>
                  <a:pt x="1666" y="383"/>
                  <a:pt x="1667" y="384"/>
                </a:cubicBezTo>
                <a:cubicBezTo>
                  <a:pt x="1668" y="384"/>
                  <a:pt x="1667" y="384"/>
                  <a:pt x="1668" y="385"/>
                </a:cubicBezTo>
                <a:cubicBezTo>
                  <a:pt x="1668" y="385"/>
                  <a:pt x="1669" y="386"/>
                  <a:pt x="1669" y="386"/>
                </a:cubicBezTo>
                <a:cubicBezTo>
                  <a:pt x="1669" y="386"/>
                  <a:pt x="1671" y="386"/>
                  <a:pt x="1671" y="386"/>
                </a:cubicBezTo>
                <a:cubicBezTo>
                  <a:pt x="1672" y="386"/>
                  <a:pt x="1675" y="387"/>
                  <a:pt x="1675" y="387"/>
                </a:cubicBezTo>
                <a:cubicBezTo>
                  <a:pt x="1675" y="388"/>
                  <a:pt x="1675" y="390"/>
                  <a:pt x="1677" y="390"/>
                </a:cubicBezTo>
                <a:cubicBezTo>
                  <a:pt x="1678" y="390"/>
                  <a:pt x="1678" y="389"/>
                  <a:pt x="1679" y="390"/>
                </a:cubicBezTo>
                <a:cubicBezTo>
                  <a:pt x="1680" y="391"/>
                  <a:pt x="1680" y="393"/>
                  <a:pt x="1681" y="393"/>
                </a:cubicBezTo>
                <a:cubicBezTo>
                  <a:pt x="1681" y="393"/>
                  <a:pt x="1682" y="393"/>
                  <a:pt x="1682" y="394"/>
                </a:cubicBezTo>
                <a:cubicBezTo>
                  <a:pt x="1682" y="395"/>
                  <a:pt x="1682" y="397"/>
                  <a:pt x="1682" y="397"/>
                </a:cubicBezTo>
                <a:cubicBezTo>
                  <a:pt x="1682" y="398"/>
                  <a:pt x="1683" y="398"/>
                  <a:pt x="1683" y="398"/>
                </a:cubicBezTo>
                <a:cubicBezTo>
                  <a:pt x="1683" y="399"/>
                  <a:pt x="1684" y="400"/>
                  <a:pt x="1684" y="401"/>
                </a:cubicBezTo>
                <a:close/>
                <a:moveTo>
                  <a:pt x="1798" y="413"/>
                </a:moveTo>
                <a:cubicBezTo>
                  <a:pt x="1796" y="412"/>
                  <a:pt x="1797" y="412"/>
                  <a:pt x="1793" y="414"/>
                </a:cubicBezTo>
                <a:cubicBezTo>
                  <a:pt x="1792" y="411"/>
                  <a:pt x="1792" y="411"/>
                  <a:pt x="1792" y="411"/>
                </a:cubicBezTo>
                <a:cubicBezTo>
                  <a:pt x="1788" y="412"/>
                  <a:pt x="1790" y="412"/>
                  <a:pt x="1786" y="411"/>
                </a:cubicBezTo>
                <a:cubicBezTo>
                  <a:pt x="1785" y="414"/>
                  <a:pt x="1785" y="414"/>
                  <a:pt x="1785" y="417"/>
                </a:cubicBezTo>
                <a:cubicBezTo>
                  <a:pt x="1785" y="417"/>
                  <a:pt x="1785" y="419"/>
                  <a:pt x="1786" y="419"/>
                </a:cubicBezTo>
                <a:cubicBezTo>
                  <a:pt x="1787" y="419"/>
                  <a:pt x="1791" y="421"/>
                  <a:pt x="1791" y="421"/>
                </a:cubicBezTo>
                <a:cubicBezTo>
                  <a:pt x="1794" y="422"/>
                  <a:pt x="1794" y="422"/>
                  <a:pt x="1794" y="422"/>
                </a:cubicBezTo>
                <a:cubicBezTo>
                  <a:pt x="1795" y="424"/>
                  <a:pt x="1795" y="424"/>
                  <a:pt x="1795" y="424"/>
                </a:cubicBezTo>
                <a:cubicBezTo>
                  <a:pt x="1794" y="426"/>
                  <a:pt x="1793" y="426"/>
                  <a:pt x="1790" y="426"/>
                </a:cubicBezTo>
                <a:cubicBezTo>
                  <a:pt x="1790" y="428"/>
                  <a:pt x="1790" y="428"/>
                  <a:pt x="1790" y="428"/>
                </a:cubicBezTo>
                <a:cubicBezTo>
                  <a:pt x="1793" y="428"/>
                  <a:pt x="1793" y="428"/>
                  <a:pt x="1793" y="428"/>
                </a:cubicBezTo>
                <a:cubicBezTo>
                  <a:pt x="1794" y="428"/>
                  <a:pt x="1798" y="431"/>
                  <a:pt x="1798" y="432"/>
                </a:cubicBezTo>
                <a:cubicBezTo>
                  <a:pt x="1799" y="443"/>
                  <a:pt x="1799" y="443"/>
                  <a:pt x="1799" y="443"/>
                </a:cubicBezTo>
                <a:cubicBezTo>
                  <a:pt x="1799" y="443"/>
                  <a:pt x="1802" y="447"/>
                  <a:pt x="1802" y="449"/>
                </a:cubicBezTo>
                <a:cubicBezTo>
                  <a:pt x="1802" y="449"/>
                  <a:pt x="1802" y="449"/>
                  <a:pt x="1802" y="449"/>
                </a:cubicBezTo>
                <a:cubicBezTo>
                  <a:pt x="1802" y="451"/>
                  <a:pt x="1802" y="453"/>
                  <a:pt x="1802" y="455"/>
                </a:cubicBezTo>
                <a:cubicBezTo>
                  <a:pt x="1798" y="456"/>
                  <a:pt x="1798" y="456"/>
                  <a:pt x="1798" y="456"/>
                </a:cubicBezTo>
                <a:cubicBezTo>
                  <a:pt x="1794" y="456"/>
                  <a:pt x="1794" y="456"/>
                  <a:pt x="1794" y="456"/>
                </a:cubicBezTo>
                <a:cubicBezTo>
                  <a:pt x="1788" y="458"/>
                  <a:pt x="1788" y="458"/>
                  <a:pt x="1788" y="458"/>
                </a:cubicBezTo>
                <a:cubicBezTo>
                  <a:pt x="1783" y="458"/>
                  <a:pt x="1783" y="458"/>
                  <a:pt x="1783" y="458"/>
                </a:cubicBezTo>
                <a:cubicBezTo>
                  <a:pt x="1783" y="458"/>
                  <a:pt x="1781" y="459"/>
                  <a:pt x="1779" y="457"/>
                </a:cubicBezTo>
                <a:cubicBezTo>
                  <a:pt x="1776" y="456"/>
                  <a:pt x="1772" y="455"/>
                  <a:pt x="1772" y="455"/>
                </a:cubicBezTo>
                <a:cubicBezTo>
                  <a:pt x="1768" y="450"/>
                  <a:pt x="1768" y="450"/>
                  <a:pt x="1768" y="450"/>
                </a:cubicBezTo>
                <a:cubicBezTo>
                  <a:pt x="1762" y="448"/>
                  <a:pt x="1762" y="448"/>
                  <a:pt x="1762" y="448"/>
                </a:cubicBezTo>
                <a:cubicBezTo>
                  <a:pt x="1762" y="448"/>
                  <a:pt x="1760" y="448"/>
                  <a:pt x="1758" y="448"/>
                </a:cubicBezTo>
                <a:cubicBezTo>
                  <a:pt x="1757" y="446"/>
                  <a:pt x="1755" y="442"/>
                  <a:pt x="1755" y="440"/>
                </a:cubicBezTo>
                <a:cubicBezTo>
                  <a:pt x="1755" y="439"/>
                  <a:pt x="1754" y="437"/>
                  <a:pt x="1754" y="437"/>
                </a:cubicBezTo>
                <a:cubicBezTo>
                  <a:pt x="1753" y="437"/>
                  <a:pt x="1753" y="437"/>
                  <a:pt x="1753" y="437"/>
                </a:cubicBezTo>
                <a:cubicBezTo>
                  <a:pt x="1754" y="431"/>
                  <a:pt x="1752" y="435"/>
                  <a:pt x="1753" y="429"/>
                </a:cubicBezTo>
                <a:cubicBezTo>
                  <a:pt x="1754" y="429"/>
                  <a:pt x="1754" y="429"/>
                  <a:pt x="1754" y="429"/>
                </a:cubicBezTo>
                <a:cubicBezTo>
                  <a:pt x="1754" y="433"/>
                  <a:pt x="1754" y="434"/>
                  <a:pt x="1757" y="431"/>
                </a:cubicBezTo>
                <a:cubicBezTo>
                  <a:pt x="1757" y="428"/>
                  <a:pt x="1757" y="428"/>
                  <a:pt x="1757" y="428"/>
                </a:cubicBezTo>
                <a:cubicBezTo>
                  <a:pt x="1758" y="427"/>
                  <a:pt x="1758" y="427"/>
                  <a:pt x="1758" y="427"/>
                </a:cubicBezTo>
                <a:cubicBezTo>
                  <a:pt x="1757" y="425"/>
                  <a:pt x="1757" y="425"/>
                  <a:pt x="1757" y="425"/>
                </a:cubicBezTo>
                <a:cubicBezTo>
                  <a:pt x="1757" y="425"/>
                  <a:pt x="1756" y="424"/>
                  <a:pt x="1756" y="423"/>
                </a:cubicBezTo>
                <a:cubicBezTo>
                  <a:pt x="1756" y="423"/>
                  <a:pt x="1756" y="421"/>
                  <a:pt x="1756" y="420"/>
                </a:cubicBezTo>
                <a:cubicBezTo>
                  <a:pt x="1756" y="420"/>
                  <a:pt x="1756" y="418"/>
                  <a:pt x="1758" y="418"/>
                </a:cubicBezTo>
                <a:cubicBezTo>
                  <a:pt x="1759" y="418"/>
                  <a:pt x="1761" y="418"/>
                  <a:pt x="1761" y="418"/>
                </a:cubicBezTo>
                <a:cubicBezTo>
                  <a:pt x="1762" y="418"/>
                  <a:pt x="1764" y="418"/>
                  <a:pt x="1764" y="418"/>
                </a:cubicBezTo>
                <a:cubicBezTo>
                  <a:pt x="1765" y="416"/>
                  <a:pt x="1765" y="416"/>
                  <a:pt x="1765" y="416"/>
                </a:cubicBezTo>
                <a:cubicBezTo>
                  <a:pt x="1763" y="415"/>
                  <a:pt x="1763" y="415"/>
                  <a:pt x="1761" y="415"/>
                </a:cubicBezTo>
                <a:cubicBezTo>
                  <a:pt x="1753" y="413"/>
                  <a:pt x="1757" y="415"/>
                  <a:pt x="1754" y="411"/>
                </a:cubicBezTo>
                <a:cubicBezTo>
                  <a:pt x="1750" y="406"/>
                  <a:pt x="1750" y="406"/>
                  <a:pt x="1750" y="406"/>
                </a:cubicBezTo>
                <a:cubicBezTo>
                  <a:pt x="1748" y="402"/>
                  <a:pt x="1748" y="402"/>
                  <a:pt x="1748" y="402"/>
                </a:cubicBezTo>
                <a:cubicBezTo>
                  <a:pt x="1746" y="401"/>
                  <a:pt x="1746" y="401"/>
                  <a:pt x="1746" y="401"/>
                </a:cubicBezTo>
                <a:cubicBezTo>
                  <a:pt x="1744" y="400"/>
                  <a:pt x="1744" y="400"/>
                  <a:pt x="1744" y="400"/>
                </a:cubicBezTo>
                <a:cubicBezTo>
                  <a:pt x="1743" y="399"/>
                  <a:pt x="1743" y="399"/>
                  <a:pt x="1743" y="399"/>
                </a:cubicBezTo>
                <a:cubicBezTo>
                  <a:pt x="1737" y="392"/>
                  <a:pt x="1737" y="392"/>
                  <a:pt x="1737" y="392"/>
                </a:cubicBezTo>
                <a:cubicBezTo>
                  <a:pt x="1733" y="387"/>
                  <a:pt x="1733" y="387"/>
                  <a:pt x="1733" y="387"/>
                </a:cubicBezTo>
                <a:cubicBezTo>
                  <a:pt x="1732" y="386"/>
                  <a:pt x="1732" y="378"/>
                  <a:pt x="1731" y="377"/>
                </a:cubicBezTo>
                <a:cubicBezTo>
                  <a:pt x="1723" y="371"/>
                  <a:pt x="1723" y="371"/>
                  <a:pt x="1723" y="371"/>
                </a:cubicBezTo>
                <a:cubicBezTo>
                  <a:pt x="1725" y="368"/>
                  <a:pt x="1725" y="368"/>
                  <a:pt x="1725" y="368"/>
                </a:cubicBezTo>
                <a:cubicBezTo>
                  <a:pt x="1728" y="362"/>
                  <a:pt x="1727" y="367"/>
                  <a:pt x="1727" y="359"/>
                </a:cubicBezTo>
                <a:cubicBezTo>
                  <a:pt x="1734" y="357"/>
                  <a:pt x="1734" y="357"/>
                  <a:pt x="1734" y="357"/>
                </a:cubicBezTo>
                <a:cubicBezTo>
                  <a:pt x="1739" y="355"/>
                  <a:pt x="1739" y="355"/>
                  <a:pt x="1739" y="355"/>
                </a:cubicBezTo>
                <a:cubicBezTo>
                  <a:pt x="1740" y="351"/>
                  <a:pt x="1740" y="351"/>
                  <a:pt x="1740" y="351"/>
                </a:cubicBezTo>
                <a:cubicBezTo>
                  <a:pt x="1740" y="351"/>
                  <a:pt x="1740" y="351"/>
                  <a:pt x="1740" y="351"/>
                </a:cubicBezTo>
                <a:cubicBezTo>
                  <a:pt x="1747" y="348"/>
                  <a:pt x="1747" y="348"/>
                  <a:pt x="1747" y="348"/>
                </a:cubicBezTo>
                <a:cubicBezTo>
                  <a:pt x="1756" y="344"/>
                  <a:pt x="1756" y="344"/>
                  <a:pt x="1756" y="344"/>
                </a:cubicBezTo>
                <a:cubicBezTo>
                  <a:pt x="1764" y="345"/>
                  <a:pt x="1764" y="345"/>
                  <a:pt x="1764" y="345"/>
                </a:cubicBezTo>
                <a:cubicBezTo>
                  <a:pt x="1766" y="345"/>
                  <a:pt x="1766" y="347"/>
                  <a:pt x="1771" y="344"/>
                </a:cubicBezTo>
                <a:cubicBezTo>
                  <a:pt x="1774" y="348"/>
                  <a:pt x="1774" y="348"/>
                  <a:pt x="1774" y="348"/>
                </a:cubicBezTo>
                <a:cubicBezTo>
                  <a:pt x="1776" y="353"/>
                  <a:pt x="1776" y="353"/>
                  <a:pt x="1776" y="353"/>
                </a:cubicBezTo>
                <a:cubicBezTo>
                  <a:pt x="1776" y="361"/>
                  <a:pt x="1776" y="361"/>
                  <a:pt x="1776" y="361"/>
                </a:cubicBezTo>
                <a:cubicBezTo>
                  <a:pt x="1782" y="362"/>
                  <a:pt x="1782" y="362"/>
                  <a:pt x="1782" y="362"/>
                </a:cubicBezTo>
                <a:cubicBezTo>
                  <a:pt x="1786" y="361"/>
                  <a:pt x="1786" y="361"/>
                  <a:pt x="1786" y="361"/>
                </a:cubicBezTo>
                <a:cubicBezTo>
                  <a:pt x="1789" y="363"/>
                  <a:pt x="1788" y="362"/>
                  <a:pt x="1789" y="365"/>
                </a:cubicBezTo>
                <a:cubicBezTo>
                  <a:pt x="1786" y="366"/>
                  <a:pt x="1786" y="366"/>
                  <a:pt x="1783" y="367"/>
                </a:cubicBezTo>
                <a:cubicBezTo>
                  <a:pt x="1781" y="372"/>
                  <a:pt x="1781" y="372"/>
                  <a:pt x="1781" y="372"/>
                </a:cubicBezTo>
                <a:cubicBezTo>
                  <a:pt x="1779" y="372"/>
                  <a:pt x="1779" y="372"/>
                  <a:pt x="1779" y="372"/>
                </a:cubicBezTo>
                <a:cubicBezTo>
                  <a:pt x="1780" y="367"/>
                  <a:pt x="1780" y="369"/>
                  <a:pt x="1782" y="364"/>
                </a:cubicBezTo>
                <a:cubicBezTo>
                  <a:pt x="1781" y="364"/>
                  <a:pt x="1781" y="364"/>
                  <a:pt x="1781" y="364"/>
                </a:cubicBezTo>
                <a:cubicBezTo>
                  <a:pt x="1775" y="363"/>
                  <a:pt x="1775" y="363"/>
                  <a:pt x="1775" y="363"/>
                </a:cubicBezTo>
                <a:cubicBezTo>
                  <a:pt x="1769" y="362"/>
                  <a:pt x="1772" y="362"/>
                  <a:pt x="1766" y="362"/>
                </a:cubicBezTo>
                <a:cubicBezTo>
                  <a:pt x="1765" y="363"/>
                  <a:pt x="1763" y="362"/>
                  <a:pt x="1763" y="362"/>
                </a:cubicBezTo>
                <a:cubicBezTo>
                  <a:pt x="1759" y="366"/>
                  <a:pt x="1758" y="367"/>
                  <a:pt x="1765" y="370"/>
                </a:cubicBezTo>
                <a:cubicBezTo>
                  <a:pt x="1764" y="372"/>
                  <a:pt x="1764" y="372"/>
                  <a:pt x="1764" y="372"/>
                </a:cubicBezTo>
                <a:cubicBezTo>
                  <a:pt x="1761" y="370"/>
                  <a:pt x="1762" y="371"/>
                  <a:pt x="1758" y="370"/>
                </a:cubicBezTo>
                <a:cubicBezTo>
                  <a:pt x="1755" y="370"/>
                  <a:pt x="1755" y="370"/>
                  <a:pt x="1755" y="370"/>
                </a:cubicBezTo>
                <a:cubicBezTo>
                  <a:pt x="1754" y="373"/>
                  <a:pt x="1754" y="373"/>
                  <a:pt x="1754" y="373"/>
                </a:cubicBezTo>
                <a:cubicBezTo>
                  <a:pt x="1757" y="373"/>
                  <a:pt x="1757" y="373"/>
                  <a:pt x="1757" y="373"/>
                </a:cubicBezTo>
                <a:cubicBezTo>
                  <a:pt x="1760" y="375"/>
                  <a:pt x="1760" y="375"/>
                  <a:pt x="1760" y="375"/>
                </a:cubicBezTo>
                <a:cubicBezTo>
                  <a:pt x="1762" y="377"/>
                  <a:pt x="1762" y="377"/>
                  <a:pt x="1762" y="377"/>
                </a:cubicBezTo>
                <a:cubicBezTo>
                  <a:pt x="1766" y="382"/>
                  <a:pt x="1766" y="382"/>
                  <a:pt x="1766" y="382"/>
                </a:cubicBezTo>
                <a:cubicBezTo>
                  <a:pt x="1766" y="386"/>
                  <a:pt x="1766" y="386"/>
                  <a:pt x="1766" y="386"/>
                </a:cubicBezTo>
                <a:cubicBezTo>
                  <a:pt x="1768" y="386"/>
                  <a:pt x="1768" y="386"/>
                  <a:pt x="1770" y="387"/>
                </a:cubicBezTo>
                <a:cubicBezTo>
                  <a:pt x="1774" y="390"/>
                  <a:pt x="1774" y="389"/>
                  <a:pt x="1779" y="389"/>
                </a:cubicBezTo>
                <a:cubicBezTo>
                  <a:pt x="1780" y="391"/>
                  <a:pt x="1780" y="391"/>
                  <a:pt x="1780" y="391"/>
                </a:cubicBezTo>
                <a:cubicBezTo>
                  <a:pt x="1779" y="395"/>
                  <a:pt x="1779" y="395"/>
                  <a:pt x="1779" y="395"/>
                </a:cubicBezTo>
                <a:cubicBezTo>
                  <a:pt x="1779" y="399"/>
                  <a:pt x="1779" y="399"/>
                  <a:pt x="1779" y="399"/>
                </a:cubicBezTo>
                <a:cubicBezTo>
                  <a:pt x="1783" y="398"/>
                  <a:pt x="1783" y="398"/>
                  <a:pt x="1783" y="398"/>
                </a:cubicBezTo>
                <a:cubicBezTo>
                  <a:pt x="1785" y="396"/>
                  <a:pt x="1785" y="396"/>
                  <a:pt x="1785" y="396"/>
                </a:cubicBezTo>
                <a:cubicBezTo>
                  <a:pt x="1781" y="400"/>
                  <a:pt x="1781" y="400"/>
                  <a:pt x="1781" y="400"/>
                </a:cubicBezTo>
                <a:cubicBezTo>
                  <a:pt x="1782" y="405"/>
                  <a:pt x="1782" y="405"/>
                  <a:pt x="1782" y="405"/>
                </a:cubicBezTo>
                <a:cubicBezTo>
                  <a:pt x="1784" y="405"/>
                  <a:pt x="1784" y="405"/>
                  <a:pt x="1784" y="405"/>
                </a:cubicBezTo>
                <a:cubicBezTo>
                  <a:pt x="1784" y="401"/>
                  <a:pt x="1783" y="402"/>
                  <a:pt x="1784" y="399"/>
                </a:cubicBezTo>
                <a:cubicBezTo>
                  <a:pt x="1787" y="397"/>
                  <a:pt x="1787" y="397"/>
                  <a:pt x="1787" y="397"/>
                </a:cubicBezTo>
                <a:cubicBezTo>
                  <a:pt x="1791" y="398"/>
                  <a:pt x="1791" y="398"/>
                  <a:pt x="1791" y="398"/>
                </a:cubicBezTo>
                <a:cubicBezTo>
                  <a:pt x="1793" y="399"/>
                  <a:pt x="1793" y="399"/>
                  <a:pt x="1793" y="399"/>
                </a:cubicBezTo>
                <a:cubicBezTo>
                  <a:pt x="1794" y="404"/>
                  <a:pt x="1794" y="404"/>
                  <a:pt x="1794" y="404"/>
                </a:cubicBezTo>
                <a:cubicBezTo>
                  <a:pt x="1802" y="409"/>
                  <a:pt x="1802" y="409"/>
                  <a:pt x="1802" y="409"/>
                </a:cubicBezTo>
                <a:cubicBezTo>
                  <a:pt x="1801" y="411"/>
                  <a:pt x="1801" y="411"/>
                  <a:pt x="1801" y="411"/>
                </a:cubicBezTo>
                <a:cubicBezTo>
                  <a:pt x="1798" y="410"/>
                  <a:pt x="1798" y="410"/>
                  <a:pt x="1798" y="410"/>
                </a:cubicBezTo>
                <a:lnTo>
                  <a:pt x="1798" y="413"/>
                </a:lnTo>
                <a:close/>
                <a:moveTo>
                  <a:pt x="1225" y="155"/>
                </a:moveTo>
                <a:cubicBezTo>
                  <a:pt x="1225" y="156"/>
                  <a:pt x="1226" y="158"/>
                  <a:pt x="1225" y="158"/>
                </a:cubicBezTo>
                <a:cubicBezTo>
                  <a:pt x="1224" y="158"/>
                  <a:pt x="1223" y="158"/>
                  <a:pt x="1223" y="158"/>
                </a:cubicBezTo>
                <a:cubicBezTo>
                  <a:pt x="1222" y="158"/>
                  <a:pt x="1222" y="160"/>
                  <a:pt x="1221" y="160"/>
                </a:cubicBezTo>
                <a:cubicBezTo>
                  <a:pt x="1221" y="160"/>
                  <a:pt x="1219" y="160"/>
                  <a:pt x="1219" y="160"/>
                </a:cubicBezTo>
                <a:cubicBezTo>
                  <a:pt x="1218" y="161"/>
                  <a:pt x="1217" y="163"/>
                  <a:pt x="1216" y="163"/>
                </a:cubicBezTo>
                <a:cubicBezTo>
                  <a:pt x="1216" y="164"/>
                  <a:pt x="1214" y="165"/>
                  <a:pt x="1212" y="165"/>
                </a:cubicBezTo>
                <a:cubicBezTo>
                  <a:pt x="1211" y="164"/>
                  <a:pt x="1213" y="163"/>
                  <a:pt x="1209" y="165"/>
                </a:cubicBezTo>
                <a:cubicBezTo>
                  <a:pt x="1208" y="166"/>
                  <a:pt x="1207" y="167"/>
                  <a:pt x="1206" y="167"/>
                </a:cubicBezTo>
                <a:cubicBezTo>
                  <a:pt x="1205" y="167"/>
                  <a:pt x="1202" y="168"/>
                  <a:pt x="1201" y="168"/>
                </a:cubicBezTo>
                <a:cubicBezTo>
                  <a:pt x="1201" y="168"/>
                  <a:pt x="1200" y="169"/>
                  <a:pt x="1200" y="169"/>
                </a:cubicBezTo>
                <a:cubicBezTo>
                  <a:pt x="1199" y="169"/>
                  <a:pt x="1200" y="168"/>
                  <a:pt x="1199" y="168"/>
                </a:cubicBezTo>
                <a:cubicBezTo>
                  <a:pt x="1198" y="169"/>
                  <a:pt x="1191" y="170"/>
                  <a:pt x="1190" y="170"/>
                </a:cubicBezTo>
                <a:cubicBezTo>
                  <a:pt x="1190" y="171"/>
                  <a:pt x="1190" y="172"/>
                  <a:pt x="1189" y="172"/>
                </a:cubicBezTo>
                <a:cubicBezTo>
                  <a:pt x="1189" y="173"/>
                  <a:pt x="1186" y="172"/>
                  <a:pt x="1185" y="173"/>
                </a:cubicBezTo>
                <a:cubicBezTo>
                  <a:pt x="1184" y="173"/>
                  <a:pt x="1184" y="173"/>
                  <a:pt x="1183" y="173"/>
                </a:cubicBezTo>
                <a:cubicBezTo>
                  <a:pt x="1181" y="173"/>
                  <a:pt x="1174" y="172"/>
                  <a:pt x="1173" y="171"/>
                </a:cubicBezTo>
                <a:cubicBezTo>
                  <a:pt x="1171" y="170"/>
                  <a:pt x="1170" y="168"/>
                  <a:pt x="1166" y="168"/>
                </a:cubicBezTo>
                <a:cubicBezTo>
                  <a:pt x="1165" y="168"/>
                  <a:pt x="1163" y="168"/>
                  <a:pt x="1162" y="168"/>
                </a:cubicBezTo>
                <a:cubicBezTo>
                  <a:pt x="1155" y="168"/>
                  <a:pt x="1155" y="168"/>
                  <a:pt x="1155" y="168"/>
                </a:cubicBezTo>
                <a:cubicBezTo>
                  <a:pt x="1154" y="168"/>
                  <a:pt x="1155" y="167"/>
                  <a:pt x="1155" y="167"/>
                </a:cubicBezTo>
                <a:cubicBezTo>
                  <a:pt x="1158" y="167"/>
                  <a:pt x="1158" y="167"/>
                  <a:pt x="1160" y="164"/>
                </a:cubicBezTo>
                <a:cubicBezTo>
                  <a:pt x="1160" y="164"/>
                  <a:pt x="1161" y="163"/>
                  <a:pt x="1161" y="163"/>
                </a:cubicBezTo>
                <a:cubicBezTo>
                  <a:pt x="1161" y="163"/>
                  <a:pt x="1159" y="162"/>
                  <a:pt x="1159" y="161"/>
                </a:cubicBezTo>
                <a:cubicBezTo>
                  <a:pt x="1160" y="160"/>
                  <a:pt x="1161" y="160"/>
                  <a:pt x="1160" y="159"/>
                </a:cubicBezTo>
                <a:cubicBezTo>
                  <a:pt x="1159" y="159"/>
                  <a:pt x="1155" y="158"/>
                  <a:pt x="1155" y="158"/>
                </a:cubicBezTo>
                <a:cubicBezTo>
                  <a:pt x="1155" y="158"/>
                  <a:pt x="1154" y="159"/>
                  <a:pt x="1149" y="159"/>
                </a:cubicBezTo>
                <a:cubicBezTo>
                  <a:pt x="1149" y="159"/>
                  <a:pt x="1147" y="158"/>
                  <a:pt x="1147" y="158"/>
                </a:cubicBezTo>
                <a:cubicBezTo>
                  <a:pt x="1150" y="156"/>
                  <a:pt x="1150" y="158"/>
                  <a:pt x="1155" y="157"/>
                </a:cubicBezTo>
                <a:cubicBezTo>
                  <a:pt x="1157" y="156"/>
                  <a:pt x="1163" y="157"/>
                  <a:pt x="1163" y="157"/>
                </a:cubicBezTo>
                <a:cubicBezTo>
                  <a:pt x="1164" y="156"/>
                  <a:pt x="1165" y="156"/>
                  <a:pt x="1165" y="155"/>
                </a:cubicBezTo>
                <a:cubicBezTo>
                  <a:pt x="1164" y="155"/>
                  <a:pt x="1163" y="156"/>
                  <a:pt x="1162" y="156"/>
                </a:cubicBezTo>
                <a:cubicBezTo>
                  <a:pt x="1159" y="156"/>
                  <a:pt x="1160" y="154"/>
                  <a:pt x="1160" y="154"/>
                </a:cubicBezTo>
                <a:cubicBezTo>
                  <a:pt x="1161" y="154"/>
                  <a:pt x="1163" y="154"/>
                  <a:pt x="1164" y="153"/>
                </a:cubicBezTo>
                <a:cubicBezTo>
                  <a:pt x="1164" y="153"/>
                  <a:pt x="1162" y="152"/>
                  <a:pt x="1160" y="152"/>
                </a:cubicBezTo>
                <a:cubicBezTo>
                  <a:pt x="1152" y="152"/>
                  <a:pt x="1152" y="152"/>
                  <a:pt x="1152" y="152"/>
                </a:cubicBezTo>
                <a:cubicBezTo>
                  <a:pt x="1151" y="152"/>
                  <a:pt x="1151" y="152"/>
                  <a:pt x="1150" y="153"/>
                </a:cubicBezTo>
                <a:cubicBezTo>
                  <a:pt x="1149" y="153"/>
                  <a:pt x="1150" y="153"/>
                  <a:pt x="1149" y="153"/>
                </a:cubicBezTo>
                <a:cubicBezTo>
                  <a:pt x="1147" y="153"/>
                  <a:pt x="1145" y="152"/>
                  <a:pt x="1146" y="152"/>
                </a:cubicBezTo>
                <a:cubicBezTo>
                  <a:pt x="1146" y="152"/>
                  <a:pt x="1147" y="151"/>
                  <a:pt x="1147" y="151"/>
                </a:cubicBezTo>
                <a:cubicBezTo>
                  <a:pt x="1148" y="150"/>
                  <a:pt x="1149" y="152"/>
                  <a:pt x="1150" y="151"/>
                </a:cubicBezTo>
                <a:cubicBezTo>
                  <a:pt x="1151" y="151"/>
                  <a:pt x="1150" y="150"/>
                  <a:pt x="1150" y="150"/>
                </a:cubicBezTo>
                <a:cubicBezTo>
                  <a:pt x="1150" y="149"/>
                  <a:pt x="1149" y="148"/>
                  <a:pt x="1150" y="148"/>
                </a:cubicBezTo>
                <a:cubicBezTo>
                  <a:pt x="1153" y="148"/>
                  <a:pt x="1154" y="149"/>
                  <a:pt x="1154" y="148"/>
                </a:cubicBezTo>
                <a:cubicBezTo>
                  <a:pt x="1154" y="145"/>
                  <a:pt x="1153" y="145"/>
                  <a:pt x="1155" y="145"/>
                </a:cubicBezTo>
                <a:cubicBezTo>
                  <a:pt x="1157" y="145"/>
                  <a:pt x="1158" y="146"/>
                  <a:pt x="1158" y="146"/>
                </a:cubicBezTo>
                <a:cubicBezTo>
                  <a:pt x="1158" y="146"/>
                  <a:pt x="1158" y="148"/>
                  <a:pt x="1159" y="148"/>
                </a:cubicBezTo>
                <a:cubicBezTo>
                  <a:pt x="1159" y="148"/>
                  <a:pt x="1162" y="148"/>
                  <a:pt x="1162" y="147"/>
                </a:cubicBezTo>
                <a:cubicBezTo>
                  <a:pt x="1163" y="147"/>
                  <a:pt x="1159" y="146"/>
                  <a:pt x="1158" y="145"/>
                </a:cubicBezTo>
                <a:cubicBezTo>
                  <a:pt x="1158" y="145"/>
                  <a:pt x="1157" y="144"/>
                  <a:pt x="1158" y="143"/>
                </a:cubicBezTo>
                <a:cubicBezTo>
                  <a:pt x="1159" y="143"/>
                  <a:pt x="1160" y="143"/>
                  <a:pt x="1161" y="143"/>
                </a:cubicBezTo>
                <a:cubicBezTo>
                  <a:pt x="1162" y="144"/>
                  <a:pt x="1163" y="143"/>
                  <a:pt x="1164" y="144"/>
                </a:cubicBezTo>
                <a:cubicBezTo>
                  <a:pt x="1164" y="145"/>
                  <a:pt x="1165" y="146"/>
                  <a:pt x="1165" y="147"/>
                </a:cubicBezTo>
                <a:cubicBezTo>
                  <a:pt x="1166" y="147"/>
                  <a:pt x="1170" y="147"/>
                  <a:pt x="1169" y="149"/>
                </a:cubicBezTo>
                <a:cubicBezTo>
                  <a:pt x="1169" y="150"/>
                  <a:pt x="1167" y="150"/>
                  <a:pt x="1166" y="151"/>
                </a:cubicBezTo>
                <a:cubicBezTo>
                  <a:pt x="1166" y="152"/>
                  <a:pt x="1167" y="151"/>
                  <a:pt x="1168" y="152"/>
                </a:cubicBezTo>
                <a:cubicBezTo>
                  <a:pt x="1168" y="152"/>
                  <a:pt x="1169" y="154"/>
                  <a:pt x="1170" y="154"/>
                </a:cubicBezTo>
                <a:cubicBezTo>
                  <a:pt x="1171" y="154"/>
                  <a:pt x="1171" y="153"/>
                  <a:pt x="1171" y="152"/>
                </a:cubicBezTo>
                <a:cubicBezTo>
                  <a:pt x="1172" y="152"/>
                  <a:pt x="1174" y="151"/>
                  <a:pt x="1174" y="151"/>
                </a:cubicBezTo>
                <a:cubicBezTo>
                  <a:pt x="1174" y="151"/>
                  <a:pt x="1175" y="153"/>
                  <a:pt x="1176" y="151"/>
                </a:cubicBezTo>
                <a:cubicBezTo>
                  <a:pt x="1176" y="151"/>
                  <a:pt x="1177" y="150"/>
                  <a:pt x="1177" y="149"/>
                </a:cubicBezTo>
                <a:cubicBezTo>
                  <a:pt x="1177" y="149"/>
                  <a:pt x="1173" y="145"/>
                  <a:pt x="1179" y="147"/>
                </a:cubicBezTo>
                <a:cubicBezTo>
                  <a:pt x="1179" y="147"/>
                  <a:pt x="1179" y="147"/>
                  <a:pt x="1179" y="148"/>
                </a:cubicBezTo>
                <a:cubicBezTo>
                  <a:pt x="1180" y="149"/>
                  <a:pt x="1183" y="150"/>
                  <a:pt x="1184" y="149"/>
                </a:cubicBezTo>
                <a:cubicBezTo>
                  <a:pt x="1185" y="149"/>
                  <a:pt x="1182" y="148"/>
                  <a:pt x="1186" y="148"/>
                </a:cubicBezTo>
                <a:cubicBezTo>
                  <a:pt x="1186" y="148"/>
                  <a:pt x="1188" y="146"/>
                  <a:pt x="1190" y="147"/>
                </a:cubicBezTo>
                <a:cubicBezTo>
                  <a:pt x="1191" y="148"/>
                  <a:pt x="1193" y="150"/>
                  <a:pt x="1193" y="150"/>
                </a:cubicBezTo>
                <a:cubicBezTo>
                  <a:pt x="1193" y="150"/>
                  <a:pt x="1194" y="149"/>
                  <a:pt x="1194" y="148"/>
                </a:cubicBezTo>
                <a:cubicBezTo>
                  <a:pt x="1193" y="148"/>
                  <a:pt x="1193" y="146"/>
                  <a:pt x="1193" y="146"/>
                </a:cubicBezTo>
                <a:cubicBezTo>
                  <a:pt x="1196" y="146"/>
                  <a:pt x="1194" y="146"/>
                  <a:pt x="1197" y="147"/>
                </a:cubicBezTo>
                <a:cubicBezTo>
                  <a:pt x="1200" y="149"/>
                  <a:pt x="1200" y="146"/>
                  <a:pt x="1201" y="146"/>
                </a:cubicBezTo>
                <a:cubicBezTo>
                  <a:pt x="1201" y="146"/>
                  <a:pt x="1202" y="145"/>
                  <a:pt x="1202" y="146"/>
                </a:cubicBezTo>
                <a:cubicBezTo>
                  <a:pt x="1203" y="146"/>
                  <a:pt x="1204" y="146"/>
                  <a:pt x="1205" y="146"/>
                </a:cubicBezTo>
                <a:cubicBezTo>
                  <a:pt x="1205" y="145"/>
                  <a:pt x="1206" y="146"/>
                  <a:pt x="1206" y="144"/>
                </a:cubicBezTo>
                <a:cubicBezTo>
                  <a:pt x="1207" y="142"/>
                  <a:pt x="1205" y="143"/>
                  <a:pt x="1210" y="143"/>
                </a:cubicBezTo>
                <a:cubicBezTo>
                  <a:pt x="1210" y="144"/>
                  <a:pt x="1213" y="146"/>
                  <a:pt x="1214" y="146"/>
                </a:cubicBezTo>
                <a:cubicBezTo>
                  <a:pt x="1214" y="146"/>
                  <a:pt x="1215" y="145"/>
                  <a:pt x="1216" y="145"/>
                </a:cubicBezTo>
                <a:cubicBezTo>
                  <a:pt x="1217" y="145"/>
                  <a:pt x="1218" y="143"/>
                  <a:pt x="1218" y="144"/>
                </a:cubicBezTo>
                <a:cubicBezTo>
                  <a:pt x="1218" y="145"/>
                  <a:pt x="1217" y="146"/>
                  <a:pt x="1216" y="147"/>
                </a:cubicBezTo>
                <a:cubicBezTo>
                  <a:pt x="1216" y="147"/>
                  <a:pt x="1218" y="148"/>
                  <a:pt x="1218" y="147"/>
                </a:cubicBezTo>
                <a:cubicBezTo>
                  <a:pt x="1218" y="147"/>
                  <a:pt x="1220" y="147"/>
                  <a:pt x="1220" y="147"/>
                </a:cubicBezTo>
                <a:cubicBezTo>
                  <a:pt x="1219" y="149"/>
                  <a:pt x="1219" y="148"/>
                  <a:pt x="1218" y="150"/>
                </a:cubicBezTo>
                <a:cubicBezTo>
                  <a:pt x="1218" y="150"/>
                  <a:pt x="1220" y="150"/>
                  <a:pt x="1221" y="150"/>
                </a:cubicBezTo>
                <a:cubicBezTo>
                  <a:pt x="1221" y="150"/>
                  <a:pt x="1222" y="149"/>
                  <a:pt x="1222" y="150"/>
                </a:cubicBezTo>
                <a:cubicBezTo>
                  <a:pt x="1222" y="152"/>
                  <a:pt x="1220" y="151"/>
                  <a:pt x="1225" y="152"/>
                </a:cubicBezTo>
                <a:cubicBezTo>
                  <a:pt x="1226" y="152"/>
                  <a:pt x="1227" y="151"/>
                  <a:pt x="1227" y="153"/>
                </a:cubicBezTo>
                <a:cubicBezTo>
                  <a:pt x="1228" y="154"/>
                  <a:pt x="1225" y="154"/>
                  <a:pt x="1225" y="155"/>
                </a:cubicBezTo>
                <a:close/>
                <a:moveTo>
                  <a:pt x="1212" y="63"/>
                </a:moveTo>
                <a:cubicBezTo>
                  <a:pt x="1213" y="63"/>
                  <a:pt x="1212" y="63"/>
                  <a:pt x="1212" y="63"/>
                </a:cubicBezTo>
                <a:cubicBezTo>
                  <a:pt x="1212" y="63"/>
                  <a:pt x="1212" y="63"/>
                  <a:pt x="1212" y="62"/>
                </a:cubicBezTo>
                <a:cubicBezTo>
                  <a:pt x="1212" y="62"/>
                  <a:pt x="1214" y="62"/>
                  <a:pt x="1215" y="62"/>
                </a:cubicBezTo>
                <a:cubicBezTo>
                  <a:pt x="1217" y="62"/>
                  <a:pt x="1220" y="60"/>
                  <a:pt x="1220" y="62"/>
                </a:cubicBezTo>
                <a:cubicBezTo>
                  <a:pt x="1220" y="63"/>
                  <a:pt x="1222" y="65"/>
                  <a:pt x="1220" y="65"/>
                </a:cubicBezTo>
                <a:cubicBezTo>
                  <a:pt x="1220" y="65"/>
                  <a:pt x="1220" y="65"/>
                  <a:pt x="1219" y="65"/>
                </a:cubicBezTo>
                <a:cubicBezTo>
                  <a:pt x="1219" y="65"/>
                  <a:pt x="1219" y="66"/>
                  <a:pt x="1220" y="66"/>
                </a:cubicBezTo>
                <a:cubicBezTo>
                  <a:pt x="1210" y="66"/>
                  <a:pt x="1210" y="66"/>
                  <a:pt x="1210" y="66"/>
                </a:cubicBezTo>
                <a:cubicBezTo>
                  <a:pt x="1210" y="66"/>
                  <a:pt x="1210" y="64"/>
                  <a:pt x="1210" y="64"/>
                </a:cubicBezTo>
                <a:cubicBezTo>
                  <a:pt x="1211" y="64"/>
                  <a:pt x="1212" y="64"/>
                  <a:pt x="1212" y="63"/>
                </a:cubicBezTo>
                <a:close/>
                <a:moveTo>
                  <a:pt x="1178" y="89"/>
                </a:moveTo>
                <a:cubicBezTo>
                  <a:pt x="1178" y="89"/>
                  <a:pt x="1181" y="89"/>
                  <a:pt x="1179" y="89"/>
                </a:cubicBezTo>
                <a:cubicBezTo>
                  <a:pt x="1177" y="90"/>
                  <a:pt x="1177" y="91"/>
                  <a:pt x="1176" y="90"/>
                </a:cubicBezTo>
                <a:cubicBezTo>
                  <a:pt x="1174" y="89"/>
                  <a:pt x="1175" y="89"/>
                  <a:pt x="1173" y="89"/>
                </a:cubicBezTo>
                <a:cubicBezTo>
                  <a:pt x="1167" y="87"/>
                  <a:pt x="1167" y="87"/>
                  <a:pt x="1167" y="87"/>
                </a:cubicBezTo>
                <a:cubicBezTo>
                  <a:pt x="1167" y="87"/>
                  <a:pt x="1167" y="87"/>
                  <a:pt x="1167" y="87"/>
                </a:cubicBezTo>
                <a:cubicBezTo>
                  <a:pt x="1167" y="86"/>
                  <a:pt x="1165" y="84"/>
                  <a:pt x="1167" y="83"/>
                </a:cubicBezTo>
                <a:cubicBezTo>
                  <a:pt x="1169" y="83"/>
                  <a:pt x="1176" y="82"/>
                  <a:pt x="1176" y="82"/>
                </a:cubicBezTo>
                <a:cubicBezTo>
                  <a:pt x="1178" y="82"/>
                  <a:pt x="1179" y="82"/>
                  <a:pt x="1181" y="82"/>
                </a:cubicBezTo>
                <a:cubicBezTo>
                  <a:pt x="1181" y="82"/>
                  <a:pt x="1183" y="83"/>
                  <a:pt x="1183" y="84"/>
                </a:cubicBezTo>
                <a:cubicBezTo>
                  <a:pt x="1183" y="84"/>
                  <a:pt x="1185" y="85"/>
                  <a:pt x="1183" y="85"/>
                </a:cubicBezTo>
                <a:cubicBezTo>
                  <a:pt x="1179" y="85"/>
                  <a:pt x="1176" y="84"/>
                  <a:pt x="1175" y="84"/>
                </a:cubicBezTo>
                <a:cubicBezTo>
                  <a:pt x="1175" y="84"/>
                  <a:pt x="1174" y="85"/>
                  <a:pt x="1176" y="85"/>
                </a:cubicBezTo>
                <a:cubicBezTo>
                  <a:pt x="1179" y="85"/>
                  <a:pt x="1180" y="85"/>
                  <a:pt x="1182" y="87"/>
                </a:cubicBezTo>
                <a:cubicBezTo>
                  <a:pt x="1182" y="87"/>
                  <a:pt x="1183" y="88"/>
                  <a:pt x="1183" y="88"/>
                </a:cubicBezTo>
                <a:cubicBezTo>
                  <a:pt x="1182" y="88"/>
                  <a:pt x="1181" y="89"/>
                  <a:pt x="1179" y="88"/>
                </a:cubicBezTo>
                <a:cubicBezTo>
                  <a:pt x="1177" y="87"/>
                  <a:pt x="1176" y="86"/>
                  <a:pt x="1178" y="89"/>
                </a:cubicBezTo>
                <a:close/>
                <a:moveTo>
                  <a:pt x="1222" y="36"/>
                </a:moveTo>
                <a:cubicBezTo>
                  <a:pt x="1223" y="35"/>
                  <a:pt x="1223" y="35"/>
                  <a:pt x="1224" y="34"/>
                </a:cubicBezTo>
                <a:cubicBezTo>
                  <a:pt x="1227" y="36"/>
                  <a:pt x="1222" y="36"/>
                  <a:pt x="1222" y="36"/>
                </a:cubicBezTo>
                <a:close/>
                <a:moveTo>
                  <a:pt x="957" y="99"/>
                </a:moveTo>
                <a:cubicBezTo>
                  <a:pt x="957" y="98"/>
                  <a:pt x="958" y="98"/>
                  <a:pt x="959" y="98"/>
                </a:cubicBezTo>
                <a:cubicBezTo>
                  <a:pt x="960" y="97"/>
                  <a:pt x="961" y="97"/>
                  <a:pt x="962" y="97"/>
                </a:cubicBezTo>
                <a:cubicBezTo>
                  <a:pt x="962" y="97"/>
                  <a:pt x="962" y="99"/>
                  <a:pt x="962" y="99"/>
                </a:cubicBezTo>
                <a:cubicBezTo>
                  <a:pt x="961" y="99"/>
                  <a:pt x="959" y="100"/>
                  <a:pt x="959" y="100"/>
                </a:cubicBezTo>
                <a:cubicBezTo>
                  <a:pt x="959" y="99"/>
                  <a:pt x="957" y="100"/>
                  <a:pt x="957" y="99"/>
                </a:cubicBezTo>
                <a:close/>
                <a:moveTo>
                  <a:pt x="1227" y="42"/>
                </a:moveTo>
                <a:cubicBezTo>
                  <a:pt x="1225" y="42"/>
                  <a:pt x="1223" y="43"/>
                  <a:pt x="1223" y="43"/>
                </a:cubicBezTo>
                <a:cubicBezTo>
                  <a:pt x="1223" y="43"/>
                  <a:pt x="1221" y="43"/>
                  <a:pt x="1222" y="43"/>
                </a:cubicBezTo>
                <a:cubicBezTo>
                  <a:pt x="1222" y="42"/>
                  <a:pt x="1225" y="40"/>
                  <a:pt x="1226" y="40"/>
                </a:cubicBezTo>
                <a:cubicBezTo>
                  <a:pt x="1227" y="40"/>
                  <a:pt x="1230" y="42"/>
                  <a:pt x="1227" y="42"/>
                </a:cubicBezTo>
                <a:close/>
                <a:moveTo>
                  <a:pt x="1219" y="35"/>
                </a:moveTo>
                <a:cubicBezTo>
                  <a:pt x="1218" y="36"/>
                  <a:pt x="1217" y="35"/>
                  <a:pt x="1216" y="35"/>
                </a:cubicBezTo>
                <a:cubicBezTo>
                  <a:pt x="1216" y="34"/>
                  <a:pt x="1215" y="33"/>
                  <a:pt x="1216" y="33"/>
                </a:cubicBezTo>
                <a:cubicBezTo>
                  <a:pt x="1219" y="31"/>
                  <a:pt x="1221" y="34"/>
                  <a:pt x="1219" y="35"/>
                </a:cubicBezTo>
                <a:close/>
                <a:moveTo>
                  <a:pt x="1141" y="122"/>
                </a:moveTo>
                <a:cubicBezTo>
                  <a:pt x="1139" y="122"/>
                  <a:pt x="1132" y="122"/>
                  <a:pt x="1131" y="123"/>
                </a:cubicBezTo>
                <a:cubicBezTo>
                  <a:pt x="1130" y="123"/>
                  <a:pt x="1122" y="125"/>
                  <a:pt x="1122" y="125"/>
                </a:cubicBezTo>
                <a:cubicBezTo>
                  <a:pt x="1121" y="125"/>
                  <a:pt x="1121" y="126"/>
                  <a:pt x="1120" y="126"/>
                </a:cubicBezTo>
                <a:cubicBezTo>
                  <a:pt x="1117" y="127"/>
                  <a:pt x="1118" y="125"/>
                  <a:pt x="1116" y="125"/>
                </a:cubicBezTo>
                <a:cubicBezTo>
                  <a:pt x="1113" y="124"/>
                  <a:pt x="1112" y="127"/>
                  <a:pt x="1111" y="127"/>
                </a:cubicBezTo>
                <a:cubicBezTo>
                  <a:pt x="1111" y="127"/>
                  <a:pt x="1108" y="127"/>
                  <a:pt x="1108" y="127"/>
                </a:cubicBezTo>
                <a:cubicBezTo>
                  <a:pt x="1104" y="127"/>
                  <a:pt x="1104" y="128"/>
                  <a:pt x="1100" y="125"/>
                </a:cubicBezTo>
                <a:cubicBezTo>
                  <a:pt x="1100" y="124"/>
                  <a:pt x="1099" y="123"/>
                  <a:pt x="1098" y="123"/>
                </a:cubicBezTo>
                <a:cubicBezTo>
                  <a:pt x="1097" y="123"/>
                  <a:pt x="1098" y="125"/>
                  <a:pt x="1098" y="126"/>
                </a:cubicBezTo>
                <a:cubicBezTo>
                  <a:pt x="1098" y="126"/>
                  <a:pt x="1099" y="127"/>
                  <a:pt x="1098" y="127"/>
                </a:cubicBezTo>
                <a:cubicBezTo>
                  <a:pt x="1097" y="129"/>
                  <a:pt x="1096" y="128"/>
                  <a:pt x="1095" y="129"/>
                </a:cubicBezTo>
                <a:cubicBezTo>
                  <a:pt x="1088" y="132"/>
                  <a:pt x="1088" y="132"/>
                  <a:pt x="1088" y="132"/>
                </a:cubicBezTo>
                <a:cubicBezTo>
                  <a:pt x="1081" y="136"/>
                  <a:pt x="1080" y="138"/>
                  <a:pt x="1077" y="140"/>
                </a:cubicBezTo>
                <a:cubicBezTo>
                  <a:pt x="1073" y="143"/>
                  <a:pt x="1072" y="145"/>
                  <a:pt x="1067" y="143"/>
                </a:cubicBezTo>
                <a:cubicBezTo>
                  <a:pt x="1065" y="145"/>
                  <a:pt x="1065" y="145"/>
                  <a:pt x="1065" y="145"/>
                </a:cubicBezTo>
                <a:cubicBezTo>
                  <a:pt x="1065" y="145"/>
                  <a:pt x="1057" y="146"/>
                  <a:pt x="1057" y="146"/>
                </a:cubicBezTo>
                <a:cubicBezTo>
                  <a:pt x="1056" y="146"/>
                  <a:pt x="1053" y="148"/>
                  <a:pt x="1053" y="148"/>
                </a:cubicBezTo>
                <a:cubicBezTo>
                  <a:pt x="1052" y="149"/>
                  <a:pt x="1048" y="150"/>
                  <a:pt x="1048" y="149"/>
                </a:cubicBezTo>
                <a:cubicBezTo>
                  <a:pt x="1048" y="148"/>
                  <a:pt x="1049" y="146"/>
                  <a:pt x="1050" y="145"/>
                </a:cubicBezTo>
                <a:cubicBezTo>
                  <a:pt x="1051" y="144"/>
                  <a:pt x="1053" y="145"/>
                  <a:pt x="1054" y="144"/>
                </a:cubicBezTo>
                <a:cubicBezTo>
                  <a:pt x="1054" y="143"/>
                  <a:pt x="1052" y="142"/>
                  <a:pt x="1051" y="142"/>
                </a:cubicBezTo>
                <a:cubicBezTo>
                  <a:pt x="1050" y="142"/>
                  <a:pt x="1048" y="148"/>
                  <a:pt x="1046" y="148"/>
                </a:cubicBezTo>
                <a:cubicBezTo>
                  <a:pt x="1044" y="148"/>
                  <a:pt x="1041" y="150"/>
                  <a:pt x="1039" y="150"/>
                </a:cubicBezTo>
                <a:cubicBezTo>
                  <a:pt x="1034" y="151"/>
                  <a:pt x="1037" y="149"/>
                  <a:pt x="1031" y="153"/>
                </a:cubicBezTo>
                <a:cubicBezTo>
                  <a:pt x="1031" y="156"/>
                  <a:pt x="1025" y="155"/>
                  <a:pt x="1024" y="155"/>
                </a:cubicBezTo>
                <a:cubicBezTo>
                  <a:pt x="1022" y="156"/>
                  <a:pt x="1022" y="156"/>
                  <a:pt x="1022" y="156"/>
                </a:cubicBezTo>
                <a:cubicBezTo>
                  <a:pt x="1022" y="156"/>
                  <a:pt x="1019" y="157"/>
                  <a:pt x="1021" y="158"/>
                </a:cubicBezTo>
                <a:cubicBezTo>
                  <a:pt x="1026" y="158"/>
                  <a:pt x="1025" y="157"/>
                  <a:pt x="1024" y="162"/>
                </a:cubicBezTo>
                <a:cubicBezTo>
                  <a:pt x="1024" y="162"/>
                  <a:pt x="1026" y="162"/>
                  <a:pt x="1024" y="162"/>
                </a:cubicBezTo>
                <a:cubicBezTo>
                  <a:pt x="1022" y="162"/>
                  <a:pt x="1021" y="162"/>
                  <a:pt x="1020" y="162"/>
                </a:cubicBezTo>
                <a:cubicBezTo>
                  <a:pt x="1019" y="163"/>
                  <a:pt x="1018" y="162"/>
                  <a:pt x="1018" y="163"/>
                </a:cubicBezTo>
                <a:cubicBezTo>
                  <a:pt x="1019" y="164"/>
                  <a:pt x="1018" y="165"/>
                  <a:pt x="1019" y="165"/>
                </a:cubicBezTo>
                <a:cubicBezTo>
                  <a:pt x="1021" y="165"/>
                  <a:pt x="1021" y="165"/>
                  <a:pt x="1021" y="165"/>
                </a:cubicBezTo>
                <a:cubicBezTo>
                  <a:pt x="1020" y="167"/>
                  <a:pt x="1020" y="167"/>
                  <a:pt x="1019" y="168"/>
                </a:cubicBezTo>
                <a:cubicBezTo>
                  <a:pt x="1019" y="169"/>
                  <a:pt x="1020" y="171"/>
                  <a:pt x="1015" y="169"/>
                </a:cubicBezTo>
                <a:cubicBezTo>
                  <a:pt x="1015" y="169"/>
                  <a:pt x="1014" y="170"/>
                  <a:pt x="1014" y="170"/>
                </a:cubicBezTo>
                <a:cubicBezTo>
                  <a:pt x="1014" y="170"/>
                  <a:pt x="1015" y="171"/>
                  <a:pt x="1014" y="171"/>
                </a:cubicBezTo>
                <a:cubicBezTo>
                  <a:pt x="1013" y="172"/>
                  <a:pt x="1013" y="172"/>
                  <a:pt x="1012" y="172"/>
                </a:cubicBezTo>
                <a:cubicBezTo>
                  <a:pt x="1012" y="172"/>
                  <a:pt x="1012" y="174"/>
                  <a:pt x="1012" y="174"/>
                </a:cubicBezTo>
                <a:cubicBezTo>
                  <a:pt x="1012" y="174"/>
                  <a:pt x="1011" y="175"/>
                  <a:pt x="1010" y="175"/>
                </a:cubicBezTo>
                <a:cubicBezTo>
                  <a:pt x="1010" y="175"/>
                  <a:pt x="1009" y="174"/>
                  <a:pt x="1009" y="175"/>
                </a:cubicBezTo>
                <a:cubicBezTo>
                  <a:pt x="1009" y="176"/>
                  <a:pt x="1009" y="178"/>
                  <a:pt x="1008" y="178"/>
                </a:cubicBezTo>
                <a:cubicBezTo>
                  <a:pt x="1008" y="178"/>
                  <a:pt x="1006" y="179"/>
                  <a:pt x="1006" y="179"/>
                </a:cubicBezTo>
                <a:cubicBezTo>
                  <a:pt x="1006" y="179"/>
                  <a:pt x="1004" y="178"/>
                  <a:pt x="1004" y="179"/>
                </a:cubicBezTo>
                <a:cubicBezTo>
                  <a:pt x="1004" y="179"/>
                  <a:pt x="1003" y="181"/>
                  <a:pt x="1003" y="181"/>
                </a:cubicBezTo>
                <a:cubicBezTo>
                  <a:pt x="1003" y="181"/>
                  <a:pt x="1004" y="181"/>
                  <a:pt x="1002" y="182"/>
                </a:cubicBezTo>
                <a:cubicBezTo>
                  <a:pt x="1001" y="183"/>
                  <a:pt x="1000" y="184"/>
                  <a:pt x="1001" y="185"/>
                </a:cubicBezTo>
                <a:cubicBezTo>
                  <a:pt x="1002" y="185"/>
                  <a:pt x="1003" y="185"/>
                  <a:pt x="1002" y="186"/>
                </a:cubicBezTo>
                <a:cubicBezTo>
                  <a:pt x="999" y="187"/>
                  <a:pt x="1000" y="187"/>
                  <a:pt x="998" y="188"/>
                </a:cubicBezTo>
                <a:cubicBezTo>
                  <a:pt x="997" y="188"/>
                  <a:pt x="996" y="189"/>
                  <a:pt x="997" y="189"/>
                </a:cubicBezTo>
                <a:cubicBezTo>
                  <a:pt x="999" y="189"/>
                  <a:pt x="998" y="189"/>
                  <a:pt x="997" y="190"/>
                </a:cubicBezTo>
                <a:cubicBezTo>
                  <a:pt x="997" y="191"/>
                  <a:pt x="997" y="191"/>
                  <a:pt x="997" y="191"/>
                </a:cubicBezTo>
                <a:cubicBezTo>
                  <a:pt x="995" y="192"/>
                  <a:pt x="995" y="192"/>
                  <a:pt x="993" y="192"/>
                </a:cubicBezTo>
                <a:cubicBezTo>
                  <a:pt x="993" y="194"/>
                  <a:pt x="993" y="194"/>
                  <a:pt x="993" y="194"/>
                </a:cubicBezTo>
                <a:cubicBezTo>
                  <a:pt x="993" y="194"/>
                  <a:pt x="993" y="194"/>
                  <a:pt x="993" y="194"/>
                </a:cubicBezTo>
                <a:cubicBezTo>
                  <a:pt x="992" y="196"/>
                  <a:pt x="992" y="196"/>
                  <a:pt x="992" y="196"/>
                </a:cubicBezTo>
                <a:cubicBezTo>
                  <a:pt x="990" y="198"/>
                  <a:pt x="991" y="197"/>
                  <a:pt x="990" y="199"/>
                </a:cubicBezTo>
                <a:cubicBezTo>
                  <a:pt x="989" y="201"/>
                  <a:pt x="987" y="201"/>
                  <a:pt x="987" y="203"/>
                </a:cubicBezTo>
                <a:cubicBezTo>
                  <a:pt x="984" y="206"/>
                  <a:pt x="984" y="206"/>
                  <a:pt x="984" y="206"/>
                </a:cubicBezTo>
                <a:cubicBezTo>
                  <a:pt x="983" y="205"/>
                  <a:pt x="983" y="205"/>
                  <a:pt x="983" y="205"/>
                </a:cubicBezTo>
                <a:cubicBezTo>
                  <a:pt x="981" y="207"/>
                  <a:pt x="981" y="207"/>
                  <a:pt x="981" y="207"/>
                </a:cubicBezTo>
                <a:cubicBezTo>
                  <a:pt x="979" y="207"/>
                  <a:pt x="978" y="207"/>
                  <a:pt x="975" y="206"/>
                </a:cubicBezTo>
                <a:cubicBezTo>
                  <a:pt x="975" y="205"/>
                  <a:pt x="975" y="205"/>
                  <a:pt x="975" y="205"/>
                </a:cubicBezTo>
                <a:cubicBezTo>
                  <a:pt x="974" y="205"/>
                  <a:pt x="974" y="205"/>
                  <a:pt x="972" y="204"/>
                </a:cubicBezTo>
                <a:cubicBezTo>
                  <a:pt x="973" y="203"/>
                  <a:pt x="973" y="203"/>
                  <a:pt x="973" y="203"/>
                </a:cubicBezTo>
                <a:cubicBezTo>
                  <a:pt x="970" y="202"/>
                  <a:pt x="970" y="202"/>
                  <a:pt x="970" y="202"/>
                </a:cubicBezTo>
                <a:cubicBezTo>
                  <a:pt x="971" y="200"/>
                  <a:pt x="971" y="200"/>
                  <a:pt x="971" y="200"/>
                </a:cubicBezTo>
                <a:cubicBezTo>
                  <a:pt x="971" y="199"/>
                  <a:pt x="971" y="199"/>
                  <a:pt x="971" y="199"/>
                </a:cubicBezTo>
                <a:cubicBezTo>
                  <a:pt x="971" y="199"/>
                  <a:pt x="971" y="197"/>
                  <a:pt x="971" y="197"/>
                </a:cubicBezTo>
                <a:cubicBezTo>
                  <a:pt x="971" y="196"/>
                  <a:pt x="969" y="196"/>
                  <a:pt x="969" y="196"/>
                </a:cubicBezTo>
                <a:cubicBezTo>
                  <a:pt x="967" y="196"/>
                  <a:pt x="968" y="195"/>
                  <a:pt x="964" y="199"/>
                </a:cubicBezTo>
                <a:cubicBezTo>
                  <a:pt x="963" y="197"/>
                  <a:pt x="963" y="197"/>
                  <a:pt x="963" y="197"/>
                </a:cubicBezTo>
                <a:cubicBezTo>
                  <a:pt x="963" y="197"/>
                  <a:pt x="957" y="196"/>
                  <a:pt x="956" y="197"/>
                </a:cubicBezTo>
                <a:cubicBezTo>
                  <a:pt x="956" y="197"/>
                  <a:pt x="952" y="199"/>
                  <a:pt x="952" y="199"/>
                </a:cubicBezTo>
                <a:cubicBezTo>
                  <a:pt x="952" y="199"/>
                  <a:pt x="951" y="200"/>
                  <a:pt x="951" y="199"/>
                </a:cubicBezTo>
                <a:cubicBezTo>
                  <a:pt x="951" y="197"/>
                  <a:pt x="953" y="195"/>
                  <a:pt x="953" y="195"/>
                </a:cubicBezTo>
                <a:cubicBezTo>
                  <a:pt x="952" y="195"/>
                  <a:pt x="950" y="194"/>
                  <a:pt x="950" y="194"/>
                </a:cubicBezTo>
                <a:cubicBezTo>
                  <a:pt x="950" y="193"/>
                  <a:pt x="949" y="193"/>
                  <a:pt x="949" y="192"/>
                </a:cubicBezTo>
                <a:cubicBezTo>
                  <a:pt x="949" y="192"/>
                  <a:pt x="951" y="192"/>
                  <a:pt x="949" y="192"/>
                </a:cubicBezTo>
                <a:cubicBezTo>
                  <a:pt x="943" y="192"/>
                  <a:pt x="946" y="192"/>
                  <a:pt x="947" y="188"/>
                </a:cubicBezTo>
                <a:cubicBezTo>
                  <a:pt x="947" y="188"/>
                  <a:pt x="947" y="187"/>
                  <a:pt x="946" y="186"/>
                </a:cubicBezTo>
                <a:cubicBezTo>
                  <a:pt x="945" y="186"/>
                  <a:pt x="944" y="186"/>
                  <a:pt x="944" y="186"/>
                </a:cubicBezTo>
                <a:cubicBezTo>
                  <a:pt x="943" y="185"/>
                  <a:pt x="944" y="184"/>
                  <a:pt x="945" y="184"/>
                </a:cubicBezTo>
                <a:cubicBezTo>
                  <a:pt x="945" y="184"/>
                  <a:pt x="942" y="183"/>
                  <a:pt x="942" y="183"/>
                </a:cubicBezTo>
                <a:cubicBezTo>
                  <a:pt x="942" y="182"/>
                  <a:pt x="941" y="180"/>
                  <a:pt x="942" y="180"/>
                </a:cubicBezTo>
                <a:cubicBezTo>
                  <a:pt x="942" y="179"/>
                  <a:pt x="944" y="178"/>
                  <a:pt x="944" y="178"/>
                </a:cubicBezTo>
                <a:cubicBezTo>
                  <a:pt x="941" y="176"/>
                  <a:pt x="941" y="177"/>
                  <a:pt x="943" y="174"/>
                </a:cubicBezTo>
                <a:cubicBezTo>
                  <a:pt x="942" y="174"/>
                  <a:pt x="942" y="174"/>
                  <a:pt x="941" y="174"/>
                </a:cubicBezTo>
                <a:cubicBezTo>
                  <a:pt x="941" y="174"/>
                  <a:pt x="940" y="175"/>
                  <a:pt x="939" y="174"/>
                </a:cubicBezTo>
                <a:cubicBezTo>
                  <a:pt x="938" y="174"/>
                  <a:pt x="939" y="172"/>
                  <a:pt x="939" y="171"/>
                </a:cubicBezTo>
                <a:cubicBezTo>
                  <a:pt x="938" y="171"/>
                  <a:pt x="938" y="168"/>
                  <a:pt x="938" y="168"/>
                </a:cubicBezTo>
                <a:cubicBezTo>
                  <a:pt x="939" y="168"/>
                  <a:pt x="940" y="166"/>
                  <a:pt x="940" y="166"/>
                </a:cubicBezTo>
                <a:cubicBezTo>
                  <a:pt x="940" y="166"/>
                  <a:pt x="940" y="165"/>
                  <a:pt x="941" y="165"/>
                </a:cubicBezTo>
                <a:cubicBezTo>
                  <a:pt x="941" y="164"/>
                  <a:pt x="942" y="165"/>
                  <a:pt x="943" y="164"/>
                </a:cubicBezTo>
                <a:cubicBezTo>
                  <a:pt x="943" y="164"/>
                  <a:pt x="942" y="163"/>
                  <a:pt x="943" y="162"/>
                </a:cubicBezTo>
                <a:cubicBezTo>
                  <a:pt x="943" y="162"/>
                  <a:pt x="944" y="162"/>
                  <a:pt x="944" y="161"/>
                </a:cubicBezTo>
                <a:cubicBezTo>
                  <a:pt x="944" y="161"/>
                  <a:pt x="943" y="160"/>
                  <a:pt x="943" y="160"/>
                </a:cubicBezTo>
                <a:cubicBezTo>
                  <a:pt x="942" y="160"/>
                  <a:pt x="942" y="161"/>
                  <a:pt x="942" y="162"/>
                </a:cubicBezTo>
                <a:cubicBezTo>
                  <a:pt x="940" y="163"/>
                  <a:pt x="936" y="162"/>
                  <a:pt x="936" y="162"/>
                </a:cubicBezTo>
                <a:cubicBezTo>
                  <a:pt x="936" y="162"/>
                  <a:pt x="937" y="159"/>
                  <a:pt x="937" y="159"/>
                </a:cubicBezTo>
                <a:cubicBezTo>
                  <a:pt x="937" y="159"/>
                  <a:pt x="938" y="158"/>
                  <a:pt x="938" y="158"/>
                </a:cubicBezTo>
                <a:cubicBezTo>
                  <a:pt x="939" y="158"/>
                  <a:pt x="940" y="152"/>
                  <a:pt x="939" y="153"/>
                </a:cubicBezTo>
                <a:cubicBezTo>
                  <a:pt x="938" y="153"/>
                  <a:pt x="937" y="154"/>
                  <a:pt x="937" y="154"/>
                </a:cubicBezTo>
                <a:cubicBezTo>
                  <a:pt x="937" y="153"/>
                  <a:pt x="938" y="152"/>
                  <a:pt x="937" y="151"/>
                </a:cubicBezTo>
                <a:cubicBezTo>
                  <a:pt x="937" y="150"/>
                  <a:pt x="937" y="150"/>
                  <a:pt x="936" y="150"/>
                </a:cubicBezTo>
                <a:cubicBezTo>
                  <a:pt x="936" y="150"/>
                  <a:pt x="935" y="152"/>
                  <a:pt x="935" y="152"/>
                </a:cubicBezTo>
                <a:cubicBezTo>
                  <a:pt x="934" y="151"/>
                  <a:pt x="933" y="150"/>
                  <a:pt x="933" y="149"/>
                </a:cubicBezTo>
                <a:cubicBezTo>
                  <a:pt x="935" y="146"/>
                  <a:pt x="935" y="147"/>
                  <a:pt x="934" y="143"/>
                </a:cubicBezTo>
                <a:cubicBezTo>
                  <a:pt x="934" y="143"/>
                  <a:pt x="935" y="142"/>
                  <a:pt x="936" y="142"/>
                </a:cubicBezTo>
                <a:cubicBezTo>
                  <a:pt x="936" y="142"/>
                  <a:pt x="937" y="141"/>
                  <a:pt x="938" y="141"/>
                </a:cubicBezTo>
                <a:cubicBezTo>
                  <a:pt x="939" y="141"/>
                  <a:pt x="940" y="140"/>
                  <a:pt x="940" y="140"/>
                </a:cubicBezTo>
                <a:cubicBezTo>
                  <a:pt x="941" y="138"/>
                  <a:pt x="938" y="138"/>
                  <a:pt x="937" y="138"/>
                </a:cubicBezTo>
                <a:cubicBezTo>
                  <a:pt x="937" y="136"/>
                  <a:pt x="937" y="136"/>
                  <a:pt x="937" y="136"/>
                </a:cubicBezTo>
                <a:cubicBezTo>
                  <a:pt x="937" y="135"/>
                  <a:pt x="940" y="131"/>
                  <a:pt x="941" y="131"/>
                </a:cubicBezTo>
                <a:cubicBezTo>
                  <a:pt x="941" y="131"/>
                  <a:pt x="942" y="131"/>
                  <a:pt x="944" y="129"/>
                </a:cubicBezTo>
                <a:cubicBezTo>
                  <a:pt x="947" y="127"/>
                  <a:pt x="947" y="127"/>
                  <a:pt x="947" y="126"/>
                </a:cubicBezTo>
                <a:cubicBezTo>
                  <a:pt x="946" y="123"/>
                  <a:pt x="949" y="124"/>
                  <a:pt x="952" y="124"/>
                </a:cubicBezTo>
                <a:cubicBezTo>
                  <a:pt x="952" y="124"/>
                  <a:pt x="952" y="123"/>
                  <a:pt x="953" y="123"/>
                </a:cubicBezTo>
                <a:cubicBezTo>
                  <a:pt x="958" y="122"/>
                  <a:pt x="955" y="121"/>
                  <a:pt x="960" y="122"/>
                </a:cubicBezTo>
                <a:cubicBezTo>
                  <a:pt x="960" y="123"/>
                  <a:pt x="960" y="123"/>
                  <a:pt x="960" y="124"/>
                </a:cubicBezTo>
                <a:cubicBezTo>
                  <a:pt x="960" y="124"/>
                  <a:pt x="958" y="125"/>
                  <a:pt x="957" y="125"/>
                </a:cubicBezTo>
                <a:cubicBezTo>
                  <a:pt x="957" y="125"/>
                  <a:pt x="956" y="125"/>
                  <a:pt x="955" y="125"/>
                </a:cubicBezTo>
                <a:cubicBezTo>
                  <a:pt x="954" y="125"/>
                  <a:pt x="953" y="126"/>
                  <a:pt x="954" y="126"/>
                </a:cubicBezTo>
                <a:cubicBezTo>
                  <a:pt x="954" y="126"/>
                  <a:pt x="954" y="126"/>
                  <a:pt x="956" y="127"/>
                </a:cubicBezTo>
                <a:cubicBezTo>
                  <a:pt x="958" y="127"/>
                  <a:pt x="959" y="127"/>
                  <a:pt x="959" y="126"/>
                </a:cubicBezTo>
                <a:cubicBezTo>
                  <a:pt x="961" y="125"/>
                  <a:pt x="960" y="123"/>
                  <a:pt x="961" y="122"/>
                </a:cubicBezTo>
                <a:cubicBezTo>
                  <a:pt x="964" y="121"/>
                  <a:pt x="964" y="123"/>
                  <a:pt x="965" y="120"/>
                </a:cubicBezTo>
                <a:cubicBezTo>
                  <a:pt x="965" y="119"/>
                  <a:pt x="965" y="119"/>
                  <a:pt x="967" y="118"/>
                </a:cubicBezTo>
                <a:cubicBezTo>
                  <a:pt x="970" y="115"/>
                  <a:pt x="970" y="116"/>
                  <a:pt x="969" y="114"/>
                </a:cubicBezTo>
                <a:cubicBezTo>
                  <a:pt x="969" y="113"/>
                  <a:pt x="967" y="112"/>
                  <a:pt x="969" y="111"/>
                </a:cubicBezTo>
                <a:cubicBezTo>
                  <a:pt x="971" y="110"/>
                  <a:pt x="974" y="112"/>
                  <a:pt x="974" y="111"/>
                </a:cubicBezTo>
                <a:cubicBezTo>
                  <a:pt x="974" y="111"/>
                  <a:pt x="974" y="110"/>
                  <a:pt x="974" y="110"/>
                </a:cubicBezTo>
                <a:cubicBezTo>
                  <a:pt x="974" y="110"/>
                  <a:pt x="974" y="109"/>
                  <a:pt x="973" y="109"/>
                </a:cubicBezTo>
                <a:cubicBezTo>
                  <a:pt x="973" y="109"/>
                  <a:pt x="971" y="109"/>
                  <a:pt x="970" y="109"/>
                </a:cubicBezTo>
                <a:cubicBezTo>
                  <a:pt x="969" y="109"/>
                  <a:pt x="967" y="109"/>
                  <a:pt x="967" y="109"/>
                </a:cubicBezTo>
                <a:cubicBezTo>
                  <a:pt x="961" y="109"/>
                  <a:pt x="960" y="106"/>
                  <a:pt x="958" y="106"/>
                </a:cubicBezTo>
                <a:cubicBezTo>
                  <a:pt x="957" y="106"/>
                  <a:pt x="954" y="105"/>
                  <a:pt x="954" y="105"/>
                </a:cubicBezTo>
                <a:cubicBezTo>
                  <a:pt x="954" y="105"/>
                  <a:pt x="951" y="104"/>
                  <a:pt x="951" y="103"/>
                </a:cubicBezTo>
                <a:cubicBezTo>
                  <a:pt x="951" y="103"/>
                  <a:pt x="951" y="101"/>
                  <a:pt x="953" y="101"/>
                </a:cubicBezTo>
                <a:cubicBezTo>
                  <a:pt x="956" y="101"/>
                  <a:pt x="957" y="101"/>
                  <a:pt x="958" y="101"/>
                </a:cubicBezTo>
                <a:cubicBezTo>
                  <a:pt x="959" y="101"/>
                  <a:pt x="959" y="102"/>
                  <a:pt x="961" y="102"/>
                </a:cubicBezTo>
                <a:cubicBezTo>
                  <a:pt x="962" y="102"/>
                  <a:pt x="963" y="101"/>
                  <a:pt x="964" y="102"/>
                </a:cubicBezTo>
                <a:cubicBezTo>
                  <a:pt x="965" y="102"/>
                  <a:pt x="966" y="103"/>
                  <a:pt x="968" y="104"/>
                </a:cubicBezTo>
                <a:cubicBezTo>
                  <a:pt x="970" y="104"/>
                  <a:pt x="972" y="105"/>
                  <a:pt x="972" y="105"/>
                </a:cubicBezTo>
                <a:cubicBezTo>
                  <a:pt x="973" y="105"/>
                  <a:pt x="976" y="107"/>
                  <a:pt x="974" y="104"/>
                </a:cubicBezTo>
                <a:cubicBezTo>
                  <a:pt x="973" y="101"/>
                  <a:pt x="974" y="101"/>
                  <a:pt x="973" y="101"/>
                </a:cubicBezTo>
                <a:cubicBezTo>
                  <a:pt x="971" y="100"/>
                  <a:pt x="971" y="99"/>
                  <a:pt x="970" y="99"/>
                </a:cubicBezTo>
                <a:cubicBezTo>
                  <a:pt x="968" y="98"/>
                  <a:pt x="969" y="97"/>
                  <a:pt x="968" y="98"/>
                </a:cubicBezTo>
                <a:cubicBezTo>
                  <a:pt x="967" y="98"/>
                  <a:pt x="967" y="98"/>
                  <a:pt x="966" y="98"/>
                </a:cubicBezTo>
                <a:cubicBezTo>
                  <a:pt x="965" y="98"/>
                  <a:pt x="963" y="97"/>
                  <a:pt x="965" y="96"/>
                </a:cubicBezTo>
                <a:cubicBezTo>
                  <a:pt x="967" y="95"/>
                  <a:pt x="967" y="95"/>
                  <a:pt x="967" y="95"/>
                </a:cubicBezTo>
                <a:cubicBezTo>
                  <a:pt x="967" y="95"/>
                  <a:pt x="967" y="94"/>
                  <a:pt x="966" y="94"/>
                </a:cubicBezTo>
                <a:cubicBezTo>
                  <a:pt x="965" y="95"/>
                  <a:pt x="965" y="95"/>
                  <a:pt x="964" y="95"/>
                </a:cubicBezTo>
                <a:cubicBezTo>
                  <a:pt x="963" y="95"/>
                  <a:pt x="962" y="94"/>
                  <a:pt x="962" y="94"/>
                </a:cubicBezTo>
                <a:cubicBezTo>
                  <a:pt x="962" y="94"/>
                  <a:pt x="962" y="93"/>
                  <a:pt x="961" y="94"/>
                </a:cubicBezTo>
                <a:cubicBezTo>
                  <a:pt x="960" y="95"/>
                  <a:pt x="959" y="96"/>
                  <a:pt x="958" y="96"/>
                </a:cubicBezTo>
                <a:cubicBezTo>
                  <a:pt x="956" y="97"/>
                  <a:pt x="954" y="96"/>
                  <a:pt x="952" y="96"/>
                </a:cubicBezTo>
                <a:cubicBezTo>
                  <a:pt x="950" y="96"/>
                  <a:pt x="948" y="96"/>
                  <a:pt x="948" y="95"/>
                </a:cubicBezTo>
                <a:cubicBezTo>
                  <a:pt x="948" y="94"/>
                  <a:pt x="948" y="93"/>
                  <a:pt x="949" y="93"/>
                </a:cubicBezTo>
                <a:cubicBezTo>
                  <a:pt x="949" y="92"/>
                  <a:pt x="950" y="92"/>
                  <a:pt x="951" y="91"/>
                </a:cubicBezTo>
                <a:cubicBezTo>
                  <a:pt x="954" y="88"/>
                  <a:pt x="953" y="89"/>
                  <a:pt x="958" y="88"/>
                </a:cubicBezTo>
                <a:cubicBezTo>
                  <a:pt x="957" y="88"/>
                  <a:pt x="956" y="87"/>
                  <a:pt x="955" y="87"/>
                </a:cubicBezTo>
                <a:cubicBezTo>
                  <a:pt x="955" y="87"/>
                  <a:pt x="954" y="86"/>
                  <a:pt x="955" y="85"/>
                </a:cubicBezTo>
                <a:cubicBezTo>
                  <a:pt x="960" y="85"/>
                  <a:pt x="960" y="85"/>
                  <a:pt x="960" y="85"/>
                </a:cubicBezTo>
                <a:cubicBezTo>
                  <a:pt x="961" y="82"/>
                  <a:pt x="960" y="82"/>
                  <a:pt x="957" y="82"/>
                </a:cubicBezTo>
                <a:cubicBezTo>
                  <a:pt x="959" y="78"/>
                  <a:pt x="960" y="79"/>
                  <a:pt x="960" y="78"/>
                </a:cubicBezTo>
                <a:cubicBezTo>
                  <a:pt x="960" y="78"/>
                  <a:pt x="960" y="77"/>
                  <a:pt x="960" y="77"/>
                </a:cubicBezTo>
                <a:cubicBezTo>
                  <a:pt x="959" y="76"/>
                  <a:pt x="958" y="76"/>
                  <a:pt x="958" y="76"/>
                </a:cubicBezTo>
                <a:cubicBezTo>
                  <a:pt x="958" y="76"/>
                  <a:pt x="958" y="77"/>
                  <a:pt x="958" y="76"/>
                </a:cubicBezTo>
                <a:cubicBezTo>
                  <a:pt x="958" y="74"/>
                  <a:pt x="959" y="74"/>
                  <a:pt x="960" y="74"/>
                </a:cubicBezTo>
                <a:cubicBezTo>
                  <a:pt x="959" y="73"/>
                  <a:pt x="957" y="72"/>
                  <a:pt x="956" y="72"/>
                </a:cubicBezTo>
                <a:cubicBezTo>
                  <a:pt x="953" y="72"/>
                  <a:pt x="951" y="73"/>
                  <a:pt x="951" y="72"/>
                </a:cubicBezTo>
                <a:cubicBezTo>
                  <a:pt x="953" y="71"/>
                  <a:pt x="952" y="71"/>
                  <a:pt x="956" y="71"/>
                </a:cubicBezTo>
                <a:cubicBezTo>
                  <a:pt x="958" y="71"/>
                  <a:pt x="957" y="70"/>
                  <a:pt x="958" y="70"/>
                </a:cubicBezTo>
                <a:cubicBezTo>
                  <a:pt x="959" y="69"/>
                  <a:pt x="960" y="69"/>
                  <a:pt x="959" y="68"/>
                </a:cubicBezTo>
                <a:cubicBezTo>
                  <a:pt x="958" y="65"/>
                  <a:pt x="956" y="68"/>
                  <a:pt x="957" y="65"/>
                </a:cubicBezTo>
                <a:cubicBezTo>
                  <a:pt x="956" y="65"/>
                  <a:pt x="955" y="64"/>
                  <a:pt x="953" y="64"/>
                </a:cubicBezTo>
                <a:cubicBezTo>
                  <a:pt x="953" y="65"/>
                  <a:pt x="952" y="62"/>
                  <a:pt x="952" y="62"/>
                </a:cubicBezTo>
                <a:cubicBezTo>
                  <a:pt x="952" y="62"/>
                  <a:pt x="951" y="62"/>
                  <a:pt x="951" y="62"/>
                </a:cubicBezTo>
                <a:cubicBezTo>
                  <a:pt x="952" y="61"/>
                  <a:pt x="953" y="61"/>
                  <a:pt x="953" y="60"/>
                </a:cubicBezTo>
                <a:cubicBezTo>
                  <a:pt x="953" y="60"/>
                  <a:pt x="954" y="59"/>
                  <a:pt x="954" y="59"/>
                </a:cubicBezTo>
                <a:cubicBezTo>
                  <a:pt x="954" y="59"/>
                  <a:pt x="951" y="58"/>
                  <a:pt x="951" y="58"/>
                </a:cubicBezTo>
                <a:cubicBezTo>
                  <a:pt x="950" y="58"/>
                  <a:pt x="947" y="57"/>
                  <a:pt x="947" y="57"/>
                </a:cubicBezTo>
                <a:cubicBezTo>
                  <a:pt x="947" y="57"/>
                  <a:pt x="946" y="58"/>
                  <a:pt x="946" y="57"/>
                </a:cubicBezTo>
                <a:cubicBezTo>
                  <a:pt x="944" y="56"/>
                  <a:pt x="945" y="55"/>
                  <a:pt x="942" y="55"/>
                </a:cubicBezTo>
                <a:cubicBezTo>
                  <a:pt x="941" y="55"/>
                  <a:pt x="940" y="54"/>
                  <a:pt x="939" y="54"/>
                </a:cubicBezTo>
                <a:cubicBezTo>
                  <a:pt x="938" y="54"/>
                  <a:pt x="935" y="54"/>
                  <a:pt x="935" y="54"/>
                </a:cubicBezTo>
                <a:cubicBezTo>
                  <a:pt x="935" y="54"/>
                  <a:pt x="930" y="53"/>
                  <a:pt x="930" y="53"/>
                </a:cubicBezTo>
                <a:cubicBezTo>
                  <a:pt x="929" y="54"/>
                  <a:pt x="921" y="55"/>
                  <a:pt x="920" y="55"/>
                </a:cubicBezTo>
                <a:cubicBezTo>
                  <a:pt x="920" y="55"/>
                  <a:pt x="919" y="54"/>
                  <a:pt x="919" y="54"/>
                </a:cubicBezTo>
                <a:cubicBezTo>
                  <a:pt x="915" y="55"/>
                  <a:pt x="917" y="55"/>
                  <a:pt x="910" y="55"/>
                </a:cubicBezTo>
                <a:cubicBezTo>
                  <a:pt x="910" y="55"/>
                  <a:pt x="910" y="55"/>
                  <a:pt x="910" y="54"/>
                </a:cubicBezTo>
                <a:cubicBezTo>
                  <a:pt x="909" y="54"/>
                  <a:pt x="907" y="55"/>
                  <a:pt x="906" y="55"/>
                </a:cubicBezTo>
                <a:cubicBezTo>
                  <a:pt x="905" y="55"/>
                  <a:pt x="905" y="54"/>
                  <a:pt x="904" y="54"/>
                </a:cubicBezTo>
                <a:cubicBezTo>
                  <a:pt x="902" y="54"/>
                  <a:pt x="902" y="54"/>
                  <a:pt x="902" y="56"/>
                </a:cubicBezTo>
                <a:cubicBezTo>
                  <a:pt x="902" y="58"/>
                  <a:pt x="898" y="56"/>
                  <a:pt x="897" y="56"/>
                </a:cubicBezTo>
                <a:cubicBezTo>
                  <a:pt x="896" y="56"/>
                  <a:pt x="894" y="56"/>
                  <a:pt x="893" y="56"/>
                </a:cubicBezTo>
                <a:cubicBezTo>
                  <a:pt x="893" y="56"/>
                  <a:pt x="892" y="55"/>
                  <a:pt x="891" y="55"/>
                </a:cubicBezTo>
                <a:cubicBezTo>
                  <a:pt x="891" y="55"/>
                  <a:pt x="888" y="54"/>
                  <a:pt x="888" y="54"/>
                </a:cubicBezTo>
                <a:cubicBezTo>
                  <a:pt x="889" y="49"/>
                  <a:pt x="889" y="53"/>
                  <a:pt x="895" y="51"/>
                </a:cubicBezTo>
                <a:cubicBezTo>
                  <a:pt x="894" y="51"/>
                  <a:pt x="893" y="50"/>
                  <a:pt x="892" y="50"/>
                </a:cubicBezTo>
                <a:cubicBezTo>
                  <a:pt x="891" y="50"/>
                  <a:pt x="890" y="51"/>
                  <a:pt x="889" y="50"/>
                </a:cubicBezTo>
                <a:cubicBezTo>
                  <a:pt x="888" y="50"/>
                  <a:pt x="888" y="49"/>
                  <a:pt x="888" y="49"/>
                </a:cubicBezTo>
                <a:cubicBezTo>
                  <a:pt x="882" y="50"/>
                  <a:pt x="882" y="50"/>
                  <a:pt x="882" y="50"/>
                </a:cubicBezTo>
                <a:cubicBezTo>
                  <a:pt x="882" y="50"/>
                  <a:pt x="881" y="49"/>
                  <a:pt x="882" y="48"/>
                </a:cubicBezTo>
                <a:cubicBezTo>
                  <a:pt x="883" y="47"/>
                  <a:pt x="887" y="46"/>
                  <a:pt x="887" y="46"/>
                </a:cubicBezTo>
                <a:cubicBezTo>
                  <a:pt x="889" y="46"/>
                  <a:pt x="891" y="45"/>
                  <a:pt x="893" y="45"/>
                </a:cubicBezTo>
                <a:cubicBezTo>
                  <a:pt x="895" y="45"/>
                  <a:pt x="896" y="45"/>
                  <a:pt x="897" y="45"/>
                </a:cubicBezTo>
                <a:cubicBezTo>
                  <a:pt x="899" y="45"/>
                  <a:pt x="906" y="43"/>
                  <a:pt x="908" y="44"/>
                </a:cubicBezTo>
                <a:cubicBezTo>
                  <a:pt x="910" y="45"/>
                  <a:pt x="911" y="44"/>
                  <a:pt x="913" y="45"/>
                </a:cubicBezTo>
                <a:cubicBezTo>
                  <a:pt x="915" y="46"/>
                  <a:pt x="916" y="44"/>
                  <a:pt x="918" y="44"/>
                </a:cubicBezTo>
                <a:cubicBezTo>
                  <a:pt x="918" y="44"/>
                  <a:pt x="919" y="42"/>
                  <a:pt x="918" y="42"/>
                </a:cubicBezTo>
                <a:cubicBezTo>
                  <a:pt x="916" y="41"/>
                  <a:pt x="916" y="41"/>
                  <a:pt x="912" y="42"/>
                </a:cubicBezTo>
                <a:cubicBezTo>
                  <a:pt x="909" y="43"/>
                  <a:pt x="909" y="42"/>
                  <a:pt x="906" y="43"/>
                </a:cubicBezTo>
                <a:cubicBezTo>
                  <a:pt x="905" y="43"/>
                  <a:pt x="901" y="44"/>
                  <a:pt x="901" y="44"/>
                </a:cubicBezTo>
                <a:cubicBezTo>
                  <a:pt x="897" y="44"/>
                  <a:pt x="891" y="41"/>
                  <a:pt x="887" y="41"/>
                </a:cubicBezTo>
                <a:cubicBezTo>
                  <a:pt x="886" y="41"/>
                  <a:pt x="883" y="41"/>
                  <a:pt x="883" y="40"/>
                </a:cubicBezTo>
                <a:cubicBezTo>
                  <a:pt x="882" y="40"/>
                  <a:pt x="880" y="39"/>
                  <a:pt x="880" y="39"/>
                </a:cubicBezTo>
                <a:cubicBezTo>
                  <a:pt x="880" y="38"/>
                  <a:pt x="884" y="36"/>
                  <a:pt x="885" y="36"/>
                </a:cubicBezTo>
                <a:cubicBezTo>
                  <a:pt x="885" y="36"/>
                  <a:pt x="895" y="34"/>
                  <a:pt x="896" y="34"/>
                </a:cubicBezTo>
                <a:cubicBezTo>
                  <a:pt x="898" y="34"/>
                  <a:pt x="905" y="32"/>
                  <a:pt x="906" y="32"/>
                </a:cubicBezTo>
                <a:cubicBezTo>
                  <a:pt x="907" y="32"/>
                  <a:pt x="909" y="33"/>
                  <a:pt x="911" y="32"/>
                </a:cubicBezTo>
                <a:cubicBezTo>
                  <a:pt x="913" y="31"/>
                  <a:pt x="914" y="30"/>
                  <a:pt x="915" y="30"/>
                </a:cubicBezTo>
                <a:cubicBezTo>
                  <a:pt x="916" y="30"/>
                  <a:pt x="918" y="30"/>
                  <a:pt x="919" y="30"/>
                </a:cubicBezTo>
                <a:cubicBezTo>
                  <a:pt x="920" y="30"/>
                  <a:pt x="932" y="31"/>
                  <a:pt x="932" y="31"/>
                </a:cubicBezTo>
                <a:cubicBezTo>
                  <a:pt x="932" y="31"/>
                  <a:pt x="933" y="30"/>
                  <a:pt x="933" y="30"/>
                </a:cubicBezTo>
                <a:cubicBezTo>
                  <a:pt x="934" y="30"/>
                  <a:pt x="943" y="27"/>
                  <a:pt x="943" y="26"/>
                </a:cubicBezTo>
                <a:cubicBezTo>
                  <a:pt x="944" y="24"/>
                  <a:pt x="943" y="24"/>
                  <a:pt x="944" y="24"/>
                </a:cubicBezTo>
                <a:cubicBezTo>
                  <a:pt x="944" y="23"/>
                  <a:pt x="939" y="24"/>
                  <a:pt x="938" y="24"/>
                </a:cubicBezTo>
                <a:cubicBezTo>
                  <a:pt x="938" y="24"/>
                  <a:pt x="931" y="22"/>
                  <a:pt x="932" y="21"/>
                </a:cubicBezTo>
                <a:cubicBezTo>
                  <a:pt x="933" y="21"/>
                  <a:pt x="935" y="20"/>
                  <a:pt x="936" y="20"/>
                </a:cubicBezTo>
                <a:cubicBezTo>
                  <a:pt x="936" y="20"/>
                  <a:pt x="940" y="19"/>
                  <a:pt x="941" y="19"/>
                </a:cubicBezTo>
                <a:cubicBezTo>
                  <a:pt x="945" y="19"/>
                  <a:pt x="961" y="15"/>
                  <a:pt x="964" y="15"/>
                </a:cubicBezTo>
                <a:cubicBezTo>
                  <a:pt x="965" y="15"/>
                  <a:pt x="967" y="14"/>
                  <a:pt x="967" y="14"/>
                </a:cubicBezTo>
                <a:cubicBezTo>
                  <a:pt x="968" y="14"/>
                  <a:pt x="972" y="14"/>
                  <a:pt x="972" y="14"/>
                </a:cubicBezTo>
                <a:cubicBezTo>
                  <a:pt x="972" y="15"/>
                  <a:pt x="978" y="16"/>
                  <a:pt x="978" y="15"/>
                </a:cubicBezTo>
                <a:cubicBezTo>
                  <a:pt x="978" y="15"/>
                  <a:pt x="978" y="13"/>
                  <a:pt x="978" y="13"/>
                </a:cubicBezTo>
                <a:cubicBezTo>
                  <a:pt x="980" y="12"/>
                  <a:pt x="980" y="14"/>
                  <a:pt x="980" y="10"/>
                </a:cubicBezTo>
                <a:cubicBezTo>
                  <a:pt x="982" y="9"/>
                  <a:pt x="989" y="9"/>
                  <a:pt x="991" y="8"/>
                </a:cubicBezTo>
                <a:cubicBezTo>
                  <a:pt x="994" y="8"/>
                  <a:pt x="994" y="8"/>
                  <a:pt x="994" y="8"/>
                </a:cubicBezTo>
                <a:cubicBezTo>
                  <a:pt x="997" y="8"/>
                  <a:pt x="997" y="8"/>
                  <a:pt x="997" y="8"/>
                </a:cubicBezTo>
                <a:cubicBezTo>
                  <a:pt x="1007" y="7"/>
                  <a:pt x="1007" y="7"/>
                  <a:pt x="1007" y="7"/>
                </a:cubicBezTo>
                <a:cubicBezTo>
                  <a:pt x="1008" y="7"/>
                  <a:pt x="1008" y="7"/>
                  <a:pt x="1008" y="7"/>
                </a:cubicBezTo>
                <a:cubicBezTo>
                  <a:pt x="1025" y="6"/>
                  <a:pt x="1025" y="6"/>
                  <a:pt x="1025" y="6"/>
                </a:cubicBezTo>
                <a:cubicBezTo>
                  <a:pt x="1027" y="7"/>
                  <a:pt x="1027" y="7"/>
                  <a:pt x="1027" y="7"/>
                </a:cubicBezTo>
                <a:cubicBezTo>
                  <a:pt x="1026" y="9"/>
                  <a:pt x="1026" y="9"/>
                  <a:pt x="1026" y="9"/>
                </a:cubicBezTo>
                <a:cubicBezTo>
                  <a:pt x="1024" y="10"/>
                  <a:pt x="1024" y="10"/>
                  <a:pt x="1024" y="10"/>
                </a:cubicBezTo>
                <a:cubicBezTo>
                  <a:pt x="1024" y="10"/>
                  <a:pt x="1022" y="11"/>
                  <a:pt x="1023" y="11"/>
                </a:cubicBezTo>
                <a:cubicBezTo>
                  <a:pt x="1024" y="12"/>
                  <a:pt x="1023" y="12"/>
                  <a:pt x="1024" y="12"/>
                </a:cubicBezTo>
                <a:cubicBezTo>
                  <a:pt x="1025" y="11"/>
                  <a:pt x="1026" y="10"/>
                  <a:pt x="1026" y="10"/>
                </a:cubicBezTo>
                <a:cubicBezTo>
                  <a:pt x="1026" y="10"/>
                  <a:pt x="1027" y="11"/>
                  <a:pt x="1028" y="10"/>
                </a:cubicBezTo>
                <a:cubicBezTo>
                  <a:pt x="1030" y="10"/>
                  <a:pt x="1030" y="11"/>
                  <a:pt x="1030" y="7"/>
                </a:cubicBezTo>
                <a:cubicBezTo>
                  <a:pt x="1031" y="6"/>
                  <a:pt x="1031" y="6"/>
                  <a:pt x="1031" y="6"/>
                </a:cubicBezTo>
                <a:cubicBezTo>
                  <a:pt x="1033" y="7"/>
                  <a:pt x="1041" y="9"/>
                  <a:pt x="1045" y="9"/>
                </a:cubicBezTo>
                <a:cubicBezTo>
                  <a:pt x="1046" y="9"/>
                  <a:pt x="1048" y="10"/>
                  <a:pt x="1048" y="9"/>
                </a:cubicBezTo>
                <a:cubicBezTo>
                  <a:pt x="1047" y="9"/>
                  <a:pt x="1044" y="6"/>
                  <a:pt x="1044" y="6"/>
                </a:cubicBezTo>
                <a:cubicBezTo>
                  <a:pt x="1044" y="6"/>
                  <a:pt x="1044" y="5"/>
                  <a:pt x="1045" y="5"/>
                </a:cubicBezTo>
                <a:cubicBezTo>
                  <a:pt x="1049" y="6"/>
                  <a:pt x="1052" y="5"/>
                  <a:pt x="1054" y="6"/>
                </a:cubicBezTo>
                <a:cubicBezTo>
                  <a:pt x="1055" y="6"/>
                  <a:pt x="1058" y="7"/>
                  <a:pt x="1059" y="7"/>
                </a:cubicBezTo>
                <a:cubicBezTo>
                  <a:pt x="1062" y="7"/>
                  <a:pt x="1075" y="11"/>
                  <a:pt x="1076" y="11"/>
                </a:cubicBezTo>
                <a:cubicBezTo>
                  <a:pt x="1077" y="11"/>
                  <a:pt x="1079" y="11"/>
                  <a:pt x="1079" y="11"/>
                </a:cubicBezTo>
                <a:cubicBezTo>
                  <a:pt x="1079" y="10"/>
                  <a:pt x="1076" y="9"/>
                  <a:pt x="1075" y="9"/>
                </a:cubicBezTo>
                <a:cubicBezTo>
                  <a:pt x="1075" y="9"/>
                  <a:pt x="1076" y="10"/>
                  <a:pt x="1073" y="9"/>
                </a:cubicBezTo>
                <a:cubicBezTo>
                  <a:pt x="1070" y="7"/>
                  <a:pt x="1067" y="6"/>
                  <a:pt x="1067" y="6"/>
                </a:cubicBezTo>
                <a:cubicBezTo>
                  <a:pt x="1067" y="6"/>
                  <a:pt x="1066" y="5"/>
                  <a:pt x="1069" y="5"/>
                </a:cubicBezTo>
                <a:cubicBezTo>
                  <a:pt x="1073" y="5"/>
                  <a:pt x="1073" y="4"/>
                  <a:pt x="1075" y="5"/>
                </a:cubicBezTo>
                <a:cubicBezTo>
                  <a:pt x="1077" y="5"/>
                  <a:pt x="1073" y="3"/>
                  <a:pt x="1072" y="3"/>
                </a:cubicBezTo>
                <a:cubicBezTo>
                  <a:pt x="1072" y="3"/>
                  <a:pt x="1077" y="2"/>
                  <a:pt x="1078" y="2"/>
                </a:cubicBezTo>
                <a:cubicBezTo>
                  <a:pt x="1079" y="2"/>
                  <a:pt x="1082" y="1"/>
                  <a:pt x="1083" y="1"/>
                </a:cubicBezTo>
                <a:cubicBezTo>
                  <a:pt x="1085" y="2"/>
                  <a:pt x="1095" y="4"/>
                  <a:pt x="1095" y="4"/>
                </a:cubicBezTo>
                <a:cubicBezTo>
                  <a:pt x="1096" y="3"/>
                  <a:pt x="1097" y="2"/>
                  <a:pt x="1098" y="1"/>
                </a:cubicBezTo>
                <a:cubicBezTo>
                  <a:pt x="1098" y="1"/>
                  <a:pt x="1102" y="2"/>
                  <a:pt x="1103" y="2"/>
                </a:cubicBezTo>
                <a:cubicBezTo>
                  <a:pt x="1104" y="2"/>
                  <a:pt x="1110" y="4"/>
                  <a:pt x="1111" y="4"/>
                </a:cubicBezTo>
                <a:cubicBezTo>
                  <a:pt x="1113" y="4"/>
                  <a:pt x="1117" y="4"/>
                  <a:pt x="1118" y="3"/>
                </a:cubicBezTo>
                <a:cubicBezTo>
                  <a:pt x="1118" y="2"/>
                  <a:pt x="1119" y="0"/>
                  <a:pt x="1120" y="0"/>
                </a:cubicBezTo>
                <a:cubicBezTo>
                  <a:pt x="1121" y="0"/>
                  <a:pt x="1126" y="0"/>
                  <a:pt x="1128" y="0"/>
                </a:cubicBezTo>
                <a:cubicBezTo>
                  <a:pt x="1130" y="0"/>
                  <a:pt x="1139" y="0"/>
                  <a:pt x="1139" y="0"/>
                </a:cubicBezTo>
                <a:cubicBezTo>
                  <a:pt x="1145" y="0"/>
                  <a:pt x="1150" y="0"/>
                  <a:pt x="1155" y="0"/>
                </a:cubicBezTo>
                <a:cubicBezTo>
                  <a:pt x="1159" y="1"/>
                  <a:pt x="1163" y="0"/>
                  <a:pt x="1167" y="0"/>
                </a:cubicBezTo>
                <a:cubicBezTo>
                  <a:pt x="1172" y="1"/>
                  <a:pt x="1177" y="1"/>
                  <a:pt x="1181" y="1"/>
                </a:cubicBezTo>
                <a:cubicBezTo>
                  <a:pt x="1186" y="1"/>
                  <a:pt x="1190" y="0"/>
                  <a:pt x="1194" y="1"/>
                </a:cubicBezTo>
                <a:cubicBezTo>
                  <a:pt x="1195" y="1"/>
                  <a:pt x="1195" y="2"/>
                  <a:pt x="1196" y="3"/>
                </a:cubicBezTo>
                <a:cubicBezTo>
                  <a:pt x="1197" y="3"/>
                  <a:pt x="1198" y="3"/>
                  <a:pt x="1199" y="3"/>
                </a:cubicBezTo>
                <a:cubicBezTo>
                  <a:pt x="1201" y="3"/>
                  <a:pt x="1202" y="4"/>
                  <a:pt x="1204" y="5"/>
                </a:cubicBezTo>
                <a:cubicBezTo>
                  <a:pt x="1206" y="5"/>
                  <a:pt x="1209" y="6"/>
                  <a:pt x="1211" y="6"/>
                </a:cubicBezTo>
                <a:cubicBezTo>
                  <a:pt x="1213" y="6"/>
                  <a:pt x="1216" y="5"/>
                  <a:pt x="1216" y="6"/>
                </a:cubicBezTo>
                <a:cubicBezTo>
                  <a:pt x="1217" y="8"/>
                  <a:pt x="1213" y="7"/>
                  <a:pt x="1212" y="8"/>
                </a:cubicBezTo>
                <a:cubicBezTo>
                  <a:pt x="1169" y="9"/>
                  <a:pt x="1169" y="9"/>
                  <a:pt x="1169" y="9"/>
                </a:cubicBezTo>
                <a:cubicBezTo>
                  <a:pt x="1165" y="9"/>
                  <a:pt x="1161" y="9"/>
                  <a:pt x="1157" y="10"/>
                </a:cubicBezTo>
                <a:cubicBezTo>
                  <a:pt x="1153" y="11"/>
                  <a:pt x="1150" y="11"/>
                  <a:pt x="1147" y="12"/>
                </a:cubicBezTo>
                <a:cubicBezTo>
                  <a:pt x="1146" y="13"/>
                  <a:pt x="1148" y="14"/>
                  <a:pt x="1149" y="14"/>
                </a:cubicBezTo>
                <a:cubicBezTo>
                  <a:pt x="1151" y="14"/>
                  <a:pt x="1152" y="12"/>
                  <a:pt x="1154" y="11"/>
                </a:cubicBezTo>
                <a:cubicBezTo>
                  <a:pt x="1161" y="10"/>
                  <a:pt x="1173" y="10"/>
                  <a:pt x="1180" y="10"/>
                </a:cubicBezTo>
                <a:cubicBezTo>
                  <a:pt x="1182" y="10"/>
                  <a:pt x="1185" y="10"/>
                  <a:pt x="1188" y="11"/>
                </a:cubicBezTo>
                <a:cubicBezTo>
                  <a:pt x="1189" y="11"/>
                  <a:pt x="1193" y="10"/>
                  <a:pt x="1192" y="11"/>
                </a:cubicBezTo>
                <a:cubicBezTo>
                  <a:pt x="1190" y="12"/>
                  <a:pt x="1187" y="12"/>
                  <a:pt x="1184" y="13"/>
                </a:cubicBezTo>
                <a:cubicBezTo>
                  <a:pt x="1184" y="13"/>
                  <a:pt x="1179" y="13"/>
                  <a:pt x="1179" y="14"/>
                </a:cubicBezTo>
                <a:cubicBezTo>
                  <a:pt x="1179" y="14"/>
                  <a:pt x="1179" y="17"/>
                  <a:pt x="1181" y="16"/>
                </a:cubicBezTo>
                <a:cubicBezTo>
                  <a:pt x="1183" y="16"/>
                  <a:pt x="1185" y="13"/>
                  <a:pt x="1186" y="13"/>
                </a:cubicBezTo>
                <a:cubicBezTo>
                  <a:pt x="1187" y="13"/>
                  <a:pt x="1192" y="12"/>
                  <a:pt x="1193" y="12"/>
                </a:cubicBezTo>
                <a:cubicBezTo>
                  <a:pt x="1194" y="12"/>
                  <a:pt x="1195" y="12"/>
                  <a:pt x="1196" y="12"/>
                </a:cubicBezTo>
                <a:cubicBezTo>
                  <a:pt x="1197" y="12"/>
                  <a:pt x="1199" y="10"/>
                  <a:pt x="1200" y="10"/>
                </a:cubicBezTo>
                <a:cubicBezTo>
                  <a:pt x="1201" y="10"/>
                  <a:pt x="1205" y="11"/>
                  <a:pt x="1205" y="11"/>
                </a:cubicBezTo>
                <a:cubicBezTo>
                  <a:pt x="1206" y="11"/>
                  <a:pt x="1211" y="11"/>
                  <a:pt x="1211" y="11"/>
                </a:cubicBezTo>
                <a:cubicBezTo>
                  <a:pt x="1211" y="11"/>
                  <a:pt x="1211" y="13"/>
                  <a:pt x="1210" y="13"/>
                </a:cubicBezTo>
                <a:cubicBezTo>
                  <a:pt x="1209" y="14"/>
                  <a:pt x="1204" y="17"/>
                  <a:pt x="1203" y="17"/>
                </a:cubicBezTo>
                <a:cubicBezTo>
                  <a:pt x="1199" y="17"/>
                  <a:pt x="1192" y="19"/>
                  <a:pt x="1190" y="20"/>
                </a:cubicBezTo>
                <a:cubicBezTo>
                  <a:pt x="1189" y="21"/>
                  <a:pt x="1192" y="21"/>
                  <a:pt x="1193" y="21"/>
                </a:cubicBezTo>
                <a:cubicBezTo>
                  <a:pt x="1195" y="20"/>
                  <a:pt x="1197" y="19"/>
                  <a:pt x="1199" y="18"/>
                </a:cubicBezTo>
                <a:cubicBezTo>
                  <a:pt x="1199" y="18"/>
                  <a:pt x="1203" y="19"/>
                  <a:pt x="1204" y="18"/>
                </a:cubicBezTo>
                <a:cubicBezTo>
                  <a:pt x="1205" y="18"/>
                  <a:pt x="1206" y="17"/>
                  <a:pt x="1207" y="17"/>
                </a:cubicBezTo>
                <a:cubicBezTo>
                  <a:pt x="1210" y="17"/>
                  <a:pt x="1216" y="14"/>
                  <a:pt x="1217" y="14"/>
                </a:cubicBezTo>
                <a:cubicBezTo>
                  <a:pt x="1218" y="14"/>
                  <a:pt x="1221" y="13"/>
                  <a:pt x="1221" y="13"/>
                </a:cubicBezTo>
                <a:cubicBezTo>
                  <a:pt x="1219" y="15"/>
                  <a:pt x="1221" y="15"/>
                  <a:pt x="1224" y="14"/>
                </a:cubicBezTo>
                <a:cubicBezTo>
                  <a:pt x="1228" y="14"/>
                  <a:pt x="1230" y="14"/>
                  <a:pt x="1233" y="15"/>
                </a:cubicBezTo>
                <a:cubicBezTo>
                  <a:pt x="1234" y="14"/>
                  <a:pt x="1234" y="13"/>
                  <a:pt x="1235" y="13"/>
                </a:cubicBezTo>
                <a:cubicBezTo>
                  <a:pt x="1235" y="13"/>
                  <a:pt x="1238" y="11"/>
                  <a:pt x="1238" y="11"/>
                </a:cubicBezTo>
                <a:cubicBezTo>
                  <a:pt x="1239" y="11"/>
                  <a:pt x="1246" y="11"/>
                  <a:pt x="1246" y="11"/>
                </a:cubicBezTo>
                <a:cubicBezTo>
                  <a:pt x="1250" y="11"/>
                  <a:pt x="1255" y="11"/>
                  <a:pt x="1260" y="11"/>
                </a:cubicBezTo>
                <a:cubicBezTo>
                  <a:pt x="1260" y="11"/>
                  <a:pt x="1264" y="13"/>
                  <a:pt x="1265" y="13"/>
                </a:cubicBezTo>
                <a:cubicBezTo>
                  <a:pt x="1266" y="13"/>
                  <a:pt x="1270" y="14"/>
                  <a:pt x="1270" y="14"/>
                </a:cubicBezTo>
                <a:cubicBezTo>
                  <a:pt x="1270" y="14"/>
                  <a:pt x="1264" y="15"/>
                  <a:pt x="1263" y="15"/>
                </a:cubicBezTo>
                <a:cubicBezTo>
                  <a:pt x="1262" y="15"/>
                  <a:pt x="1256" y="16"/>
                  <a:pt x="1256" y="16"/>
                </a:cubicBezTo>
                <a:cubicBezTo>
                  <a:pt x="1256" y="16"/>
                  <a:pt x="1252" y="16"/>
                  <a:pt x="1252" y="16"/>
                </a:cubicBezTo>
                <a:cubicBezTo>
                  <a:pt x="1252" y="17"/>
                  <a:pt x="1254" y="19"/>
                  <a:pt x="1253" y="19"/>
                </a:cubicBezTo>
                <a:cubicBezTo>
                  <a:pt x="1253" y="19"/>
                  <a:pt x="1251" y="19"/>
                  <a:pt x="1250" y="19"/>
                </a:cubicBezTo>
                <a:cubicBezTo>
                  <a:pt x="1242" y="19"/>
                  <a:pt x="1246" y="19"/>
                  <a:pt x="1241" y="20"/>
                </a:cubicBezTo>
                <a:cubicBezTo>
                  <a:pt x="1240" y="20"/>
                  <a:pt x="1233" y="19"/>
                  <a:pt x="1233" y="19"/>
                </a:cubicBezTo>
                <a:cubicBezTo>
                  <a:pt x="1232" y="20"/>
                  <a:pt x="1230" y="20"/>
                  <a:pt x="1229" y="20"/>
                </a:cubicBezTo>
                <a:cubicBezTo>
                  <a:pt x="1224" y="21"/>
                  <a:pt x="1219" y="21"/>
                  <a:pt x="1214" y="21"/>
                </a:cubicBezTo>
                <a:cubicBezTo>
                  <a:pt x="1213" y="21"/>
                  <a:pt x="1216" y="21"/>
                  <a:pt x="1217" y="21"/>
                </a:cubicBezTo>
                <a:cubicBezTo>
                  <a:pt x="1219" y="21"/>
                  <a:pt x="1222" y="21"/>
                  <a:pt x="1224" y="21"/>
                </a:cubicBezTo>
                <a:cubicBezTo>
                  <a:pt x="1226" y="21"/>
                  <a:pt x="1227" y="21"/>
                  <a:pt x="1229" y="21"/>
                </a:cubicBezTo>
                <a:cubicBezTo>
                  <a:pt x="1230" y="21"/>
                  <a:pt x="1232" y="21"/>
                  <a:pt x="1233" y="21"/>
                </a:cubicBezTo>
                <a:cubicBezTo>
                  <a:pt x="1235" y="20"/>
                  <a:pt x="1239" y="21"/>
                  <a:pt x="1240" y="21"/>
                </a:cubicBezTo>
                <a:cubicBezTo>
                  <a:pt x="1240" y="21"/>
                  <a:pt x="1243" y="21"/>
                  <a:pt x="1243" y="21"/>
                </a:cubicBezTo>
                <a:cubicBezTo>
                  <a:pt x="1243" y="21"/>
                  <a:pt x="1239" y="23"/>
                  <a:pt x="1239" y="23"/>
                </a:cubicBezTo>
                <a:cubicBezTo>
                  <a:pt x="1238" y="24"/>
                  <a:pt x="1230" y="23"/>
                  <a:pt x="1228" y="23"/>
                </a:cubicBezTo>
                <a:cubicBezTo>
                  <a:pt x="1223" y="24"/>
                  <a:pt x="1221" y="22"/>
                  <a:pt x="1220" y="22"/>
                </a:cubicBezTo>
                <a:cubicBezTo>
                  <a:pt x="1219" y="23"/>
                  <a:pt x="1216" y="24"/>
                  <a:pt x="1215" y="25"/>
                </a:cubicBezTo>
                <a:cubicBezTo>
                  <a:pt x="1215" y="25"/>
                  <a:pt x="1213" y="26"/>
                  <a:pt x="1214" y="26"/>
                </a:cubicBezTo>
                <a:cubicBezTo>
                  <a:pt x="1215" y="26"/>
                  <a:pt x="1216" y="26"/>
                  <a:pt x="1217" y="25"/>
                </a:cubicBezTo>
                <a:cubicBezTo>
                  <a:pt x="1220" y="22"/>
                  <a:pt x="1221" y="23"/>
                  <a:pt x="1223" y="24"/>
                </a:cubicBezTo>
                <a:cubicBezTo>
                  <a:pt x="1222" y="25"/>
                  <a:pt x="1228" y="23"/>
                  <a:pt x="1229" y="23"/>
                </a:cubicBezTo>
                <a:cubicBezTo>
                  <a:pt x="1231" y="23"/>
                  <a:pt x="1231" y="23"/>
                  <a:pt x="1232" y="25"/>
                </a:cubicBezTo>
                <a:cubicBezTo>
                  <a:pt x="1230" y="27"/>
                  <a:pt x="1230" y="26"/>
                  <a:pt x="1226" y="26"/>
                </a:cubicBezTo>
                <a:cubicBezTo>
                  <a:pt x="1226" y="26"/>
                  <a:pt x="1223" y="26"/>
                  <a:pt x="1223" y="26"/>
                </a:cubicBezTo>
                <a:cubicBezTo>
                  <a:pt x="1220" y="26"/>
                  <a:pt x="1221" y="27"/>
                  <a:pt x="1220" y="28"/>
                </a:cubicBezTo>
                <a:cubicBezTo>
                  <a:pt x="1219" y="29"/>
                  <a:pt x="1217" y="29"/>
                  <a:pt x="1217" y="30"/>
                </a:cubicBezTo>
                <a:cubicBezTo>
                  <a:pt x="1218" y="31"/>
                  <a:pt x="1220" y="30"/>
                  <a:pt x="1221" y="30"/>
                </a:cubicBezTo>
                <a:cubicBezTo>
                  <a:pt x="1221" y="30"/>
                  <a:pt x="1220" y="31"/>
                  <a:pt x="1220" y="32"/>
                </a:cubicBezTo>
                <a:cubicBezTo>
                  <a:pt x="1219" y="32"/>
                  <a:pt x="1216" y="32"/>
                  <a:pt x="1216" y="32"/>
                </a:cubicBezTo>
                <a:cubicBezTo>
                  <a:pt x="1213" y="35"/>
                  <a:pt x="1215" y="34"/>
                  <a:pt x="1208" y="34"/>
                </a:cubicBezTo>
                <a:cubicBezTo>
                  <a:pt x="1207" y="35"/>
                  <a:pt x="1207" y="35"/>
                  <a:pt x="1207" y="36"/>
                </a:cubicBezTo>
                <a:cubicBezTo>
                  <a:pt x="1206" y="37"/>
                  <a:pt x="1202" y="39"/>
                  <a:pt x="1200" y="41"/>
                </a:cubicBezTo>
                <a:cubicBezTo>
                  <a:pt x="1200" y="41"/>
                  <a:pt x="1199" y="41"/>
                  <a:pt x="1199" y="42"/>
                </a:cubicBezTo>
                <a:cubicBezTo>
                  <a:pt x="1199" y="43"/>
                  <a:pt x="1201" y="44"/>
                  <a:pt x="1201" y="44"/>
                </a:cubicBezTo>
                <a:cubicBezTo>
                  <a:pt x="1201" y="43"/>
                  <a:pt x="1202" y="43"/>
                  <a:pt x="1202" y="42"/>
                </a:cubicBezTo>
                <a:cubicBezTo>
                  <a:pt x="1203" y="42"/>
                  <a:pt x="1206" y="40"/>
                  <a:pt x="1207" y="40"/>
                </a:cubicBezTo>
                <a:cubicBezTo>
                  <a:pt x="1210" y="40"/>
                  <a:pt x="1212" y="41"/>
                  <a:pt x="1213" y="41"/>
                </a:cubicBezTo>
                <a:cubicBezTo>
                  <a:pt x="1215" y="42"/>
                  <a:pt x="1215" y="40"/>
                  <a:pt x="1217" y="42"/>
                </a:cubicBezTo>
                <a:cubicBezTo>
                  <a:pt x="1217" y="43"/>
                  <a:pt x="1216" y="43"/>
                  <a:pt x="1216" y="44"/>
                </a:cubicBezTo>
                <a:cubicBezTo>
                  <a:pt x="1212" y="45"/>
                  <a:pt x="1211" y="43"/>
                  <a:pt x="1209" y="42"/>
                </a:cubicBezTo>
                <a:cubicBezTo>
                  <a:pt x="1209" y="42"/>
                  <a:pt x="1207" y="43"/>
                  <a:pt x="1207" y="43"/>
                </a:cubicBezTo>
                <a:cubicBezTo>
                  <a:pt x="1205" y="45"/>
                  <a:pt x="1210" y="45"/>
                  <a:pt x="1212" y="46"/>
                </a:cubicBezTo>
                <a:cubicBezTo>
                  <a:pt x="1212" y="46"/>
                  <a:pt x="1215" y="47"/>
                  <a:pt x="1215" y="47"/>
                </a:cubicBezTo>
                <a:cubicBezTo>
                  <a:pt x="1215" y="47"/>
                  <a:pt x="1215" y="46"/>
                  <a:pt x="1216" y="46"/>
                </a:cubicBezTo>
                <a:cubicBezTo>
                  <a:pt x="1217" y="45"/>
                  <a:pt x="1216" y="45"/>
                  <a:pt x="1220" y="46"/>
                </a:cubicBezTo>
                <a:cubicBezTo>
                  <a:pt x="1220" y="47"/>
                  <a:pt x="1221" y="48"/>
                  <a:pt x="1221" y="48"/>
                </a:cubicBezTo>
                <a:cubicBezTo>
                  <a:pt x="1221" y="48"/>
                  <a:pt x="1220" y="50"/>
                  <a:pt x="1220" y="50"/>
                </a:cubicBezTo>
                <a:cubicBezTo>
                  <a:pt x="1219" y="50"/>
                  <a:pt x="1215" y="50"/>
                  <a:pt x="1215" y="50"/>
                </a:cubicBezTo>
                <a:cubicBezTo>
                  <a:pt x="1215" y="51"/>
                  <a:pt x="1216" y="51"/>
                  <a:pt x="1216" y="52"/>
                </a:cubicBezTo>
                <a:cubicBezTo>
                  <a:pt x="1216" y="52"/>
                  <a:pt x="1215" y="53"/>
                  <a:pt x="1215" y="53"/>
                </a:cubicBezTo>
                <a:cubicBezTo>
                  <a:pt x="1215" y="53"/>
                  <a:pt x="1216" y="57"/>
                  <a:pt x="1215" y="57"/>
                </a:cubicBezTo>
                <a:cubicBezTo>
                  <a:pt x="1215" y="57"/>
                  <a:pt x="1215" y="59"/>
                  <a:pt x="1214" y="58"/>
                </a:cubicBezTo>
                <a:cubicBezTo>
                  <a:pt x="1213" y="56"/>
                  <a:pt x="1213" y="54"/>
                  <a:pt x="1213" y="54"/>
                </a:cubicBezTo>
                <a:cubicBezTo>
                  <a:pt x="1213" y="52"/>
                  <a:pt x="1214" y="51"/>
                  <a:pt x="1213" y="50"/>
                </a:cubicBezTo>
                <a:cubicBezTo>
                  <a:pt x="1210" y="50"/>
                  <a:pt x="1207" y="49"/>
                  <a:pt x="1206" y="49"/>
                </a:cubicBezTo>
                <a:cubicBezTo>
                  <a:pt x="1205" y="49"/>
                  <a:pt x="1203" y="50"/>
                  <a:pt x="1203" y="50"/>
                </a:cubicBezTo>
                <a:cubicBezTo>
                  <a:pt x="1202" y="50"/>
                  <a:pt x="1201" y="51"/>
                  <a:pt x="1200" y="51"/>
                </a:cubicBezTo>
                <a:cubicBezTo>
                  <a:pt x="1200" y="51"/>
                  <a:pt x="1197" y="51"/>
                  <a:pt x="1197" y="51"/>
                </a:cubicBezTo>
                <a:cubicBezTo>
                  <a:pt x="1196" y="51"/>
                  <a:pt x="1194" y="49"/>
                  <a:pt x="1193" y="49"/>
                </a:cubicBezTo>
                <a:cubicBezTo>
                  <a:pt x="1192" y="49"/>
                  <a:pt x="1191" y="50"/>
                  <a:pt x="1190" y="51"/>
                </a:cubicBezTo>
                <a:cubicBezTo>
                  <a:pt x="1190" y="51"/>
                  <a:pt x="1190" y="52"/>
                  <a:pt x="1191" y="52"/>
                </a:cubicBezTo>
                <a:cubicBezTo>
                  <a:pt x="1193" y="52"/>
                  <a:pt x="1195" y="51"/>
                  <a:pt x="1196" y="53"/>
                </a:cubicBezTo>
                <a:cubicBezTo>
                  <a:pt x="1197" y="54"/>
                  <a:pt x="1196" y="55"/>
                  <a:pt x="1198" y="55"/>
                </a:cubicBezTo>
                <a:cubicBezTo>
                  <a:pt x="1200" y="55"/>
                  <a:pt x="1200" y="55"/>
                  <a:pt x="1201" y="55"/>
                </a:cubicBezTo>
                <a:cubicBezTo>
                  <a:pt x="1202" y="55"/>
                  <a:pt x="1207" y="55"/>
                  <a:pt x="1208" y="55"/>
                </a:cubicBezTo>
                <a:cubicBezTo>
                  <a:pt x="1209" y="55"/>
                  <a:pt x="1209" y="57"/>
                  <a:pt x="1206" y="57"/>
                </a:cubicBezTo>
                <a:cubicBezTo>
                  <a:pt x="1206" y="57"/>
                  <a:pt x="1204" y="56"/>
                  <a:pt x="1205" y="57"/>
                </a:cubicBezTo>
                <a:cubicBezTo>
                  <a:pt x="1206" y="58"/>
                  <a:pt x="1207" y="58"/>
                  <a:pt x="1207" y="58"/>
                </a:cubicBezTo>
                <a:cubicBezTo>
                  <a:pt x="1207" y="59"/>
                  <a:pt x="1208" y="60"/>
                  <a:pt x="1208" y="61"/>
                </a:cubicBezTo>
                <a:cubicBezTo>
                  <a:pt x="1208" y="61"/>
                  <a:pt x="1209" y="64"/>
                  <a:pt x="1208" y="64"/>
                </a:cubicBezTo>
                <a:cubicBezTo>
                  <a:pt x="1207" y="64"/>
                  <a:pt x="1204" y="66"/>
                  <a:pt x="1203" y="65"/>
                </a:cubicBezTo>
                <a:cubicBezTo>
                  <a:pt x="1202" y="64"/>
                  <a:pt x="1200" y="63"/>
                  <a:pt x="1199" y="63"/>
                </a:cubicBezTo>
                <a:cubicBezTo>
                  <a:pt x="1199" y="63"/>
                  <a:pt x="1198" y="63"/>
                  <a:pt x="1198" y="63"/>
                </a:cubicBezTo>
                <a:cubicBezTo>
                  <a:pt x="1198" y="64"/>
                  <a:pt x="1202" y="65"/>
                  <a:pt x="1203" y="65"/>
                </a:cubicBezTo>
                <a:cubicBezTo>
                  <a:pt x="1203" y="66"/>
                  <a:pt x="1202" y="67"/>
                  <a:pt x="1201" y="68"/>
                </a:cubicBezTo>
                <a:cubicBezTo>
                  <a:pt x="1203" y="70"/>
                  <a:pt x="1206" y="67"/>
                  <a:pt x="1206" y="68"/>
                </a:cubicBezTo>
                <a:cubicBezTo>
                  <a:pt x="1207" y="70"/>
                  <a:pt x="1207" y="69"/>
                  <a:pt x="1208" y="71"/>
                </a:cubicBezTo>
                <a:cubicBezTo>
                  <a:pt x="1207" y="71"/>
                  <a:pt x="1204" y="73"/>
                  <a:pt x="1203" y="73"/>
                </a:cubicBezTo>
                <a:cubicBezTo>
                  <a:pt x="1202" y="73"/>
                  <a:pt x="1199" y="71"/>
                  <a:pt x="1198" y="71"/>
                </a:cubicBezTo>
                <a:cubicBezTo>
                  <a:pt x="1197" y="70"/>
                  <a:pt x="1198" y="71"/>
                  <a:pt x="1198" y="71"/>
                </a:cubicBezTo>
                <a:cubicBezTo>
                  <a:pt x="1198" y="71"/>
                  <a:pt x="1198" y="72"/>
                  <a:pt x="1198" y="73"/>
                </a:cubicBezTo>
                <a:cubicBezTo>
                  <a:pt x="1199" y="74"/>
                  <a:pt x="1193" y="74"/>
                  <a:pt x="1193" y="74"/>
                </a:cubicBezTo>
                <a:cubicBezTo>
                  <a:pt x="1189" y="74"/>
                  <a:pt x="1189" y="75"/>
                  <a:pt x="1188" y="72"/>
                </a:cubicBezTo>
                <a:cubicBezTo>
                  <a:pt x="1187" y="71"/>
                  <a:pt x="1187" y="71"/>
                  <a:pt x="1186" y="73"/>
                </a:cubicBezTo>
                <a:cubicBezTo>
                  <a:pt x="1188" y="74"/>
                  <a:pt x="1187" y="74"/>
                  <a:pt x="1188" y="74"/>
                </a:cubicBezTo>
                <a:cubicBezTo>
                  <a:pt x="1192" y="74"/>
                  <a:pt x="1192" y="75"/>
                  <a:pt x="1194" y="75"/>
                </a:cubicBezTo>
                <a:cubicBezTo>
                  <a:pt x="1195" y="75"/>
                  <a:pt x="1196" y="75"/>
                  <a:pt x="1197" y="75"/>
                </a:cubicBezTo>
                <a:cubicBezTo>
                  <a:pt x="1198" y="77"/>
                  <a:pt x="1197" y="77"/>
                  <a:pt x="1195" y="77"/>
                </a:cubicBezTo>
                <a:cubicBezTo>
                  <a:pt x="1195" y="77"/>
                  <a:pt x="1196" y="78"/>
                  <a:pt x="1195" y="79"/>
                </a:cubicBezTo>
                <a:cubicBezTo>
                  <a:pt x="1194" y="79"/>
                  <a:pt x="1195" y="79"/>
                  <a:pt x="1193" y="79"/>
                </a:cubicBezTo>
                <a:cubicBezTo>
                  <a:pt x="1188" y="79"/>
                  <a:pt x="1188" y="79"/>
                  <a:pt x="1188" y="79"/>
                </a:cubicBezTo>
                <a:cubicBezTo>
                  <a:pt x="1187" y="79"/>
                  <a:pt x="1186" y="80"/>
                  <a:pt x="1183" y="80"/>
                </a:cubicBezTo>
                <a:cubicBezTo>
                  <a:pt x="1182" y="80"/>
                  <a:pt x="1179" y="80"/>
                  <a:pt x="1179" y="80"/>
                </a:cubicBezTo>
                <a:cubicBezTo>
                  <a:pt x="1178" y="80"/>
                  <a:pt x="1177" y="80"/>
                  <a:pt x="1177" y="80"/>
                </a:cubicBezTo>
                <a:cubicBezTo>
                  <a:pt x="1177" y="80"/>
                  <a:pt x="1173" y="78"/>
                  <a:pt x="1173" y="78"/>
                </a:cubicBezTo>
                <a:cubicBezTo>
                  <a:pt x="1173" y="77"/>
                  <a:pt x="1173" y="76"/>
                  <a:pt x="1173" y="76"/>
                </a:cubicBezTo>
                <a:cubicBezTo>
                  <a:pt x="1171" y="76"/>
                  <a:pt x="1171" y="75"/>
                  <a:pt x="1169" y="77"/>
                </a:cubicBezTo>
                <a:cubicBezTo>
                  <a:pt x="1169" y="77"/>
                  <a:pt x="1163" y="78"/>
                  <a:pt x="1170" y="78"/>
                </a:cubicBezTo>
                <a:cubicBezTo>
                  <a:pt x="1171" y="78"/>
                  <a:pt x="1175" y="79"/>
                  <a:pt x="1175" y="79"/>
                </a:cubicBezTo>
                <a:cubicBezTo>
                  <a:pt x="1175" y="79"/>
                  <a:pt x="1175" y="79"/>
                  <a:pt x="1175" y="80"/>
                </a:cubicBezTo>
                <a:cubicBezTo>
                  <a:pt x="1175" y="80"/>
                  <a:pt x="1175" y="81"/>
                  <a:pt x="1173" y="81"/>
                </a:cubicBezTo>
                <a:cubicBezTo>
                  <a:pt x="1170" y="81"/>
                  <a:pt x="1170" y="80"/>
                  <a:pt x="1169" y="80"/>
                </a:cubicBezTo>
                <a:cubicBezTo>
                  <a:pt x="1168" y="80"/>
                  <a:pt x="1164" y="80"/>
                  <a:pt x="1163" y="80"/>
                </a:cubicBezTo>
                <a:cubicBezTo>
                  <a:pt x="1163" y="80"/>
                  <a:pt x="1163" y="80"/>
                  <a:pt x="1162" y="80"/>
                </a:cubicBezTo>
                <a:cubicBezTo>
                  <a:pt x="1160" y="80"/>
                  <a:pt x="1160" y="80"/>
                  <a:pt x="1159" y="80"/>
                </a:cubicBezTo>
                <a:cubicBezTo>
                  <a:pt x="1159" y="81"/>
                  <a:pt x="1158" y="81"/>
                  <a:pt x="1159" y="81"/>
                </a:cubicBezTo>
                <a:cubicBezTo>
                  <a:pt x="1159" y="81"/>
                  <a:pt x="1164" y="81"/>
                  <a:pt x="1164" y="82"/>
                </a:cubicBezTo>
                <a:cubicBezTo>
                  <a:pt x="1164" y="84"/>
                  <a:pt x="1159" y="84"/>
                  <a:pt x="1161" y="84"/>
                </a:cubicBezTo>
                <a:cubicBezTo>
                  <a:pt x="1161" y="85"/>
                  <a:pt x="1163" y="85"/>
                  <a:pt x="1163" y="85"/>
                </a:cubicBezTo>
                <a:cubicBezTo>
                  <a:pt x="1163" y="85"/>
                  <a:pt x="1163" y="84"/>
                  <a:pt x="1163" y="85"/>
                </a:cubicBezTo>
                <a:cubicBezTo>
                  <a:pt x="1163" y="87"/>
                  <a:pt x="1162" y="86"/>
                  <a:pt x="1163" y="87"/>
                </a:cubicBezTo>
                <a:cubicBezTo>
                  <a:pt x="1165" y="88"/>
                  <a:pt x="1165" y="88"/>
                  <a:pt x="1166" y="88"/>
                </a:cubicBezTo>
                <a:cubicBezTo>
                  <a:pt x="1169" y="89"/>
                  <a:pt x="1168" y="90"/>
                  <a:pt x="1170" y="90"/>
                </a:cubicBezTo>
                <a:cubicBezTo>
                  <a:pt x="1172" y="90"/>
                  <a:pt x="1173" y="90"/>
                  <a:pt x="1174" y="90"/>
                </a:cubicBezTo>
                <a:cubicBezTo>
                  <a:pt x="1176" y="91"/>
                  <a:pt x="1175" y="91"/>
                  <a:pt x="1176" y="92"/>
                </a:cubicBezTo>
                <a:cubicBezTo>
                  <a:pt x="1177" y="93"/>
                  <a:pt x="1176" y="93"/>
                  <a:pt x="1174" y="94"/>
                </a:cubicBezTo>
                <a:cubicBezTo>
                  <a:pt x="1175" y="95"/>
                  <a:pt x="1176" y="95"/>
                  <a:pt x="1177" y="95"/>
                </a:cubicBezTo>
                <a:cubicBezTo>
                  <a:pt x="1177" y="95"/>
                  <a:pt x="1176" y="97"/>
                  <a:pt x="1176" y="98"/>
                </a:cubicBezTo>
                <a:cubicBezTo>
                  <a:pt x="1176" y="98"/>
                  <a:pt x="1177" y="98"/>
                  <a:pt x="1178" y="97"/>
                </a:cubicBezTo>
                <a:cubicBezTo>
                  <a:pt x="1179" y="96"/>
                  <a:pt x="1181" y="96"/>
                  <a:pt x="1182" y="96"/>
                </a:cubicBezTo>
                <a:cubicBezTo>
                  <a:pt x="1182" y="96"/>
                  <a:pt x="1181" y="99"/>
                  <a:pt x="1181" y="99"/>
                </a:cubicBezTo>
                <a:cubicBezTo>
                  <a:pt x="1180" y="99"/>
                  <a:pt x="1179" y="100"/>
                  <a:pt x="1179" y="100"/>
                </a:cubicBezTo>
                <a:cubicBezTo>
                  <a:pt x="1181" y="101"/>
                  <a:pt x="1180" y="102"/>
                  <a:pt x="1180" y="103"/>
                </a:cubicBezTo>
                <a:cubicBezTo>
                  <a:pt x="1180" y="104"/>
                  <a:pt x="1181" y="105"/>
                  <a:pt x="1180" y="105"/>
                </a:cubicBezTo>
                <a:cubicBezTo>
                  <a:pt x="1178" y="105"/>
                  <a:pt x="1177" y="106"/>
                  <a:pt x="1176" y="106"/>
                </a:cubicBezTo>
                <a:cubicBezTo>
                  <a:pt x="1176" y="105"/>
                  <a:pt x="1175" y="106"/>
                  <a:pt x="1175" y="105"/>
                </a:cubicBezTo>
                <a:cubicBezTo>
                  <a:pt x="1174" y="104"/>
                  <a:pt x="1174" y="103"/>
                  <a:pt x="1174" y="103"/>
                </a:cubicBezTo>
                <a:cubicBezTo>
                  <a:pt x="1174" y="103"/>
                  <a:pt x="1173" y="104"/>
                  <a:pt x="1173" y="104"/>
                </a:cubicBezTo>
                <a:cubicBezTo>
                  <a:pt x="1173" y="104"/>
                  <a:pt x="1174" y="105"/>
                  <a:pt x="1172" y="105"/>
                </a:cubicBezTo>
                <a:cubicBezTo>
                  <a:pt x="1170" y="105"/>
                  <a:pt x="1168" y="105"/>
                  <a:pt x="1165" y="105"/>
                </a:cubicBezTo>
                <a:cubicBezTo>
                  <a:pt x="1163" y="105"/>
                  <a:pt x="1162" y="99"/>
                  <a:pt x="1162" y="98"/>
                </a:cubicBezTo>
                <a:cubicBezTo>
                  <a:pt x="1162" y="98"/>
                  <a:pt x="1160" y="97"/>
                  <a:pt x="1159" y="97"/>
                </a:cubicBezTo>
                <a:cubicBezTo>
                  <a:pt x="1155" y="98"/>
                  <a:pt x="1157" y="96"/>
                  <a:pt x="1151" y="96"/>
                </a:cubicBezTo>
                <a:cubicBezTo>
                  <a:pt x="1151" y="96"/>
                  <a:pt x="1149" y="96"/>
                  <a:pt x="1149" y="96"/>
                </a:cubicBezTo>
                <a:cubicBezTo>
                  <a:pt x="1149" y="97"/>
                  <a:pt x="1150" y="96"/>
                  <a:pt x="1151" y="96"/>
                </a:cubicBezTo>
                <a:cubicBezTo>
                  <a:pt x="1154" y="96"/>
                  <a:pt x="1151" y="96"/>
                  <a:pt x="1154" y="97"/>
                </a:cubicBezTo>
                <a:cubicBezTo>
                  <a:pt x="1158" y="98"/>
                  <a:pt x="1153" y="98"/>
                  <a:pt x="1153" y="99"/>
                </a:cubicBezTo>
                <a:cubicBezTo>
                  <a:pt x="1152" y="101"/>
                  <a:pt x="1153" y="100"/>
                  <a:pt x="1154" y="101"/>
                </a:cubicBezTo>
                <a:cubicBezTo>
                  <a:pt x="1154" y="102"/>
                  <a:pt x="1155" y="102"/>
                  <a:pt x="1154" y="103"/>
                </a:cubicBezTo>
                <a:cubicBezTo>
                  <a:pt x="1154" y="104"/>
                  <a:pt x="1155" y="104"/>
                  <a:pt x="1153" y="104"/>
                </a:cubicBezTo>
                <a:cubicBezTo>
                  <a:pt x="1152" y="104"/>
                  <a:pt x="1150" y="105"/>
                  <a:pt x="1149" y="105"/>
                </a:cubicBezTo>
                <a:cubicBezTo>
                  <a:pt x="1148" y="105"/>
                  <a:pt x="1142" y="105"/>
                  <a:pt x="1142" y="105"/>
                </a:cubicBezTo>
                <a:cubicBezTo>
                  <a:pt x="1141" y="105"/>
                  <a:pt x="1139" y="105"/>
                  <a:pt x="1139" y="106"/>
                </a:cubicBezTo>
                <a:cubicBezTo>
                  <a:pt x="1139" y="107"/>
                  <a:pt x="1141" y="106"/>
                  <a:pt x="1142" y="106"/>
                </a:cubicBezTo>
                <a:cubicBezTo>
                  <a:pt x="1145" y="105"/>
                  <a:pt x="1143" y="105"/>
                  <a:pt x="1146" y="106"/>
                </a:cubicBezTo>
                <a:cubicBezTo>
                  <a:pt x="1148" y="106"/>
                  <a:pt x="1144" y="107"/>
                  <a:pt x="1143" y="108"/>
                </a:cubicBezTo>
                <a:cubicBezTo>
                  <a:pt x="1139" y="108"/>
                  <a:pt x="1138" y="108"/>
                  <a:pt x="1136" y="109"/>
                </a:cubicBezTo>
                <a:cubicBezTo>
                  <a:pt x="1136" y="110"/>
                  <a:pt x="1137" y="110"/>
                  <a:pt x="1138" y="110"/>
                </a:cubicBezTo>
                <a:cubicBezTo>
                  <a:pt x="1139" y="109"/>
                  <a:pt x="1138" y="108"/>
                  <a:pt x="1140" y="108"/>
                </a:cubicBezTo>
                <a:cubicBezTo>
                  <a:pt x="1143" y="108"/>
                  <a:pt x="1148" y="106"/>
                  <a:pt x="1149" y="106"/>
                </a:cubicBezTo>
                <a:cubicBezTo>
                  <a:pt x="1150" y="106"/>
                  <a:pt x="1153" y="106"/>
                  <a:pt x="1153" y="106"/>
                </a:cubicBezTo>
                <a:cubicBezTo>
                  <a:pt x="1153" y="106"/>
                  <a:pt x="1157" y="108"/>
                  <a:pt x="1160" y="108"/>
                </a:cubicBezTo>
                <a:cubicBezTo>
                  <a:pt x="1161" y="108"/>
                  <a:pt x="1162" y="108"/>
                  <a:pt x="1163" y="108"/>
                </a:cubicBezTo>
                <a:cubicBezTo>
                  <a:pt x="1167" y="109"/>
                  <a:pt x="1170" y="108"/>
                  <a:pt x="1172" y="108"/>
                </a:cubicBezTo>
                <a:cubicBezTo>
                  <a:pt x="1175" y="108"/>
                  <a:pt x="1169" y="111"/>
                  <a:pt x="1169" y="111"/>
                </a:cubicBezTo>
                <a:cubicBezTo>
                  <a:pt x="1167" y="112"/>
                  <a:pt x="1159" y="114"/>
                  <a:pt x="1158" y="115"/>
                </a:cubicBezTo>
                <a:cubicBezTo>
                  <a:pt x="1156" y="116"/>
                  <a:pt x="1149" y="118"/>
                  <a:pt x="1148" y="119"/>
                </a:cubicBezTo>
                <a:cubicBezTo>
                  <a:pt x="1148" y="119"/>
                  <a:pt x="1142" y="122"/>
                  <a:pt x="1141" y="122"/>
                </a:cubicBezTo>
                <a:close/>
                <a:moveTo>
                  <a:pt x="948" y="108"/>
                </a:moveTo>
                <a:cubicBezTo>
                  <a:pt x="948" y="108"/>
                  <a:pt x="948" y="106"/>
                  <a:pt x="948" y="106"/>
                </a:cubicBezTo>
                <a:cubicBezTo>
                  <a:pt x="950" y="105"/>
                  <a:pt x="953" y="108"/>
                  <a:pt x="955" y="108"/>
                </a:cubicBezTo>
                <a:cubicBezTo>
                  <a:pt x="956" y="108"/>
                  <a:pt x="957" y="107"/>
                  <a:pt x="959" y="108"/>
                </a:cubicBezTo>
                <a:cubicBezTo>
                  <a:pt x="959" y="108"/>
                  <a:pt x="960" y="109"/>
                  <a:pt x="960" y="110"/>
                </a:cubicBezTo>
                <a:cubicBezTo>
                  <a:pt x="962" y="110"/>
                  <a:pt x="964" y="110"/>
                  <a:pt x="963" y="112"/>
                </a:cubicBezTo>
                <a:cubicBezTo>
                  <a:pt x="963" y="112"/>
                  <a:pt x="962" y="114"/>
                  <a:pt x="960" y="114"/>
                </a:cubicBezTo>
                <a:cubicBezTo>
                  <a:pt x="958" y="114"/>
                  <a:pt x="957" y="114"/>
                  <a:pt x="956" y="114"/>
                </a:cubicBezTo>
                <a:cubicBezTo>
                  <a:pt x="955" y="114"/>
                  <a:pt x="952" y="115"/>
                  <a:pt x="952" y="115"/>
                </a:cubicBezTo>
                <a:cubicBezTo>
                  <a:pt x="951" y="116"/>
                  <a:pt x="947" y="116"/>
                  <a:pt x="946" y="114"/>
                </a:cubicBezTo>
                <a:cubicBezTo>
                  <a:pt x="946" y="114"/>
                  <a:pt x="947" y="114"/>
                  <a:pt x="947" y="113"/>
                </a:cubicBezTo>
                <a:cubicBezTo>
                  <a:pt x="946" y="112"/>
                  <a:pt x="944" y="112"/>
                  <a:pt x="943" y="111"/>
                </a:cubicBezTo>
                <a:cubicBezTo>
                  <a:pt x="943" y="111"/>
                  <a:pt x="944" y="110"/>
                  <a:pt x="944" y="109"/>
                </a:cubicBezTo>
                <a:cubicBezTo>
                  <a:pt x="945" y="109"/>
                  <a:pt x="947" y="109"/>
                  <a:pt x="948" y="108"/>
                </a:cubicBezTo>
                <a:close/>
                <a:moveTo>
                  <a:pt x="1051" y="150"/>
                </a:moveTo>
                <a:cubicBezTo>
                  <a:pt x="1048" y="149"/>
                  <a:pt x="1059" y="149"/>
                  <a:pt x="1054" y="151"/>
                </a:cubicBezTo>
                <a:cubicBezTo>
                  <a:pt x="1053" y="152"/>
                  <a:pt x="1052" y="151"/>
                  <a:pt x="1051" y="150"/>
                </a:cubicBezTo>
                <a:close/>
                <a:moveTo>
                  <a:pt x="1230" y="32"/>
                </a:moveTo>
                <a:cubicBezTo>
                  <a:pt x="1230" y="32"/>
                  <a:pt x="1228" y="32"/>
                  <a:pt x="1228" y="32"/>
                </a:cubicBezTo>
                <a:cubicBezTo>
                  <a:pt x="1227" y="32"/>
                  <a:pt x="1226" y="33"/>
                  <a:pt x="1227" y="32"/>
                </a:cubicBezTo>
                <a:cubicBezTo>
                  <a:pt x="1227" y="31"/>
                  <a:pt x="1229" y="30"/>
                  <a:pt x="1230" y="29"/>
                </a:cubicBezTo>
                <a:cubicBezTo>
                  <a:pt x="1230" y="29"/>
                  <a:pt x="1231" y="31"/>
                  <a:pt x="1230" y="32"/>
                </a:cubicBezTo>
                <a:close/>
                <a:moveTo>
                  <a:pt x="222" y="545"/>
                </a:moveTo>
                <a:cubicBezTo>
                  <a:pt x="220" y="549"/>
                  <a:pt x="220" y="549"/>
                  <a:pt x="220" y="549"/>
                </a:cubicBezTo>
                <a:cubicBezTo>
                  <a:pt x="218" y="549"/>
                  <a:pt x="218" y="549"/>
                  <a:pt x="218" y="549"/>
                </a:cubicBezTo>
                <a:cubicBezTo>
                  <a:pt x="221" y="545"/>
                  <a:pt x="221" y="545"/>
                  <a:pt x="221" y="545"/>
                </a:cubicBezTo>
                <a:lnTo>
                  <a:pt x="222" y="545"/>
                </a:lnTo>
                <a:close/>
                <a:moveTo>
                  <a:pt x="240" y="533"/>
                </a:moveTo>
                <a:cubicBezTo>
                  <a:pt x="245" y="534"/>
                  <a:pt x="245" y="534"/>
                  <a:pt x="245" y="534"/>
                </a:cubicBezTo>
                <a:cubicBezTo>
                  <a:pt x="243" y="538"/>
                  <a:pt x="243" y="538"/>
                  <a:pt x="243" y="538"/>
                </a:cubicBezTo>
                <a:cubicBezTo>
                  <a:pt x="241" y="537"/>
                  <a:pt x="241" y="537"/>
                  <a:pt x="241" y="537"/>
                </a:cubicBezTo>
                <a:lnTo>
                  <a:pt x="240" y="533"/>
                </a:lnTo>
                <a:close/>
                <a:moveTo>
                  <a:pt x="18" y="251"/>
                </a:moveTo>
                <a:cubicBezTo>
                  <a:pt x="18" y="252"/>
                  <a:pt x="17" y="253"/>
                  <a:pt x="16" y="253"/>
                </a:cubicBezTo>
                <a:cubicBezTo>
                  <a:pt x="3" y="258"/>
                  <a:pt x="14" y="252"/>
                  <a:pt x="16" y="251"/>
                </a:cubicBezTo>
                <a:cubicBezTo>
                  <a:pt x="17" y="251"/>
                  <a:pt x="19" y="251"/>
                  <a:pt x="18" y="251"/>
                </a:cubicBezTo>
                <a:close/>
                <a:moveTo>
                  <a:pt x="11" y="252"/>
                </a:moveTo>
                <a:cubicBezTo>
                  <a:pt x="9" y="252"/>
                  <a:pt x="8" y="253"/>
                  <a:pt x="8" y="252"/>
                </a:cubicBezTo>
                <a:cubicBezTo>
                  <a:pt x="9" y="250"/>
                  <a:pt x="9" y="250"/>
                  <a:pt x="9" y="250"/>
                </a:cubicBezTo>
                <a:lnTo>
                  <a:pt x="11" y="252"/>
                </a:lnTo>
                <a:close/>
                <a:moveTo>
                  <a:pt x="9" y="248"/>
                </a:moveTo>
                <a:cubicBezTo>
                  <a:pt x="4" y="248"/>
                  <a:pt x="4" y="249"/>
                  <a:pt x="0" y="251"/>
                </a:cubicBezTo>
                <a:cubicBezTo>
                  <a:pt x="3" y="247"/>
                  <a:pt x="3" y="247"/>
                  <a:pt x="3" y="247"/>
                </a:cubicBezTo>
                <a:cubicBezTo>
                  <a:pt x="5" y="246"/>
                  <a:pt x="4" y="246"/>
                  <a:pt x="7" y="245"/>
                </a:cubicBezTo>
                <a:cubicBezTo>
                  <a:pt x="9" y="244"/>
                  <a:pt x="8" y="243"/>
                  <a:pt x="12" y="243"/>
                </a:cubicBezTo>
                <a:cubicBezTo>
                  <a:pt x="16" y="243"/>
                  <a:pt x="16" y="245"/>
                  <a:pt x="17" y="245"/>
                </a:cubicBezTo>
                <a:cubicBezTo>
                  <a:pt x="18" y="245"/>
                  <a:pt x="20" y="245"/>
                  <a:pt x="20" y="245"/>
                </a:cubicBezTo>
                <a:cubicBezTo>
                  <a:pt x="20" y="246"/>
                  <a:pt x="20" y="248"/>
                  <a:pt x="19" y="248"/>
                </a:cubicBezTo>
                <a:cubicBezTo>
                  <a:pt x="18" y="248"/>
                  <a:pt x="17" y="249"/>
                  <a:pt x="15" y="249"/>
                </a:cubicBezTo>
                <a:cubicBezTo>
                  <a:pt x="11" y="249"/>
                  <a:pt x="13" y="250"/>
                  <a:pt x="10" y="251"/>
                </a:cubicBezTo>
                <a:cubicBezTo>
                  <a:pt x="10" y="251"/>
                  <a:pt x="10" y="248"/>
                  <a:pt x="9" y="248"/>
                </a:cubicBezTo>
                <a:close/>
                <a:moveTo>
                  <a:pt x="116" y="220"/>
                </a:moveTo>
                <a:cubicBezTo>
                  <a:pt x="116" y="220"/>
                  <a:pt x="116" y="220"/>
                  <a:pt x="114" y="220"/>
                </a:cubicBezTo>
                <a:cubicBezTo>
                  <a:pt x="113" y="221"/>
                  <a:pt x="114" y="221"/>
                  <a:pt x="112" y="221"/>
                </a:cubicBezTo>
                <a:cubicBezTo>
                  <a:pt x="110" y="222"/>
                  <a:pt x="111" y="221"/>
                  <a:pt x="110" y="221"/>
                </a:cubicBezTo>
                <a:cubicBezTo>
                  <a:pt x="109" y="221"/>
                  <a:pt x="108" y="222"/>
                  <a:pt x="106" y="223"/>
                </a:cubicBezTo>
                <a:cubicBezTo>
                  <a:pt x="105" y="223"/>
                  <a:pt x="105" y="222"/>
                  <a:pt x="105" y="222"/>
                </a:cubicBezTo>
                <a:cubicBezTo>
                  <a:pt x="105" y="221"/>
                  <a:pt x="105" y="221"/>
                  <a:pt x="105" y="221"/>
                </a:cubicBezTo>
                <a:cubicBezTo>
                  <a:pt x="107" y="220"/>
                  <a:pt x="106" y="221"/>
                  <a:pt x="108" y="220"/>
                </a:cubicBezTo>
                <a:cubicBezTo>
                  <a:pt x="109" y="220"/>
                  <a:pt x="109" y="219"/>
                  <a:pt x="109" y="219"/>
                </a:cubicBezTo>
                <a:cubicBezTo>
                  <a:pt x="111" y="218"/>
                  <a:pt x="112" y="218"/>
                  <a:pt x="114" y="217"/>
                </a:cubicBezTo>
                <a:cubicBezTo>
                  <a:pt x="115" y="215"/>
                  <a:pt x="116" y="216"/>
                  <a:pt x="115" y="218"/>
                </a:cubicBezTo>
                <a:cubicBezTo>
                  <a:pt x="114" y="220"/>
                  <a:pt x="116" y="219"/>
                  <a:pt x="116" y="220"/>
                </a:cubicBezTo>
                <a:close/>
                <a:moveTo>
                  <a:pt x="261" y="323"/>
                </a:moveTo>
                <a:cubicBezTo>
                  <a:pt x="261" y="324"/>
                  <a:pt x="261" y="325"/>
                  <a:pt x="261" y="325"/>
                </a:cubicBezTo>
                <a:cubicBezTo>
                  <a:pt x="261" y="325"/>
                  <a:pt x="259" y="326"/>
                  <a:pt x="259" y="326"/>
                </a:cubicBezTo>
                <a:cubicBezTo>
                  <a:pt x="259" y="326"/>
                  <a:pt x="259" y="325"/>
                  <a:pt x="259" y="323"/>
                </a:cubicBezTo>
                <a:cubicBezTo>
                  <a:pt x="259" y="323"/>
                  <a:pt x="261" y="322"/>
                  <a:pt x="261" y="322"/>
                </a:cubicBezTo>
                <a:cubicBezTo>
                  <a:pt x="261" y="322"/>
                  <a:pt x="261" y="323"/>
                  <a:pt x="261" y="323"/>
                </a:cubicBezTo>
                <a:close/>
                <a:moveTo>
                  <a:pt x="20" y="252"/>
                </a:moveTo>
                <a:cubicBezTo>
                  <a:pt x="20" y="253"/>
                  <a:pt x="18" y="254"/>
                  <a:pt x="19" y="252"/>
                </a:cubicBezTo>
                <a:cubicBezTo>
                  <a:pt x="19" y="252"/>
                  <a:pt x="20" y="252"/>
                  <a:pt x="20" y="252"/>
                </a:cubicBezTo>
                <a:close/>
                <a:moveTo>
                  <a:pt x="18" y="201"/>
                </a:moveTo>
                <a:cubicBezTo>
                  <a:pt x="18" y="197"/>
                  <a:pt x="22" y="199"/>
                  <a:pt x="23" y="200"/>
                </a:cubicBezTo>
                <a:cubicBezTo>
                  <a:pt x="28" y="197"/>
                  <a:pt x="28" y="197"/>
                  <a:pt x="28" y="197"/>
                </a:cubicBezTo>
                <a:cubicBezTo>
                  <a:pt x="31" y="197"/>
                  <a:pt x="31" y="197"/>
                  <a:pt x="31" y="197"/>
                </a:cubicBezTo>
                <a:cubicBezTo>
                  <a:pt x="31" y="197"/>
                  <a:pt x="34" y="199"/>
                  <a:pt x="33" y="199"/>
                </a:cubicBezTo>
                <a:cubicBezTo>
                  <a:pt x="32" y="199"/>
                  <a:pt x="29" y="201"/>
                  <a:pt x="29" y="201"/>
                </a:cubicBezTo>
                <a:cubicBezTo>
                  <a:pt x="28" y="203"/>
                  <a:pt x="27" y="202"/>
                  <a:pt x="25" y="203"/>
                </a:cubicBezTo>
                <a:cubicBezTo>
                  <a:pt x="24" y="203"/>
                  <a:pt x="22" y="204"/>
                  <a:pt x="22" y="204"/>
                </a:cubicBezTo>
                <a:cubicBezTo>
                  <a:pt x="22" y="204"/>
                  <a:pt x="20" y="203"/>
                  <a:pt x="19" y="203"/>
                </a:cubicBezTo>
                <a:cubicBezTo>
                  <a:pt x="19" y="202"/>
                  <a:pt x="18" y="202"/>
                  <a:pt x="18" y="201"/>
                </a:cubicBezTo>
                <a:close/>
                <a:moveTo>
                  <a:pt x="105" y="227"/>
                </a:moveTo>
                <a:cubicBezTo>
                  <a:pt x="105" y="227"/>
                  <a:pt x="105" y="227"/>
                  <a:pt x="104" y="228"/>
                </a:cubicBezTo>
                <a:cubicBezTo>
                  <a:pt x="103" y="229"/>
                  <a:pt x="102" y="228"/>
                  <a:pt x="102" y="228"/>
                </a:cubicBezTo>
                <a:cubicBezTo>
                  <a:pt x="101" y="227"/>
                  <a:pt x="101" y="227"/>
                  <a:pt x="99" y="228"/>
                </a:cubicBezTo>
                <a:cubicBezTo>
                  <a:pt x="98" y="228"/>
                  <a:pt x="100" y="229"/>
                  <a:pt x="100" y="229"/>
                </a:cubicBezTo>
                <a:cubicBezTo>
                  <a:pt x="100" y="229"/>
                  <a:pt x="100" y="229"/>
                  <a:pt x="100" y="230"/>
                </a:cubicBezTo>
                <a:cubicBezTo>
                  <a:pt x="100" y="230"/>
                  <a:pt x="98" y="231"/>
                  <a:pt x="97" y="229"/>
                </a:cubicBezTo>
                <a:cubicBezTo>
                  <a:pt x="97" y="229"/>
                  <a:pt x="97" y="229"/>
                  <a:pt x="96" y="229"/>
                </a:cubicBezTo>
                <a:cubicBezTo>
                  <a:pt x="96" y="229"/>
                  <a:pt x="96" y="230"/>
                  <a:pt x="94" y="231"/>
                </a:cubicBezTo>
                <a:cubicBezTo>
                  <a:pt x="92" y="233"/>
                  <a:pt x="93" y="232"/>
                  <a:pt x="91" y="233"/>
                </a:cubicBezTo>
                <a:cubicBezTo>
                  <a:pt x="89" y="233"/>
                  <a:pt x="89" y="232"/>
                  <a:pt x="87" y="233"/>
                </a:cubicBezTo>
                <a:cubicBezTo>
                  <a:pt x="85" y="234"/>
                  <a:pt x="83" y="236"/>
                  <a:pt x="81" y="235"/>
                </a:cubicBezTo>
                <a:cubicBezTo>
                  <a:pt x="81" y="235"/>
                  <a:pt x="81" y="234"/>
                  <a:pt x="82" y="233"/>
                </a:cubicBezTo>
                <a:cubicBezTo>
                  <a:pt x="84" y="229"/>
                  <a:pt x="81" y="230"/>
                  <a:pt x="87" y="228"/>
                </a:cubicBezTo>
                <a:cubicBezTo>
                  <a:pt x="88" y="227"/>
                  <a:pt x="89" y="226"/>
                  <a:pt x="90" y="226"/>
                </a:cubicBezTo>
                <a:cubicBezTo>
                  <a:pt x="91" y="226"/>
                  <a:pt x="91" y="227"/>
                  <a:pt x="91" y="227"/>
                </a:cubicBezTo>
                <a:cubicBezTo>
                  <a:pt x="90" y="229"/>
                  <a:pt x="89" y="229"/>
                  <a:pt x="91" y="229"/>
                </a:cubicBezTo>
                <a:cubicBezTo>
                  <a:pt x="92" y="228"/>
                  <a:pt x="93" y="227"/>
                  <a:pt x="94" y="227"/>
                </a:cubicBezTo>
                <a:cubicBezTo>
                  <a:pt x="94" y="226"/>
                  <a:pt x="93" y="225"/>
                  <a:pt x="96" y="224"/>
                </a:cubicBezTo>
                <a:cubicBezTo>
                  <a:pt x="97" y="224"/>
                  <a:pt x="98" y="225"/>
                  <a:pt x="98" y="225"/>
                </a:cubicBezTo>
                <a:cubicBezTo>
                  <a:pt x="99" y="225"/>
                  <a:pt x="100" y="224"/>
                  <a:pt x="100" y="224"/>
                </a:cubicBezTo>
                <a:cubicBezTo>
                  <a:pt x="101" y="224"/>
                  <a:pt x="101" y="224"/>
                  <a:pt x="101" y="224"/>
                </a:cubicBezTo>
                <a:cubicBezTo>
                  <a:pt x="101" y="225"/>
                  <a:pt x="101" y="224"/>
                  <a:pt x="102" y="224"/>
                </a:cubicBezTo>
                <a:cubicBezTo>
                  <a:pt x="103" y="223"/>
                  <a:pt x="102" y="223"/>
                  <a:pt x="104" y="224"/>
                </a:cubicBezTo>
                <a:cubicBezTo>
                  <a:pt x="105" y="224"/>
                  <a:pt x="106" y="223"/>
                  <a:pt x="107" y="225"/>
                </a:cubicBezTo>
                <a:cubicBezTo>
                  <a:pt x="106" y="226"/>
                  <a:pt x="104" y="226"/>
                  <a:pt x="105" y="227"/>
                </a:cubicBezTo>
                <a:close/>
                <a:moveTo>
                  <a:pt x="234" y="231"/>
                </a:moveTo>
                <a:cubicBezTo>
                  <a:pt x="236" y="227"/>
                  <a:pt x="235" y="229"/>
                  <a:pt x="235" y="226"/>
                </a:cubicBezTo>
                <a:cubicBezTo>
                  <a:pt x="235" y="224"/>
                  <a:pt x="235" y="225"/>
                  <a:pt x="236" y="224"/>
                </a:cubicBezTo>
                <a:cubicBezTo>
                  <a:pt x="238" y="223"/>
                  <a:pt x="237" y="224"/>
                  <a:pt x="237" y="224"/>
                </a:cubicBezTo>
                <a:cubicBezTo>
                  <a:pt x="237" y="223"/>
                  <a:pt x="237" y="223"/>
                  <a:pt x="239" y="222"/>
                </a:cubicBezTo>
                <a:cubicBezTo>
                  <a:pt x="240" y="222"/>
                  <a:pt x="239" y="222"/>
                  <a:pt x="240" y="223"/>
                </a:cubicBezTo>
                <a:cubicBezTo>
                  <a:pt x="243" y="223"/>
                  <a:pt x="243" y="221"/>
                  <a:pt x="245" y="221"/>
                </a:cubicBezTo>
                <a:cubicBezTo>
                  <a:pt x="245" y="221"/>
                  <a:pt x="247" y="222"/>
                  <a:pt x="248" y="223"/>
                </a:cubicBezTo>
                <a:cubicBezTo>
                  <a:pt x="248" y="223"/>
                  <a:pt x="247" y="223"/>
                  <a:pt x="247" y="225"/>
                </a:cubicBezTo>
                <a:cubicBezTo>
                  <a:pt x="246" y="226"/>
                  <a:pt x="246" y="226"/>
                  <a:pt x="245" y="226"/>
                </a:cubicBezTo>
                <a:cubicBezTo>
                  <a:pt x="244" y="227"/>
                  <a:pt x="243" y="229"/>
                  <a:pt x="241" y="228"/>
                </a:cubicBezTo>
                <a:cubicBezTo>
                  <a:pt x="240" y="228"/>
                  <a:pt x="241" y="227"/>
                  <a:pt x="240" y="227"/>
                </a:cubicBezTo>
                <a:cubicBezTo>
                  <a:pt x="240" y="227"/>
                  <a:pt x="239" y="227"/>
                  <a:pt x="238" y="227"/>
                </a:cubicBezTo>
                <a:cubicBezTo>
                  <a:pt x="238" y="228"/>
                  <a:pt x="236" y="231"/>
                  <a:pt x="235" y="232"/>
                </a:cubicBezTo>
                <a:cubicBezTo>
                  <a:pt x="234" y="232"/>
                  <a:pt x="234" y="233"/>
                  <a:pt x="233" y="234"/>
                </a:cubicBezTo>
                <a:cubicBezTo>
                  <a:pt x="233" y="235"/>
                  <a:pt x="232" y="234"/>
                  <a:pt x="232" y="234"/>
                </a:cubicBezTo>
                <a:cubicBezTo>
                  <a:pt x="231" y="233"/>
                  <a:pt x="232" y="233"/>
                  <a:pt x="233" y="233"/>
                </a:cubicBezTo>
                <a:cubicBezTo>
                  <a:pt x="233" y="233"/>
                  <a:pt x="234" y="231"/>
                  <a:pt x="234" y="231"/>
                </a:cubicBezTo>
                <a:close/>
                <a:moveTo>
                  <a:pt x="250" y="239"/>
                </a:moveTo>
                <a:cubicBezTo>
                  <a:pt x="250" y="238"/>
                  <a:pt x="250" y="238"/>
                  <a:pt x="250" y="238"/>
                </a:cubicBezTo>
                <a:cubicBezTo>
                  <a:pt x="250" y="238"/>
                  <a:pt x="252" y="236"/>
                  <a:pt x="253" y="236"/>
                </a:cubicBezTo>
                <a:cubicBezTo>
                  <a:pt x="254" y="236"/>
                  <a:pt x="254" y="239"/>
                  <a:pt x="250" y="239"/>
                </a:cubicBezTo>
                <a:close/>
                <a:moveTo>
                  <a:pt x="40" y="171"/>
                </a:moveTo>
                <a:cubicBezTo>
                  <a:pt x="39" y="170"/>
                  <a:pt x="37" y="170"/>
                  <a:pt x="37" y="170"/>
                </a:cubicBezTo>
                <a:cubicBezTo>
                  <a:pt x="37" y="170"/>
                  <a:pt x="39" y="169"/>
                  <a:pt x="40" y="169"/>
                </a:cubicBezTo>
                <a:cubicBezTo>
                  <a:pt x="40" y="168"/>
                  <a:pt x="41" y="168"/>
                  <a:pt x="42" y="167"/>
                </a:cubicBezTo>
                <a:cubicBezTo>
                  <a:pt x="42" y="167"/>
                  <a:pt x="44" y="168"/>
                  <a:pt x="45" y="168"/>
                </a:cubicBezTo>
                <a:cubicBezTo>
                  <a:pt x="46" y="168"/>
                  <a:pt x="48" y="170"/>
                  <a:pt x="48" y="170"/>
                </a:cubicBezTo>
                <a:cubicBezTo>
                  <a:pt x="47" y="170"/>
                  <a:pt x="44" y="170"/>
                  <a:pt x="43" y="170"/>
                </a:cubicBezTo>
                <a:cubicBezTo>
                  <a:pt x="42" y="170"/>
                  <a:pt x="41" y="171"/>
                  <a:pt x="40" y="171"/>
                </a:cubicBezTo>
                <a:close/>
                <a:moveTo>
                  <a:pt x="247" y="252"/>
                </a:moveTo>
                <a:cubicBezTo>
                  <a:pt x="247" y="252"/>
                  <a:pt x="246" y="254"/>
                  <a:pt x="246" y="252"/>
                </a:cubicBezTo>
                <a:cubicBezTo>
                  <a:pt x="246" y="251"/>
                  <a:pt x="247" y="250"/>
                  <a:pt x="247" y="252"/>
                </a:cubicBezTo>
                <a:close/>
                <a:moveTo>
                  <a:pt x="246" y="254"/>
                </a:moveTo>
                <a:cubicBezTo>
                  <a:pt x="247" y="254"/>
                  <a:pt x="247" y="253"/>
                  <a:pt x="247" y="252"/>
                </a:cubicBezTo>
                <a:cubicBezTo>
                  <a:pt x="248" y="252"/>
                  <a:pt x="248" y="252"/>
                  <a:pt x="248" y="252"/>
                </a:cubicBezTo>
                <a:cubicBezTo>
                  <a:pt x="249" y="252"/>
                  <a:pt x="250" y="252"/>
                  <a:pt x="249" y="253"/>
                </a:cubicBezTo>
                <a:cubicBezTo>
                  <a:pt x="247" y="254"/>
                  <a:pt x="247" y="255"/>
                  <a:pt x="246" y="254"/>
                </a:cubicBezTo>
                <a:close/>
                <a:moveTo>
                  <a:pt x="253" y="235"/>
                </a:moveTo>
                <a:cubicBezTo>
                  <a:pt x="252" y="236"/>
                  <a:pt x="250" y="238"/>
                  <a:pt x="249" y="237"/>
                </a:cubicBezTo>
                <a:cubicBezTo>
                  <a:pt x="249" y="237"/>
                  <a:pt x="249" y="237"/>
                  <a:pt x="248" y="238"/>
                </a:cubicBezTo>
                <a:cubicBezTo>
                  <a:pt x="246" y="240"/>
                  <a:pt x="246" y="240"/>
                  <a:pt x="243" y="240"/>
                </a:cubicBezTo>
                <a:cubicBezTo>
                  <a:pt x="243" y="239"/>
                  <a:pt x="243" y="239"/>
                  <a:pt x="243" y="239"/>
                </a:cubicBezTo>
                <a:cubicBezTo>
                  <a:pt x="243" y="239"/>
                  <a:pt x="246" y="236"/>
                  <a:pt x="246" y="235"/>
                </a:cubicBezTo>
                <a:cubicBezTo>
                  <a:pt x="246" y="235"/>
                  <a:pt x="245" y="234"/>
                  <a:pt x="246" y="234"/>
                </a:cubicBezTo>
                <a:cubicBezTo>
                  <a:pt x="246" y="233"/>
                  <a:pt x="246" y="232"/>
                  <a:pt x="248" y="232"/>
                </a:cubicBezTo>
                <a:cubicBezTo>
                  <a:pt x="249" y="233"/>
                  <a:pt x="250" y="233"/>
                  <a:pt x="250" y="233"/>
                </a:cubicBezTo>
                <a:cubicBezTo>
                  <a:pt x="251" y="234"/>
                  <a:pt x="251" y="234"/>
                  <a:pt x="252" y="234"/>
                </a:cubicBezTo>
                <a:cubicBezTo>
                  <a:pt x="252" y="234"/>
                  <a:pt x="254" y="233"/>
                  <a:pt x="253" y="235"/>
                </a:cubicBezTo>
                <a:close/>
                <a:moveTo>
                  <a:pt x="251" y="242"/>
                </a:moveTo>
                <a:cubicBezTo>
                  <a:pt x="251" y="243"/>
                  <a:pt x="252" y="243"/>
                  <a:pt x="250" y="244"/>
                </a:cubicBezTo>
                <a:cubicBezTo>
                  <a:pt x="249" y="244"/>
                  <a:pt x="249" y="244"/>
                  <a:pt x="249" y="244"/>
                </a:cubicBezTo>
                <a:cubicBezTo>
                  <a:pt x="248" y="244"/>
                  <a:pt x="248" y="244"/>
                  <a:pt x="248" y="244"/>
                </a:cubicBezTo>
                <a:cubicBezTo>
                  <a:pt x="248" y="243"/>
                  <a:pt x="247" y="243"/>
                  <a:pt x="248" y="242"/>
                </a:cubicBezTo>
                <a:cubicBezTo>
                  <a:pt x="250" y="241"/>
                  <a:pt x="251" y="239"/>
                  <a:pt x="251" y="242"/>
                </a:cubicBezTo>
                <a:close/>
                <a:moveTo>
                  <a:pt x="264" y="326"/>
                </a:moveTo>
                <a:cubicBezTo>
                  <a:pt x="262" y="328"/>
                  <a:pt x="264" y="328"/>
                  <a:pt x="264" y="329"/>
                </a:cubicBezTo>
                <a:cubicBezTo>
                  <a:pt x="263" y="329"/>
                  <a:pt x="263" y="329"/>
                  <a:pt x="263" y="330"/>
                </a:cubicBezTo>
                <a:cubicBezTo>
                  <a:pt x="263" y="330"/>
                  <a:pt x="263" y="330"/>
                  <a:pt x="263" y="330"/>
                </a:cubicBezTo>
                <a:cubicBezTo>
                  <a:pt x="262" y="330"/>
                  <a:pt x="262" y="329"/>
                  <a:pt x="262" y="329"/>
                </a:cubicBezTo>
                <a:cubicBezTo>
                  <a:pt x="261" y="328"/>
                  <a:pt x="262" y="327"/>
                  <a:pt x="262" y="326"/>
                </a:cubicBezTo>
                <a:cubicBezTo>
                  <a:pt x="263" y="325"/>
                  <a:pt x="263" y="325"/>
                  <a:pt x="264" y="325"/>
                </a:cubicBezTo>
                <a:cubicBezTo>
                  <a:pt x="264" y="325"/>
                  <a:pt x="264" y="326"/>
                  <a:pt x="264" y="326"/>
                </a:cubicBezTo>
                <a:close/>
                <a:moveTo>
                  <a:pt x="245" y="242"/>
                </a:moveTo>
                <a:cubicBezTo>
                  <a:pt x="243" y="243"/>
                  <a:pt x="242" y="242"/>
                  <a:pt x="242" y="242"/>
                </a:cubicBezTo>
                <a:cubicBezTo>
                  <a:pt x="238" y="245"/>
                  <a:pt x="238" y="245"/>
                  <a:pt x="238" y="245"/>
                </a:cubicBezTo>
                <a:cubicBezTo>
                  <a:pt x="238" y="245"/>
                  <a:pt x="238" y="244"/>
                  <a:pt x="239" y="244"/>
                </a:cubicBezTo>
                <a:cubicBezTo>
                  <a:pt x="241" y="242"/>
                  <a:pt x="240" y="243"/>
                  <a:pt x="241" y="241"/>
                </a:cubicBezTo>
                <a:cubicBezTo>
                  <a:pt x="242" y="241"/>
                  <a:pt x="244" y="241"/>
                  <a:pt x="245" y="241"/>
                </a:cubicBezTo>
                <a:cubicBezTo>
                  <a:pt x="245" y="241"/>
                  <a:pt x="246" y="241"/>
                  <a:pt x="245" y="242"/>
                </a:cubicBezTo>
                <a:close/>
                <a:moveTo>
                  <a:pt x="144" y="136"/>
                </a:moveTo>
                <a:cubicBezTo>
                  <a:pt x="144" y="135"/>
                  <a:pt x="144" y="134"/>
                  <a:pt x="145" y="134"/>
                </a:cubicBezTo>
                <a:cubicBezTo>
                  <a:pt x="146" y="134"/>
                  <a:pt x="147" y="133"/>
                  <a:pt x="148" y="133"/>
                </a:cubicBezTo>
                <a:cubicBezTo>
                  <a:pt x="148" y="134"/>
                  <a:pt x="146" y="135"/>
                  <a:pt x="146" y="136"/>
                </a:cubicBezTo>
                <a:cubicBezTo>
                  <a:pt x="145" y="137"/>
                  <a:pt x="144" y="136"/>
                  <a:pt x="144" y="136"/>
                </a:cubicBezTo>
                <a:close/>
                <a:moveTo>
                  <a:pt x="253" y="225"/>
                </a:moveTo>
                <a:cubicBezTo>
                  <a:pt x="251" y="227"/>
                  <a:pt x="252" y="226"/>
                  <a:pt x="251" y="229"/>
                </a:cubicBezTo>
                <a:cubicBezTo>
                  <a:pt x="251" y="230"/>
                  <a:pt x="249" y="230"/>
                  <a:pt x="249" y="230"/>
                </a:cubicBezTo>
                <a:cubicBezTo>
                  <a:pt x="249" y="230"/>
                  <a:pt x="246" y="232"/>
                  <a:pt x="246" y="232"/>
                </a:cubicBezTo>
                <a:cubicBezTo>
                  <a:pt x="244" y="233"/>
                  <a:pt x="239" y="235"/>
                  <a:pt x="242" y="232"/>
                </a:cubicBezTo>
                <a:cubicBezTo>
                  <a:pt x="242" y="231"/>
                  <a:pt x="244" y="230"/>
                  <a:pt x="245" y="230"/>
                </a:cubicBezTo>
                <a:cubicBezTo>
                  <a:pt x="250" y="224"/>
                  <a:pt x="250" y="224"/>
                  <a:pt x="250" y="224"/>
                </a:cubicBezTo>
                <a:cubicBezTo>
                  <a:pt x="251" y="222"/>
                  <a:pt x="251" y="223"/>
                  <a:pt x="252" y="222"/>
                </a:cubicBezTo>
                <a:cubicBezTo>
                  <a:pt x="254" y="221"/>
                  <a:pt x="254" y="222"/>
                  <a:pt x="254" y="222"/>
                </a:cubicBezTo>
                <a:cubicBezTo>
                  <a:pt x="254" y="222"/>
                  <a:pt x="253" y="223"/>
                  <a:pt x="253" y="225"/>
                </a:cubicBezTo>
                <a:close/>
                <a:moveTo>
                  <a:pt x="200" y="482"/>
                </a:moveTo>
                <a:cubicBezTo>
                  <a:pt x="204" y="482"/>
                  <a:pt x="204" y="482"/>
                  <a:pt x="204" y="482"/>
                </a:cubicBezTo>
                <a:cubicBezTo>
                  <a:pt x="204" y="484"/>
                  <a:pt x="201" y="484"/>
                  <a:pt x="200" y="484"/>
                </a:cubicBezTo>
                <a:lnTo>
                  <a:pt x="200" y="482"/>
                </a:lnTo>
                <a:close/>
                <a:moveTo>
                  <a:pt x="210" y="489"/>
                </a:moveTo>
                <a:cubicBezTo>
                  <a:pt x="213" y="489"/>
                  <a:pt x="213" y="489"/>
                  <a:pt x="213" y="489"/>
                </a:cubicBezTo>
                <a:cubicBezTo>
                  <a:pt x="212" y="491"/>
                  <a:pt x="212" y="491"/>
                  <a:pt x="212" y="491"/>
                </a:cubicBezTo>
                <a:cubicBezTo>
                  <a:pt x="212" y="491"/>
                  <a:pt x="210" y="490"/>
                  <a:pt x="210" y="489"/>
                </a:cubicBezTo>
                <a:close/>
                <a:moveTo>
                  <a:pt x="208" y="493"/>
                </a:moveTo>
                <a:cubicBezTo>
                  <a:pt x="210" y="495"/>
                  <a:pt x="210" y="496"/>
                  <a:pt x="209" y="496"/>
                </a:cubicBezTo>
                <a:cubicBezTo>
                  <a:pt x="207" y="497"/>
                  <a:pt x="207" y="497"/>
                  <a:pt x="208" y="493"/>
                </a:cubicBezTo>
                <a:close/>
                <a:moveTo>
                  <a:pt x="178" y="201"/>
                </a:moveTo>
                <a:cubicBezTo>
                  <a:pt x="178" y="201"/>
                  <a:pt x="175" y="202"/>
                  <a:pt x="175" y="202"/>
                </a:cubicBezTo>
                <a:cubicBezTo>
                  <a:pt x="172" y="204"/>
                  <a:pt x="169" y="205"/>
                  <a:pt x="166" y="205"/>
                </a:cubicBezTo>
                <a:cubicBezTo>
                  <a:pt x="168" y="203"/>
                  <a:pt x="169" y="203"/>
                  <a:pt x="172" y="202"/>
                </a:cubicBezTo>
                <a:cubicBezTo>
                  <a:pt x="172" y="202"/>
                  <a:pt x="178" y="199"/>
                  <a:pt x="178" y="201"/>
                </a:cubicBezTo>
                <a:close/>
                <a:moveTo>
                  <a:pt x="199" y="491"/>
                </a:moveTo>
                <a:cubicBezTo>
                  <a:pt x="200" y="491"/>
                  <a:pt x="201" y="490"/>
                  <a:pt x="201" y="490"/>
                </a:cubicBezTo>
                <a:cubicBezTo>
                  <a:pt x="201" y="492"/>
                  <a:pt x="201" y="492"/>
                  <a:pt x="201" y="492"/>
                </a:cubicBezTo>
                <a:cubicBezTo>
                  <a:pt x="200" y="492"/>
                  <a:pt x="200" y="492"/>
                  <a:pt x="200" y="492"/>
                </a:cubicBezTo>
                <a:lnTo>
                  <a:pt x="199" y="491"/>
                </a:lnTo>
                <a:close/>
                <a:moveTo>
                  <a:pt x="199" y="483"/>
                </a:moveTo>
                <a:cubicBezTo>
                  <a:pt x="199" y="483"/>
                  <a:pt x="198" y="484"/>
                  <a:pt x="198" y="484"/>
                </a:cubicBezTo>
                <a:cubicBezTo>
                  <a:pt x="196" y="483"/>
                  <a:pt x="196" y="483"/>
                  <a:pt x="196" y="483"/>
                </a:cubicBezTo>
                <a:cubicBezTo>
                  <a:pt x="197" y="483"/>
                  <a:pt x="199" y="482"/>
                  <a:pt x="199" y="483"/>
                </a:cubicBezTo>
                <a:close/>
                <a:moveTo>
                  <a:pt x="235" y="243"/>
                </a:moveTo>
                <a:cubicBezTo>
                  <a:pt x="235" y="242"/>
                  <a:pt x="234" y="242"/>
                  <a:pt x="236" y="242"/>
                </a:cubicBezTo>
                <a:cubicBezTo>
                  <a:pt x="237" y="241"/>
                  <a:pt x="237" y="241"/>
                  <a:pt x="238" y="240"/>
                </a:cubicBezTo>
                <a:cubicBezTo>
                  <a:pt x="240" y="238"/>
                  <a:pt x="238" y="236"/>
                  <a:pt x="243" y="235"/>
                </a:cubicBezTo>
                <a:cubicBezTo>
                  <a:pt x="244" y="235"/>
                  <a:pt x="245" y="235"/>
                  <a:pt x="244" y="236"/>
                </a:cubicBezTo>
                <a:cubicBezTo>
                  <a:pt x="243" y="237"/>
                  <a:pt x="242" y="237"/>
                  <a:pt x="242" y="238"/>
                </a:cubicBezTo>
                <a:cubicBezTo>
                  <a:pt x="241" y="239"/>
                  <a:pt x="241" y="239"/>
                  <a:pt x="240" y="240"/>
                </a:cubicBezTo>
                <a:cubicBezTo>
                  <a:pt x="238" y="241"/>
                  <a:pt x="238" y="242"/>
                  <a:pt x="237" y="242"/>
                </a:cubicBezTo>
                <a:cubicBezTo>
                  <a:pt x="236" y="243"/>
                  <a:pt x="234" y="244"/>
                  <a:pt x="235" y="243"/>
                </a:cubicBezTo>
                <a:close/>
                <a:moveTo>
                  <a:pt x="245" y="243"/>
                </a:moveTo>
                <a:cubicBezTo>
                  <a:pt x="245" y="243"/>
                  <a:pt x="246" y="246"/>
                  <a:pt x="246" y="246"/>
                </a:cubicBezTo>
                <a:cubicBezTo>
                  <a:pt x="246" y="247"/>
                  <a:pt x="244" y="249"/>
                  <a:pt x="243" y="250"/>
                </a:cubicBezTo>
                <a:cubicBezTo>
                  <a:pt x="242" y="250"/>
                  <a:pt x="244" y="252"/>
                  <a:pt x="244" y="253"/>
                </a:cubicBezTo>
                <a:cubicBezTo>
                  <a:pt x="244" y="253"/>
                  <a:pt x="242" y="255"/>
                  <a:pt x="241" y="256"/>
                </a:cubicBezTo>
                <a:cubicBezTo>
                  <a:pt x="240" y="256"/>
                  <a:pt x="241" y="256"/>
                  <a:pt x="238" y="256"/>
                </a:cubicBezTo>
                <a:cubicBezTo>
                  <a:pt x="236" y="257"/>
                  <a:pt x="238" y="256"/>
                  <a:pt x="238" y="255"/>
                </a:cubicBezTo>
                <a:cubicBezTo>
                  <a:pt x="238" y="255"/>
                  <a:pt x="238" y="255"/>
                  <a:pt x="238" y="253"/>
                </a:cubicBezTo>
                <a:cubicBezTo>
                  <a:pt x="238" y="252"/>
                  <a:pt x="237" y="253"/>
                  <a:pt x="237" y="252"/>
                </a:cubicBezTo>
                <a:cubicBezTo>
                  <a:pt x="237" y="252"/>
                  <a:pt x="235" y="252"/>
                  <a:pt x="235" y="252"/>
                </a:cubicBezTo>
                <a:cubicBezTo>
                  <a:pt x="235" y="251"/>
                  <a:pt x="235" y="251"/>
                  <a:pt x="236" y="250"/>
                </a:cubicBezTo>
                <a:cubicBezTo>
                  <a:pt x="237" y="249"/>
                  <a:pt x="238" y="250"/>
                  <a:pt x="240" y="248"/>
                </a:cubicBezTo>
                <a:cubicBezTo>
                  <a:pt x="240" y="248"/>
                  <a:pt x="238" y="249"/>
                  <a:pt x="237" y="249"/>
                </a:cubicBezTo>
                <a:cubicBezTo>
                  <a:pt x="235" y="248"/>
                  <a:pt x="237" y="248"/>
                  <a:pt x="238" y="247"/>
                </a:cubicBezTo>
                <a:cubicBezTo>
                  <a:pt x="239" y="246"/>
                  <a:pt x="241" y="246"/>
                  <a:pt x="242" y="244"/>
                </a:cubicBezTo>
                <a:cubicBezTo>
                  <a:pt x="243" y="241"/>
                  <a:pt x="243" y="243"/>
                  <a:pt x="245" y="243"/>
                </a:cubicBezTo>
                <a:close/>
                <a:moveTo>
                  <a:pt x="232" y="241"/>
                </a:moveTo>
                <a:cubicBezTo>
                  <a:pt x="232" y="241"/>
                  <a:pt x="231" y="241"/>
                  <a:pt x="232" y="240"/>
                </a:cubicBezTo>
                <a:cubicBezTo>
                  <a:pt x="234" y="236"/>
                  <a:pt x="234" y="236"/>
                  <a:pt x="234" y="236"/>
                </a:cubicBezTo>
                <a:cubicBezTo>
                  <a:pt x="234" y="236"/>
                  <a:pt x="233" y="235"/>
                  <a:pt x="234" y="235"/>
                </a:cubicBezTo>
                <a:cubicBezTo>
                  <a:pt x="235" y="234"/>
                  <a:pt x="236" y="234"/>
                  <a:pt x="237" y="233"/>
                </a:cubicBezTo>
                <a:cubicBezTo>
                  <a:pt x="238" y="231"/>
                  <a:pt x="238" y="230"/>
                  <a:pt x="238" y="229"/>
                </a:cubicBezTo>
                <a:cubicBezTo>
                  <a:pt x="238" y="229"/>
                  <a:pt x="240" y="229"/>
                  <a:pt x="240" y="229"/>
                </a:cubicBezTo>
                <a:cubicBezTo>
                  <a:pt x="241" y="229"/>
                  <a:pt x="241" y="230"/>
                  <a:pt x="241" y="231"/>
                </a:cubicBezTo>
                <a:cubicBezTo>
                  <a:pt x="240" y="232"/>
                  <a:pt x="238" y="235"/>
                  <a:pt x="237" y="237"/>
                </a:cubicBezTo>
                <a:cubicBezTo>
                  <a:pt x="236" y="239"/>
                  <a:pt x="233" y="242"/>
                  <a:pt x="232" y="241"/>
                </a:cubicBezTo>
                <a:close/>
                <a:moveTo>
                  <a:pt x="234" y="253"/>
                </a:moveTo>
                <a:cubicBezTo>
                  <a:pt x="234" y="255"/>
                  <a:pt x="235" y="255"/>
                  <a:pt x="233" y="257"/>
                </a:cubicBezTo>
                <a:cubicBezTo>
                  <a:pt x="233" y="257"/>
                  <a:pt x="233" y="258"/>
                  <a:pt x="232" y="258"/>
                </a:cubicBezTo>
                <a:cubicBezTo>
                  <a:pt x="231" y="256"/>
                  <a:pt x="232" y="255"/>
                  <a:pt x="234" y="253"/>
                </a:cubicBezTo>
                <a:close/>
                <a:moveTo>
                  <a:pt x="630" y="36"/>
                </a:moveTo>
                <a:cubicBezTo>
                  <a:pt x="634" y="34"/>
                  <a:pt x="634" y="34"/>
                  <a:pt x="639" y="34"/>
                </a:cubicBezTo>
                <a:cubicBezTo>
                  <a:pt x="640" y="34"/>
                  <a:pt x="645" y="35"/>
                  <a:pt x="645" y="35"/>
                </a:cubicBezTo>
                <a:cubicBezTo>
                  <a:pt x="646" y="34"/>
                  <a:pt x="648" y="33"/>
                  <a:pt x="648" y="33"/>
                </a:cubicBezTo>
                <a:cubicBezTo>
                  <a:pt x="653" y="33"/>
                  <a:pt x="653" y="33"/>
                  <a:pt x="653" y="33"/>
                </a:cubicBezTo>
                <a:cubicBezTo>
                  <a:pt x="656" y="33"/>
                  <a:pt x="656" y="33"/>
                  <a:pt x="656" y="33"/>
                </a:cubicBezTo>
                <a:cubicBezTo>
                  <a:pt x="657" y="35"/>
                  <a:pt x="655" y="36"/>
                  <a:pt x="654" y="36"/>
                </a:cubicBezTo>
                <a:cubicBezTo>
                  <a:pt x="653" y="37"/>
                  <a:pt x="650" y="37"/>
                  <a:pt x="649" y="37"/>
                </a:cubicBezTo>
                <a:cubicBezTo>
                  <a:pt x="647" y="37"/>
                  <a:pt x="645" y="36"/>
                  <a:pt x="642" y="36"/>
                </a:cubicBezTo>
                <a:cubicBezTo>
                  <a:pt x="638" y="36"/>
                  <a:pt x="639" y="35"/>
                  <a:pt x="635" y="36"/>
                </a:cubicBezTo>
                <a:cubicBezTo>
                  <a:pt x="634" y="36"/>
                  <a:pt x="635" y="37"/>
                  <a:pt x="633" y="37"/>
                </a:cubicBezTo>
                <a:cubicBezTo>
                  <a:pt x="630" y="37"/>
                  <a:pt x="630" y="36"/>
                  <a:pt x="630" y="36"/>
                </a:cubicBezTo>
                <a:close/>
                <a:moveTo>
                  <a:pt x="686" y="36"/>
                </a:moveTo>
                <a:cubicBezTo>
                  <a:pt x="684" y="35"/>
                  <a:pt x="684" y="35"/>
                  <a:pt x="684" y="35"/>
                </a:cubicBezTo>
                <a:cubicBezTo>
                  <a:pt x="684" y="35"/>
                  <a:pt x="686" y="34"/>
                  <a:pt x="686" y="34"/>
                </a:cubicBezTo>
                <a:cubicBezTo>
                  <a:pt x="686" y="34"/>
                  <a:pt x="689" y="35"/>
                  <a:pt x="690" y="35"/>
                </a:cubicBezTo>
                <a:cubicBezTo>
                  <a:pt x="692" y="35"/>
                  <a:pt x="693" y="35"/>
                  <a:pt x="693" y="35"/>
                </a:cubicBezTo>
                <a:cubicBezTo>
                  <a:pt x="696" y="34"/>
                  <a:pt x="696" y="34"/>
                  <a:pt x="697" y="31"/>
                </a:cubicBezTo>
                <a:cubicBezTo>
                  <a:pt x="697" y="31"/>
                  <a:pt x="693" y="31"/>
                  <a:pt x="690" y="31"/>
                </a:cubicBezTo>
                <a:cubicBezTo>
                  <a:pt x="684" y="31"/>
                  <a:pt x="689" y="28"/>
                  <a:pt x="693" y="28"/>
                </a:cubicBezTo>
                <a:cubicBezTo>
                  <a:pt x="695" y="28"/>
                  <a:pt x="696" y="28"/>
                  <a:pt x="701" y="29"/>
                </a:cubicBezTo>
                <a:cubicBezTo>
                  <a:pt x="705" y="29"/>
                  <a:pt x="703" y="29"/>
                  <a:pt x="705" y="29"/>
                </a:cubicBezTo>
                <a:cubicBezTo>
                  <a:pt x="706" y="29"/>
                  <a:pt x="705" y="31"/>
                  <a:pt x="706" y="31"/>
                </a:cubicBezTo>
                <a:cubicBezTo>
                  <a:pt x="706" y="32"/>
                  <a:pt x="706" y="32"/>
                  <a:pt x="709" y="31"/>
                </a:cubicBezTo>
                <a:cubicBezTo>
                  <a:pt x="712" y="31"/>
                  <a:pt x="711" y="31"/>
                  <a:pt x="712" y="31"/>
                </a:cubicBezTo>
                <a:cubicBezTo>
                  <a:pt x="713" y="31"/>
                  <a:pt x="713" y="34"/>
                  <a:pt x="715" y="33"/>
                </a:cubicBezTo>
                <a:cubicBezTo>
                  <a:pt x="715" y="33"/>
                  <a:pt x="716" y="33"/>
                  <a:pt x="717" y="33"/>
                </a:cubicBezTo>
                <a:cubicBezTo>
                  <a:pt x="717" y="33"/>
                  <a:pt x="718" y="35"/>
                  <a:pt x="717" y="35"/>
                </a:cubicBezTo>
                <a:cubicBezTo>
                  <a:pt x="717" y="36"/>
                  <a:pt x="715" y="37"/>
                  <a:pt x="715" y="37"/>
                </a:cubicBezTo>
                <a:cubicBezTo>
                  <a:pt x="715" y="41"/>
                  <a:pt x="715" y="40"/>
                  <a:pt x="714" y="41"/>
                </a:cubicBezTo>
                <a:cubicBezTo>
                  <a:pt x="713" y="41"/>
                  <a:pt x="707" y="41"/>
                  <a:pt x="705" y="41"/>
                </a:cubicBezTo>
                <a:cubicBezTo>
                  <a:pt x="702" y="40"/>
                  <a:pt x="706" y="38"/>
                  <a:pt x="702" y="37"/>
                </a:cubicBezTo>
                <a:cubicBezTo>
                  <a:pt x="702" y="37"/>
                  <a:pt x="696" y="36"/>
                  <a:pt x="696" y="36"/>
                </a:cubicBezTo>
                <a:cubicBezTo>
                  <a:pt x="696" y="36"/>
                  <a:pt x="693" y="36"/>
                  <a:pt x="689" y="36"/>
                </a:cubicBezTo>
                <a:cubicBezTo>
                  <a:pt x="687" y="36"/>
                  <a:pt x="687" y="36"/>
                  <a:pt x="686" y="36"/>
                </a:cubicBezTo>
                <a:close/>
                <a:moveTo>
                  <a:pt x="721" y="61"/>
                </a:moveTo>
                <a:cubicBezTo>
                  <a:pt x="719" y="64"/>
                  <a:pt x="720" y="67"/>
                  <a:pt x="717" y="67"/>
                </a:cubicBezTo>
                <a:cubicBezTo>
                  <a:pt x="714" y="67"/>
                  <a:pt x="709" y="67"/>
                  <a:pt x="707" y="66"/>
                </a:cubicBezTo>
                <a:cubicBezTo>
                  <a:pt x="704" y="65"/>
                  <a:pt x="705" y="66"/>
                  <a:pt x="702" y="64"/>
                </a:cubicBezTo>
                <a:cubicBezTo>
                  <a:pt x="699" y="64"/>
                  <a:pt x="703" y="61"/>
                  <a:pt x="705" y="61"/>
                </a:cubicBezTo>
                <a:cubicBezTo>
                  <a:pt x="706" y="61"/>
                  <a:pt x="707" y="60"/>
                  <a:pt x="708" y="60"/>
                </a:cubicBezTo>
                <a:cubicBezTo>
                  <a:pt x="709" y="60"/>
                  <a:pt x="708" y="59"/>
                  <a:pt x="712" y="59"/>
                </a:cubicBezTo>
                <a:cubicBezTo>
                  <a:pt x="716" y="59"/>
                  <a:pt x="715" y="59"/>
                  <a:pt x="717" y="59"/>
                </a:cubicBezTo>
                <a:cubicBezTo>
                  <a:pt x="719" y="59"/>
                  <a:pt x="722" y="60"/>
                  <a:pt x="722" y="60"/>
                </a:cubicBezTo>
                <a:cubicBezTo>
                  <a:pt x="722" y="60"/>
                  <a:pt x="724" y="59"/>
                  <a:pt x="721" y="61"/>
                </a:cubicBezTo>
                <a:close/>
                <a:moveTo>
                  <a:pt x="721" y="47"/>
                </a:moveTo>
                <a:cubicBezTo>
                  <a:pt x="723" y="47"/>
                  <a:pt x="725" y="47"/>
                  <a:pt x="727" y="47"/>
                </a:cubicBezTo>
                <a:cubicBezTo>
                  <a:pt x="728" y="47"/>
                  <a:pt x="735" y="48"/>
                  <a:pt x="737" y="48"/>
                </a:cubicBezTo>
                <a:cubicBezTo>
                  <a:pt x="738" y="48"/>
                  <a:pt x="740" y="47"/>
                  <a:pt x="739" y="48"/>
                </a:cubicBezTo>
                <a:cubicBezTo>
                  <a:pt x="739" y="50"/>
                  <a:pt x="737" y="50"/>
                  <a:pt x="736" y="51"/>
                </a:cubicBezTo>
                <a:cubicBezTo>
                  <a:pt x="737" y="51"/>
                  <a:pt x="732" y="53"/>
                  <a:pt x="731" y="53"/>
                </a:cubicBezTo>
                <a:cubicBezTo>
                  <a:pt x="728" y="54"/>
                  <a:pt x="726" y="53"/>
                  <a:pt x="723" y="53"/>
                </a:cubicBezTo>
                <a:cubicBezTo>
                  <a:pt x="722" y="53"/>
                  <a:pt x="722" y="55"/>
                  <a:pt x="718" y="52"/>
                </a:cubicBezTo>
                <a:cubicBezTo>
                  <a:pt x="715" y="50"/>
                  <a:pt x="716" y="50"/>
                  <a:pt x="716" y="49"/>
                </a:cubicBezTo>
                <a:cubicBezTo>
                  <a:pt x="717" y="48"/>
                  <a:pt x="719" y="47"/>
                  <a:pt x="721" y="47"/>
                </a:cubicBezTo>
                <a:close/>
                <a:moveTo>
                  <a:pt x="686" y="36"/>
                </a:moveTo>
                <a:cubicBezTo>
                  <a:pt x="686" y="36"/>
                  <a:pt x="686" y="36"/>
                  <a:pt x="686" y="36"/>
                </a:cubicBezTo>
                <a:cubicBezTo>
                  <a:pt x="686" y="36"/>
                  <a:pt x="686" y="36"/>
                  <a:pt x="686" y="36"/>
                </a:cubicBezTo>
                <a:close/>
                <a:moveTo>
                  <a:pt x="668" y="46"/>
                </a:moveTo>
                <a:cubicBezTo>
                  <a:pt x="667" y="46"/>
                  <a:pt x="667" y="45"/>
                  <a:pt x="667" y="45"/>
                </a:cubicBezTo>
                <a:cubicBezTo>
                  <a:pt x="667" y="43"/>
                  <a:pt x="670" y="40"/>
                  <a:pt x="672" y="41"/>
                </a:cubicBezTo>
                <a:cubicBezTo>
                  <a:pt x="673" y="42"/>
                  <a:pt x="672" y="43"/>
                  <a:pt x="672" y="44"/>
                </a:cubicBezTo>
                <a:cubicBezTo>
                  <a:pt x="672" y="44"/>
                  <a:pt x="671" y="46"/>
                  <a:pt x="670" y="46"/>
                </a:cubicBezTo>
                <a:cubicBezTo>
                  <a:pt x="669" y="46"/>
                  <a:pt x="668" y="46"/>
                  <a:pt x="668" y="46"/>
                </a:cubicBezTo>
                <a:close/>
                <a:moveTo>
                  <a:pt x="727" y="38"/>
                </a:moveTo>
                <a:cubicBezTo>
                  <a:pt x="724" y="37"/>
                  <a:pt x="724" y="37"/>
                  <a:pt x="724" y="37"/>
                </a:cubicBezTo>
                <a:cubicBezTo>
                  <a:pt x="723" y="33"/>
                  <a:pt x="728" y="35"/>
                  <a:pt x="729" y="34"/>
                </a:cubicBezTo>
                <a:cubicBezTo>
                  <a:pt x="729" y="33"/>
                  <a:pt x="726" y="32"/>
                  <a:pt x="729" y="32"/>
                </a:cubicBezTo>
                <a:cubicBezTo>
                  <a:pt x="733" y="33"/>
                  <a:pt x="733" y="33"/>
                  <a:pt x="735" y="33"/>
                </a:cubicBezTo>
                <a:cubicBezTo>
                  <a:pt x="736" y="33"/>
                  <a:pt x="736" y="32"/>
                  <a:pt x="738" y="33"/>
                </a:cubicBezTo>
                <a:cubicBezTo>
                  <a:pt x="740" y="34"/>
                  <a:pt x="742" y="35"/>
                  <a:pt x="742" y="35"/>
                </a:cubicBezTo>
                <a:cubicBezTo>
                  <a:pt x="742" y="35"/>
                  <a:pt x="741" y="37"/>
                  <a:pt x="741" y="37"/>
                </a:cubicBezTo>
                <a:cubicBezTo>
                  <a:pt x="740" y="38"/>
                  <a:pt x="741" y="38"/>
                  <a:pt x="738" y="38"/>
                </a:cubicBezTo>
                <a:cubicBezTo>
                  <a:pt x="734" y="39"/>
                  <a:pt x="731" y="38"/>
                  <a:pt x="729" y="40"/>
                </a:cubicBezTo>
                <a:cubicBezTo>
                  <a:pt x="725" y="40"/>
                  <a:pt x="725" y="40"/>
                  <a:pt x="725" y="40"/>
                </a:cubicBezTo>
                <a:lnTo>
                  <a:pt x="727" y="38"/>
                </a:lnTo>
                <a:close/>
                <a:moveTo>
                  <a:pt x="665" y="54"/>
                </a:moveTo>
                <a:cubicBezTo>
                  <a:pt x="661" y="54"/>
                  <a:pt x="659" y="55"/>
                  <a:pt x="659" y="55"/>
                </a:cubicBezTo>
                <a:cubicBezTo>
                  <a:pt x="660" y="54"/>
                  <a:pt x="661" y="53"/>
                  <a:pt x="662" y="52"/>
                </a:cubicBezTo>
                <a:cubicBezTo>
                  <a:pt x="663" y="52"/>
                  <a:pt x="662" y="51"/>
                  <a:pt x="663" y="51"/>
                </a:cubicBezTo>
                <a:cubicBezTo>
                  <a:pt x="664" y="50"/>
                  <a:pt x="664" y="51"/>
                  <a:pt x="665" y="51"/>
                </a:cubicBezTo>
                <a:cubicBezTo>
                  <a:pt x="668" y="51"/>
                  <a:pt x="669" y="51"/>
                  <a:pt x="672" y="52"/>
                </a:cubicBezTo>
                <a:cubicBezTo>
                  <a:pt x="672" y="52"/>
                  <a:pt x="672" y="53"/>
                  <a:pt x="672" y="53"/>
                </a:cubicBezTo>
                <a:cubicBezTo>
                  <a:pt x="672" y="53"/>
                  <a:pt x="671" y="55"/>
                  <a:pt x="669" y="55"/>
                </a:cubicBezTo>
                <a:cubicBezTo>
                  <a:pt x="668" y="55"/>
                  <a:pt x="669" y="54"/>
                  <a:pt x="665" y="54"/>
                </a:cubicBezTo>
                <a:close/>
                <a:moveTo>
                  <a:pt x="675" y="56"/>
                </a:moveTo>
                <a:cubicBezTo>
                  <a:pt x="676" y="56"/>
                  <a:pt x="675" y="55"/>
                  <a:pt x="675" y="54"/>
                </a:cubicBezTo>
                <a:cubicBezTo>
                  <a:pt x="675" y="54"/>
                  <a:pt x="678" y="52"/>
                  <a:pt x="680" y="52"/>
                </a:cubicBezTo>
                <a:cubicBezTo>
                  <a:pt x="681" y="52"/>
                  <a:pt x="681" y="52"/>
                  <a:pt x="681" y="52"/>
                </a:cubicBezTo>
                <a:cubicBezTo>
                  <a:pt x="683" y="53"/>
                  <a:pt x="684" y="54"/>
                  <a:pt x="685" y="54"/>
                </a:cubicBezTo>
                <a:cubicBezTo>
                  <a:pt x="686" y="54"/>
                  <a:pt x="688" y="53"/>
                  <a:pt x="688" y="52"/>
                </a:cubicBezTo>
                <a:cubicBezTo>
                  <a:pt x="687" y="51"/>
                  <a:pt x="685" y="50"/>
                  <a:pt x="684" y="49"/>
                </a:cubicBezTo>
                <a:cubicBezTo>
                  <a:pt x="691" y="49"/>
                  <a:pt x="691" y="49"/>
                  <a:pt x="691" y="49"/>
                </a:cubicBezTo>
                <a:cubicBezTo>
                  <a:pt x="692" y="49"/>
                  <a:pt x="694" y="51"/>
                  <a:pt x="697" y="51"/>
                </a:cubicBezTo>
                <a:cubicBezTo>
                  <a:pt x="698" y="51"/>
                  <a:pt x="699" y="53"/>
                  <a:pt x="699" y="52"/>
                </a:cubicBezTo>
                <a:cubicBezTo>
                  <a:pt x="701" y="51"/>
                  <a:pt x="701" y="50"/>
                  <a:pt x="702" y="49"/>
                </a:cubicBezTo>
                <a:cubicBezTo>
                  <a:pt x="702" y="49"/>
                  <a:pt x="705" y="50"/>
                  <a:pt x="706" y="50"/>
                </a:cubicBezTo>
                <a:cubicBezTo>
                  <a:pt x="707" y="51"/>
                  <a:pt x="707" y="53"/>
                  <a:pt x="706" y="54"/>
                </a:cubicBezTo>
                <a:cubicBezTo>
                  <a:pt x="705" y="55"/>
                  <a:pt x="704" y="56"/>
                  <a:pt x="704" y="57"/>
                </a:cubicBezTo>
                <a:cubicBezTo>
                  <a:pt x="704" y="59"/>
                  <a:pt x="700" y="60"/>
                  <a:pt x="698" y="60"/>
                </a:cubicBezTo>
                <a:cubicBezTo>
                  <a:pt x="697" y="60"/>
                  <a:pt x="695" y="62"/>
                  <a:pt x="694" y="62"/>
                </a:cubicBezTo>
                <a:cubicBezTo>
                  <a:pt x="692" y="62"/>
                  <a:pt x="691" y="63"/>
                  <a:pt x="690" y="63"/>
                </a:cubicBezTo>
                <a:cubicBezTo>
                  <a:pt x="689" y="63"/>
                  <a:pt x="685" y="65"/>
                  <a:pt x="680" y="65"/>
                </a:cubicBezTo>
                <a:cubicBezTo>
                  <a:pt x="679" y="65"/>
                  <a:pt x="675" y="63"/>
                  <a:pt x="675" y="63"/>
                </a:cubicBezTo>
                <a:cubicBezTo>
                  <a:pt x="675" y="62"/>
                  <a:pt x="676" y="62"/>
                  <a:pt x="676" y="61"/>
                </a:cubicBezTo>
                <a:cubicBezTo>
                  <a:pt x="676" y="61"/>
                  <a:pt x="680" y="59"/>
                  <a:pt x="681" y="59"/>
                </a:cubicBezTo>
                <a:cubicBezTo>
                  <a:pt x="681" y="59"/>
                  <a:pt x="682" y="57"/>
                  <a:pt x="682" y="57"/>
                </a:cubicBezTo>
                <a:cubicBezTo>
                  <a:pt x="676" y="58"/>
                  <a:pt x="676" y="58"/>
                  <a:pt x="676" y="58"/>
                </a:cubicBezTo>
                <a:cubicBezTo>
                  <a:pt x="676" y="58"/>
                  <a:pt x="673" y="58"/>
                  <a:pt x="672" y="58"/>
                </a:cubicBezTo>
                <a:cubicBezTo>
                  <a:pt x="671" y="59"/>
                  <a:pt x="669" y="59"/>
                  <a:pt x="665" y="59"/>
                </a:cubicBezTo>
                <a:cubicBezTo>
                  <a:pt x="662" y="59"/>
                  <a:pt x="663" y="58"/>
                  <a:pt x="663" y="57"/>
                </a:cubicBezTo>
                <a:cubicBezTo>
                  <a:pt x="664" y="57"/>
                  <a:pt x="666" y="57"/>
                  <a:pt x="667" y="56"/>
                </a:cubicBezTo>
                <a:cubicBezTo>
                  <a:pt x="669" y="55"/>
                  <a:pt x="670" y="56"/>
                  <a:pt x="670" y="56"/>
                </a:cubicBezTo>
                <a:cubicBezTo>
                  <a:pt x="672" y="56"/>
                  <a:pt x="674" y="57"/>
                  <a:pt x="675" y="56"/>
                </a:cubicBezTo>
                <a:close/>
                <a:moveTo>
                  <a:pt x="695" y="39"/>
                </a:moveTo>
                <a:cubicBezTo>
                  <a:pt x="695" y="39"/>
                  <a:pt x="702" y="40"/>
                  <a:pt x="702" y="40"/>
                </a:cubicBezTo>
                <a:cubicBezTo>
                  <a:pt x="702" y="40"/>
                  <a:pt x="702" y="41"/>
                  <a:pt x="700" y="41"/>
                </a:cubicBezTo>
                <a:cubicBezTo>
                  <a:pt x="697" y="41"/>
                  <a:pt x="696" y="41"/>
                  <a:pt x="694" y="41"/>
                </a:cubicBezTo>
                <a:cubicBezTo>
                  <a:pt x="693" y="41"/>
                  <a:pt x="691" y="42"/>
                  <a:pt x="692" y="41"/>
                </a:cubicBezTo>
                <a:cubicBezTo>
                  <a:pt x="692" y="41"/>
                  <a:pt x="695" y="39"/>
                  <a:pt x="695" y="39"/>
                </a:cubicBezTo>
                <a:close/>
                <a:moveTo>
                  <a:pt x="741" y="41"/>
                </a:moveTo>
                <a:cubicBezTo>
                  <a:pt x="743" y="41"/>
                  <a:pt x="746" y="40"/>
                  <a:pt x="747" y="41"/>
                </a:cubicBezTo>
                <a:cubicBezTo>
                  <a:pt x="747" y="41"/>
                  <a:pt x="749" y="42"/>
                  <a:pt x="749" y="42"/>
                </a:cubicBezTo>
                <a:cubicBezTo>
                  <a:pt x="747" y="43"/>
                  <a:pt x="744" y="43"/>
                  <a:pt x="742" y="44"/>
                </a:cubicBezTo>
                <a:cubicBezTo>
                  <a:pt x="741" y="44"/>
                  <a:pt x="737" y="43"/>
                  <a:pt x="736" y="43"/>
                </a:cubicBezTo>
                <a:cubicBezTo>
                  <a:pt x="734" y="43"/>
                  <a:pt x="731" y="44"/>
                  <a:pt x="731" y="44"/>
                </a:cubicBezTo>
                <a:cubicBezTo>
                  <a:pt x="728" y="44"/>
                  <a:pt x="728" y="44"/>
                  <a:pt x="728" y="44"/>
                </a:cubicBezTo>
                <a:cubicBezTo>
                  <a:pt x="729" y="43"/>
                  <a:pt x="729" y="43"/>
                  <a:pt x="729" y="43"/>
                </a:cubicBezTo>
                <a:cubicBezTo>
                  <a:pt x="730" y="43"/>
                  <a:pt x="733" y="42"/>
                  <a:pt x="734" y="42"/>
                </a:cubicBezTo>
                <a:cubicBezTo>
                  <a:pt x="737" y="42"/>
                  <a:pt x="738" y="42"/>
                  <a:pt x="741" y="41"/>
                </a:cubicBezTo>
                <a:close/>
                <a:moveTo>
                  <a:pt x="761" y="45"/>
                </a:moveTo>
                <a:cubicBezTo>
                  <a:pt x="758" y="45"/>
                  <a:pt x="758" y="45"/>
                  <a:pt x="761" y="43"/>
                </a:cubicBezTo>
                <a:cubicBezTo>
                  <a:pt x="762" y="43"/>
                  <a:pt x="766" y="42"/>
                  <a:pt x="766" y="43"/>
                </a:cubicBezTo>
                <a:cubicBezTo>
                  <a:pt x="767" y="43"/>
                  <a:pt x="769" y="44"/>
                  <a:pt x="768" y="44"/>
                </a:cubicBezTo>
                <a:cubicBezTo>
                  <a:pt x="767" y="44"/>
                  <a:pt x="767" y="45"/>
                  <a:pt x="766" y="45"/>
                </a:cubicBezTo>
                <a:cubicBezTo>
                  <a:pt x="764" y="45"/>
                  <a:pt x="763" y="45"/>
                  <a:pt x="761" y="45"/>
                </a:cubicBezTo>
                <a:close/>
                <a:moveTo>
                  <a:pt x="756" y="49"/>
                </a:moveTo>
                <a:cubicBezTo>
                  <a:pt x="758" y="49"/>
                  <a:pt x="761" y="49"/>
                  <a:pt x="761" y="49"/>
                </a:cubicBezTo>
                <a:cubicBezTo>
                  <a:pt x="760" y="50"/>
                  <a:pt x="760" y="50"/>
                  <a:pt x="760" y="50"/>
                </a:cubicBezTo>
                <a:cubicBezTo>
                  <a:pt x="759" y="52"/>
                  <a:pt x="757" y="52"/>
                  <a:pt x="756" y="51"/>
                </a:cubicBezTo>
                <a:cubicBezTo>
                  <a:pt x="756" y="51"/>
                  <a:pt x="754" y="49"/>
                  <a:pt x="756" y="49"/>
                </a:cubicBezTo>
                <a:close/>
                <a:moveTo>
                  <a:pt x="752" y="23"/>
                </a:moveTo>
                <a:cubicBezTo>
                  <a:pt x="757" y="23"/>
                  <a:pt x="754" y="23"/>
                  <a:pt x="757" y="23"/>
                </a:cubicBezTo>
                <a:cubicBezTo>
                  <a:pt x="758" y="24"/>
                  <a:pt x="759" y="24"/>
                  <a:pt x="759" y="24"/>
                </a:cubicBezTo>
                <a:cubicBezTo>
                  <a:pt x="759" y="24"/>
                  <a:pt x="760" y="23"/>
                  <a:pt x="760" y="23"/>
                </a:cubicBezTo>
                <a:cubicBezTo>
                  <a:pt x="761" y="23"/>
                  <a:pt x="759" y="22"/>
                  <a:pt x="758" y="22"/>
                </a:cubicBezTo>
                <a:cubicBezTo>
                  <a:pt x="758" y="22"/>
                  <a:pt x="756" y="21"/>
                  <a:pt x="756" y="21"/>
                </a:cubicBezTo>
                <a:cubicBezTo>
                  <a:pt x="756" y="21"/>
                  <a:pt x="754" y="20"/>
                  <a:pt x="756" y="20"/>
                </a:cubicBezTo>
                <a:cubicBezTo>
                  <a:pt x="758" y="20"/>
                  <a:pt x="758" y="19"/>
                  <a:pt x="759" y="20"/>
                </a:cubicBezTo>
                <a:cubicBezTo>
                  <a:pt x="761" y="21"/>
                  <a:pt x="760" y="20"/>
                  <a:pt x="763" y="19"/>
                </a:cubicBezTo>
                <a:cubicBezTo>
                  <a:pt x="763" y="19"/>
                  <a:pt x="763" y="19"/>
                  <a:pt x="764" y="19"/>
                </a:cubicBezTo>
                <a:cubicBezTo>
                  <a:pt x="766" y="19"/>
                  <a:pt x="766" y="19"/>
                  <a:pt x="767" y="19"/>
                </a:cubicBezTo>
                <a:cubicBezTo>
                  <a:pt x="770" y="19"/>
                  <a:pt x="770" y="20"/>
                  <a:pt x="772" y="19"/>
                </a:cubicBezTo>
                <a:cubicBezTo>
                  <a:pt x="771" y="18"/>
                  <a:pt x="770" y="18"/>
                  <a:pt x="769" y="18"/>
                </a:cubicBezTo>
                <a:cubicBezTo>
                  <a:pt x="770" y="17"/>
                  <a:pt x="770" y="17"/>
                  <a:pt x="770" y="17"/>
                </a:cubicBezTo>
                <a:cubicBezTo>
                  <a:pt x="771" y="16"/>
                  <a:pt x="771" y="16"/>
                  <a:pt x="771" y="16"/>
                </a:cubicBezTo>
                <a:cubicBezTo>
                  <a:pt x="772" y="16"/>
                  <a:pt x="777" y="16"/>
                  <a:pt x="778" y="16"/>
                </a:cubicBezTo>
                <a:cubicBezTo>
                  <a:pt x="778" y="16"/>
                  <a:pt x="780" y="14"/>
                  <a:pt x="781" y="14"/>
                </a:cubicBezTo>
                <a:cubicBezTo>
                  <a:pt x="781" y="14"/>
                  <a:pt x="784" y="14"/>
                  <a:pt x="784" y="14"/>
                </a:cubicBezTo>
                <a:cubicBezTo>
                  <a:pt x="789" y="14"/>
                  <a:pt x="789" y="14"/>
                  <a:pt x="789" y="14"/>
                </a:cubicBezTo>
                <a:cubicBezTo>
                  <a:pt x="792" y="14"/>
                  <a:pt x="791" y="13"/>
                  <a:pt x="794" y="16"/>
                </a:cubicBezTo>
                <a:cubicBezTo>
                  <a:pt x="794" y="17"/>
                  <a:pt x="796" y="19"/>
                  <a:pt x="796" y="19"/>
                </a:cubicBezTo>
                <a:cubicBezTo>
                  <a:pt x="797" y="20"/>
                  <a:pt x="801" y="20"/>
                  <a:pt x="801" y="20"/>
                </a:cubicBezTo>
                <a:cubicBezTo>
                  <a:pt x="802" y="20"/>
                  <a:pt x="802" y="20"/>
                  <a:pt x="802" y="20"/>
                </a:cubicBezTo>
                <a:cubicBezTo>
                  <a:pt x="799" y="23"/>
                  <a:pt x="804" y="22"/>
                  <a:pt x="804" y="22"/>
                </a:cubicBezTo>
                <a:cubicBezTo>
                  <a:pt x="804" y="22"/>
                  <a:pt x="802" y="22"/>
                  <a:pt x="804" y="21"/>
                </a:cubicBezTo>
                <a:cubicBezTo>
                  <a:pt x="806" y="21"/>
                  <a:pt x="810" y="20"/>
                  <a:pt x="810" y="21"/>
                </a:cubicBezTo>
                <a:cubicBezTo>
                  <a:pt x="810" y="21"/>
                  <a:pt x="810" y="23"/>
                  <a:pt x="810" y="23"/>
                </a:cubicBezTo>
                <a:cubicBezTo>
                  <a:pt x="810" y="23"/>
                  <a:pt x="810" y="23"/>
                  <a:pt x="810" y="24"/>
                </a:cubicBezTo>
                <a:cubicBezTo>
                  <a:pt x="809" y="25"/>
                  <a:pt x="807" y="26"/>
                  <a:pt x="808" y="26"/>
                </a:cubicBezTo>
                <a:cubicBezTo>
                  <a:pt x="810" y="27"/>
                  <a:pt x="811" y="25"/>
                  <a:pt x="813" y="25"/>
                </a:cubicBezTo>
                <a:cubicBezTo>
                  <a:pt x="814" y="24"/>
                  <a:pt x="814" y="24"/>
                  <a:pt x="814" y="24"/>
                </a:cubicBezTo>
                <a:cubicBezTo>
                  <a:pt x="816" y="27"/>
                  <a:pt x="816" y="27"/>
                  <a:pt x="816" y="27"/>
                </a:cubicBezTo>
                <a:cubicBezTo>
                  <a:pt x="815" y="28"/>
                  <a:pt x="815" y="28"/>
                  <a:pt x="815" y="28"/>
                </a:cubicBezTo>
                <a:cubicBezTo>
                  <a:pt x="815" y="28"/>
                  <a:pt x="816" y="29"/>
                  <a:pt x="815" y="29"/>
                </a:cubicBezTo>
                <a:cubicBezTo>
                  <a:pt x="815" y="29"/>
                  <a:pt x="812" y="30"/>
                  <a:pt x="810" y="30"/>
                </a:cubicBezTo>
                <a:cubicBezTo>
                  <a:pt x="806" y="30"/>
                  <a:pt x="806" y="29"/>
                  <a:pt x="804" y="31"/>
                </a:cubicBezTo>
                <a:cubicBezTo>
                  <a:pt x="802" y="32"/>
                  <a:pt x="802" y="31"/>
                  <a:pt x="800" y="31"/>
                </a:cubicBezTo>
                <a:cubicBezTo>
                  <a:pt x="799" y="32"/>
                  <a:pt x="795" y="33"/>
                  <a:pt x="795" y="33"/>
                </a:cubicBezTo>
                <a:cubicBezTo>
                  <a:pt x="793" y="34"/>
                  <a:pt x="793" y="34"/>
                  <a:pt x="793" y="34"/>
                </a:cubicBezTo>
                <a:cubicBezTo>
                  <a:pt x="794" y="32"/>
                  <a:pt x="794" y="32"/>
                  <a:pt x="794" y="32"/>
                </a:cubicBezTo>
                <a:cubicBezTo>
                  <a:pt x="794" y="31"/>
                  <a:pt x="794" y="31"/>
                  <a:pt x="794" y="31"/>
                </a:cubicBezTo>
                <a:cubicBezTo>
                  <a:pt x="793" y="32"/>
                  <a:pt x="792" y="32"/>
                  <a:pt x="791" y="33"/>
                </a:cubicBezTo>
                <a:cubicBezTo>
                  <a:pt x="791" y="34"/>
                  <a:pt x="792" y="34"/>
                  <a:pt x="791" y="34"/>
                </a:cubicBezTo>
                <a:cubicBezTo>
                  <a:pt x="790" y="35"/>
                  <a:pt x="790" y="36"/>
                  <a:pt x="787" y="35"/>
                </a:cubicBezTo>
                <a:cubicBezTo>
                  <a:pt x="787" y="35"/>
                  <a:pt x="787" y="34"/>
                  <a:pt x="786" y="34"/>
                </a:cubicBezTo>
                <a:cubicBezTo>
                  <a:pt x="785" y="37"/>
                  <a:pt x="784" y="36"/>
                  <a:pt x="784" y="37"/>
                </a:cubicBezTo>
                <a:cubicBezTo>
                  <a:pt x="783" y="37"/>
                  <a:pt x="780" y="38"/>
                  <a:pt x="780" y="38"/>
                </a:cubicBezTo>
                <a:cubicBezTo>
                  <a:pt x="780" y="38"/>
                  <a:pt x="780" y="35"/>
                  <a:pt x="779" y="35"/>
                </a:cubicBezTo>
                <a:cubicBezTo>
                  <a:pt x="776" y="35"/>
                  <a:pt x="778" y="35"/>
                  <a:pt x="777" y="37"/>
                </a:cubicBezTo>
                <a:cubicBezTo>
                  <a:pt x="777" y="40"/>
                  <a:pt x="774" y="37"/>
                  <a:pt x="773" y="36"/>
                </a:cubicBezTo>
                <a:cubicBezTo>
                  <a:pt x="773" y="36"/>
                  <a:pt x="772" y="37"/>
                  <a:pt x="772" y="37"/>
                </a:cubicBezTo>
                <a:cubicBezTo>
                  <a:pt x="772" y="37"/>
                  <a:pt x="771" y="37"/>
                  <a:pt x="771" y="38"/>
                </a:cubicBezTo>
                <a:cubicBezTo>
                  <a:pt x="771" y="39"/>
                  <a:pt x="765" y="37"/>
                  <a:pt x="763" y="37"/>
                </a:cubicBezTo>
                <a:cubicBezTo>
                  <a:pt x="762" y="37"/>
                  <a:pt x="762" y="37"/>
                  <a:pt x="761" y="37"/>
                </a:cubicBezTo>
                <a:cubicBezTo>
                  <a:pt x="761" y="37"/>
                  <a:pt x="761" y="37"/>
                  <a:pt x="760" y="36"/>
                </a:cubicBezTo>
                <a:cubicBezTo>
                  <a:pt x="760" y="35"/>
                  <a:pt x="761" y="35"/>
                  <a:pt x="762" y="35"/>
                </a:cubicBezTo>
                <a:cubicBezTo>
                  <a:pt x="762" y="35"/>
                  <a:pt x="763" y="35"/>
                  <a:pt x="762" y="35"/>
                </a:cubicBezTo>
                <a:cubicBezTo>
                  <a:pt x="759" y="33"/>
                  <a:pt x="760" y="33"/>
                  <a:pt x="757" y="33"/>
                </a:cubicBezTo>
                <a:cubicBezTo>
                  <a:pt x="756" y="34"/>
                  <a:pt x="755" y="31"/>
                  <a:pt x="756" y="31"/>
                </a:cubicBezTo>
                <a:cubicBezTo>
                  <a:pt x="758" y="31"/>
                  <a:pt x="759" y="31"/>
                  <a:pt x="760" y="31"/>
                </a:cubicBezTo>
                <a:cubicBezTo>
                  <a:pt x="761" y="31"/>
                  <a:pt x="765" y="30"/>
                  <a:pt x="765" y="30"/>
                </a:cubicBezTo>
                <a:cubicBezTo>
                  <a:pt x="767" y="30"/>
                  <a:pt x="769" y="31"/>
                  <a:pt x="770" y="29"/>
                </a:cubicBezTo>
                <a:cubicBezTo>
                  <a:pt x="767" y="28"/>
                  <a:pt x="765" y="28"/>
                  <a:pt x="762" y="29"/>
                </a:cubicBezTo>
                <a:cubicBezTo>
                  <a:pt x="762" y="29"/>
                  <a:pt x="761" y="30"/>
                  <a:pt x="761" y="29"/>
                </a:cubicBezTo>
                <a:cubicBezTo>
                  <a:pt x="760" y="28"/>
                  <a:pt x="758" y="28"/>
                  <a:pt x="758" y="28"/>
                </a:cubicBezTo>
                <a:cubicBezTo>
                  <a:pt x="756" y="29"/>
                  <a:pt x="753" y="29"/>
                  <a:pt x="753" y="29"/>
                </a:cubicBezTo>
                <a:cubicBezTo>
                  <a:pt x="753" y="28"/>
                  <a:pt x="754" y="27"/>
                  <a:pt x="753" y="26"/>
                </a:cubicBezTo>
                <a:cubicBezTo>
                  <a:pt x="752" y="26"/>
                  <a:pt x="751" y="23"/>
                  <a:pt x="752" y="23"/>
                </a:cubicBezTo>
                <a:close/>
                <a:moveTo>
                  <a:pt x="734" y="24"/>
                </a:moveTo>
                <a:cubicBezTo>
                  <a:pt x="734" y="24"/>
                  <a:pt x="731" y="24"/>
                  <a:pt x="731" y="24"/>
                </a:cubicBezTo>
                <a:cubicBezTo>
                  <a:pt x="731" y="23"/>
                  <a:pt x="731" y="23"/>
                  <a:pt x="731" y="23"/>
                </a:cubicBezTo>
                <a:cubicBezTo>
                  <a:pt x="731" y="23"/>
                  <a:pt x="734" y="22"/>
                  <a:pt x="735" y="22"/>
                </a:cubicBezTo>
                <a:cubicBezTo>
                  <a:pt x="741" y="22"/>
                  <a:pt x="740" y="23"/>
                  <a:pt x="738" y="25"/>
                </a:cubicBezTo>
                <a:cubicBezTo>
                  <a:pt x="738" y="25"/>
                  <a:pt x="737" y="26"/>
                  <a:pt x="736" y="26"/>
                </a:cubicBezTo>
                <a:cubicBezTo>
                  <a:pt x="734" y="26"/>
                  <a:pt x="734" y="24"/>
                  <a:pt x="734" y="24"/>
                </a:cubicBezTo>
                <a:close/>
                <a:moveTo>
                  <a:pt x="791" y="82"/>
                </a:moveTo>
                <a:cubicBezTo>
                  <a:pt x="791" y="82"/>
                  <a:pt x="792" y="80"/>
                  <a:pt x="791" y="79"/>
                </a:cubicBezTo>
                <a:cubicBezTo>
                  <a:pt x="788" y="79"/>
                  <a:pt x="787" y="80"/>
                  <a:pt x="789" y="77"/>
                </a:cubicBezTo>
                <a:cubicBezTo>
                  <a:pt x="790" y="77"/>
                  <a:pt x="790" y="76"/>
                  <a:pt x="791" y="75"/>
                </a:cubicBezTo>
                <a:cubicBezTo>
                  <a:pt x="792" y="75"/>
                  <a:pt x="795" y="75"/>
                  <a:pt x="795" y="75"/>
                </a:cubicBezTo>
                <a:cubicBezTo>
                  <a:pt x="795" y="75"/>
                  <a:pt x="798" y="76"/>
                  <a:pt x="802" y="76"/>
                </a:cubicBezTo>
                <a:cubicBezTo>
                  <a:pt x="805" y="76"/>
                  <a:pt x="813" y="75"/>
                  <a:pt x="813" y="78"/>
                </a:cubicBezTo>
                <a:cubicBezTo>
                  <a:pt x="814" y="79"/>
                  <a:pt x="819" y="79"/>
                  <a:pt x="816" y="83"/>
                </a:cubicBezTo>
                <a:cubicBezTo>
                  <a:pt x="816" y="84"/>
                  <a:pt x="817" y="84"/>
                  <a:pt x="813" y="83"/>
                </a:cubicBezTo>
                <a:cubicBezTo>
                  <a:pt x="808" y="82"/>
                  <a:pt x="804" y="83"/>
                  <a:pt x="804" y="83"/>
                </a:cubicBezTo>
                <a:cubicBezTo>
                  <a:pt x="803" y="83"/>
                  <a:pt x="800" y="83"/>
                  <a:pt x="799" y="83"/>
                </a:cubicBezTo>
                <a:cubicBezTo>
                  <a:pt x="798" y="84"/>
                  <a:pt x="796" y="84"/>
                  <a:pt x="795" y="84"/>
                </a:cubicBezTo>
                <a:cubicBezTo>
                  <a:pt x="795" y="84"/>
                  <a:pt x="795" y="85"/>
                  <a:pt x="794" y="84"/>
                </a:cubicBezTo>
                <a:cubicBezTo>
                  <a:pt x="793" y="84"/>
                  <a:pt x="790" y="83"/>
                  <a:pt x="791" y="82"/>
                </a:cubicBezTo>
                <a:close/>
                <a:moveTo>
                  <a:pt x="657" y="75"/>
                </a:moveTo>
                <a:cubicBezTo>
                  <a:pt x="658" y="73"/>
                  <a:pt x="656" y="74"/>
                  <a:pt x="662" y="74"/>
                </a:cubicBezTo>
                <a:cubicBezTo>
                  <a:pt x="666" y="74"/>
                  <a:pt x="664" y="70"/>
                  <a:pt x="666" y="72"/>
                </a:cubicBezTo>
                <a:cubicBezTo>
                  <a:pt x="669" y="74"/>
                  <a:pt x="670" y="75"/>
                  <a:pt x="670" y="75"/>
                </a:cubicBezTo>
                <a:cubicBezTo>
                  <a:pt x="670" y="75"/>
                  <a:pt x="671" y="73"/>
                  <a:pt x="671" y="73"/>
                </a:cubicBezTo>
                <a:cubicBezTo>
                  <a:pt x="672" y="73"/>
                  <a:pt x="673" y="72"/>
                  <a:pt x="674" y="72"/>
                </a:cubicBezTo>
                <a:cubicBezTo>
                  <a:pt x="675" y="72"/>
                  <a:pt x="675" y="72"/>
                  <a:pt x="678" y="72"/>
                </a:cubicBezTo>
                <a:cubicBezTo>
                  <a:pt x="680" y="72"/>
                  <a:pt x="682" y="71"/>
                  <a:pt x="682" y="71"/>
                </a:cubicBezTo>
                <a:cubicBezTo>
                  <a:pt x="681" y="72"/>
                  <a:pt x="680" y="73"/>
                  <a:pt x="680" y="73"/>
                </a:cubicBezTo>
                <a:cubicBezTo>
                  <a:pt x="681" y="74"/>
                  <a:pt x="682" y="74"/>
                  <a:pt x="683" y="74"/>
                </a:cubicBezTo>
                <a:cubicBezTo>
                  <a:pt x="682" y="77"/>
                  <a:pt x="680" y="77"/>
                  <a:pt x="677" y="77"/>
                </a:cubicBezTo>
                <a:cubicBezTo>
                  <a:pt x="678" y="80"/>
                  <a:pt x="671" y="79"/>
                  <a:pt x="669" y="80"/>
                </a:cubicBezTo>
                <a:cubicBezTo>
                  <a:pt x="669" y="80"/>
                  <a:pt x="667" y="81"/>
                  <a:pt x="668" y="81"/>
                </a:cubicBezTo>
                <a:cubicBezTo>
                  <a:pt x="668" y="81"/>
                  <a:pt x="673" y="81"/>
                  <a:pt x="673" y="81"/>
                </a:cubicBezTo>
                <a:cubicBezTo>
                  <a:pt x="673" y="81"/>
                  <a:pt x="672" y="82"/>
                  <a:pt x="673" y="83"/>
                </a:cubicBezTo>
                <a:cubicBezTo>
                  <a:pt x="673" y="83"/>
                  <a:pt x="675" y="83"/>
                  <a:pt x="676" y="84"/>
                </a:cubicBezTo>
                <a:cubicBezTo>
                  <a:pt x="676" y="84"/>
                  <a:pt x="678" y="86"/>
                  <a:pt x="676" y="86"/>
                </a:cubicBezTo>
                <a:cubicBezTo>
                  <a:pt x="673" y="87"/>
                  <a:pt x="670" y="88"/>
                  <a:pt x="670" y="88"/>
                </a:cubicBezTo>
                <a:cubicBezTo>
                  <a:pt x="670" y="88"/>
                  <a:pt x="672" y="90"/>
                  <a:pt x="669" y="90"/>
                </a:cubicBezTo>
                <a:cubicBezTo>
                  <a:pt x="666" y="91"/>
                  <a:pt x="666" y="90"/>
                  <a:pt x="666" y="91"/>
                </a:cubicBezTo>
                <a:cubicBezTo>
                  <a:pt x="666" y="91"/>
                  <a:pt x="664" y="93"/>
                  <a:pt x="662" y="93"/>
                </a:cubicBezTo>
                <a:cubicBezTo>
                  <a:pt x="658" y="93"/>
                  <a:pt x="661" y="95"/>
                  <a:pt x="655" y="91"/>
                </a:cubicBezTo>
                <a:cubicBezTo>
                  <a:pt x="654" y="92"/>
                  <a:pt x="654" y="93"/>
                  <a:pt x="654" y="94"/>
                </a:cubicBezTo>
                <a:cubicBezTo>
                  <a:pt x="654" y="94"/>
                  <a:pt x="654" y="95"/>
                  <a:pt x="653" y="95"/>
                </a:cubicBezTo>
                <a:cubicBezTo>
                  <a:pt x="651" y="95"/>
                  <a:pt x="651" y="96"/>
                  <a:pt x="649" y="96"/>
                </a:cubicBezTo>
                <a:cubicBezTo>
                  <a:pt x="648" y="96"/>
                  <a:pt x="647" y="95"/>
                  <a:pt x="647" y="95"/>
                </a:cubicBezTo>
                <a:cubicBezTo>
                  <a:pt x="646" y="95"/>
                  <a:pt x="646" y="92"/>
                  <a:pt x="644" y="91"/>
                </a:cubicBezTo>
                <a:cubicBezTo>
                  <a:pt x="642" y="88"/>
                  <a:pt x="637" y="88"/>
                  <a:pt x="635" y="85"/>
                </a:cubicBezTo>
                <a:cubicBezTo>
                  <a:pt x="634" y="82"/>
                  <a:pt x="635" y="82"/>
                  <a:pt x="640" y="80"/>
                </a:cubicBezTo>
                <a:cubicBezTo>
                  <a:pt x="640" y="80"/>
                  <a:pt x="644" y="81"/>
                  <a:pt x="644" y="81"/>
                </a:cubicBezTo>
                <a:cubicBezTo>
                  <a:pt x="644" y="80"/>
                  <a:pt x="643" y="84"/>
                  <a:pt x="644" y="84"/>
                </a:cubicBezTo>
                <a:cubicBezTo>
                  <a:pt x="647" y="84"/>
                  <a:pt x="645" y="84"/>
                  <a:pt x="648" y="83"/>
                </a:cubicBezTo>
                <a:cubicBezTo>
                  <a:pt x="650" y="83"/>
                  <a:pt x="650" y="83"/>
                  <a:pt x="651" y="83"/>
                </a:cubicBezTo>
                <a:cubicBezTo>
                  <a:pt x="653" y="83"/>
                  <a:pt x="652" y="83"/>
                  <a:pt x="653" y="81"/>
                </a:cubicBezTo>
                <a:cubicBezTo>
                  <a:pt x="654" y="80"/>
                  <a:pt x="654" y="80"/>
                  <a:pt x="654" y="80"/>
                </a:cubicBezTo>
                <a:cubicBezTo>
                  <a:pt x="654" y="79"/>
                  <a:pt x="655" y="79"/>
                  <a:pt x="655" y="79"/>
                </a:cubicBezTo>
                <a:cubicBezTo>
                  <a:pt x="654" y="78"/>
                  <a:pt x="652" y="79"/>
                  <a:pt x="651" y="79"/>
                </a:cubicBezTo>
                <a:cubicBezTo>
                  <a:pt x="651" y="79"/>
                  <a:pt x="650" y="76"/>
                  <a:pt x="651" y="76"/>
                </a:cubicBezTo>
                <a:cubicBezTo>
                  <a:pt x="653" y="76"/>
                  <a:pt x="656" y="76"/>
                  <a:pt x="657" y="75"/>
                </a:cubicBezTo>
                <a:close/>
                <a:moveTo>
                  <a:pt x="745" y="50"/>
                </a:moveTo>
                <a:cubicBezTo>
                  <a:pt x="751" y="50"/>
                  <a:pt x="751" y="50"/>
                  <a:pt x="751" y="50"/>
                </a:cubicBezTo>
                <a:cubicBezTo>
                  <a:pt x="751" y="50"/>
                  <a:pt x="752" y="52"/>
                  <a:pt x="753" y="52"/>
                </a:cubicBezTo>
                <a:cubicBezTo>
                  <a:pt x="754" y="52"/>
                  <a:pt x="759" y="54"/>
                  <a:pt x="759" y="54"/>
                </a:cubicBezTo>
                <a:cubicBezTo>
                  <a:pt x="759" y="54"/>
                  <a:pt x="755" y="55"/>
                  <a:pt x="754" y="55"/>
                </a:cubicBezTo>
                <a:cubicBezTo>
                  <a:pt x="752" y="55"/>
                  <a:pt x="749" y="55"/>
                  <a:pt x="751" y="56"/>
                </a:cubicBezTo>
                <a:cubicBezTo>
                  <a:pt x="754" y="57"/>
                  <a:pt x="757" y="56"/>
                  <a:pt x="753" y="59"/>
                </a:cubicBezTo>
                <a:cubicBezTo>
                  <a:pt x="753" y="59"/>
                  <a:pt x="752" y="60"/>
                  <a:pt x="752" y="60"/>
                </a:cubicBezTo>
                <a:cubicBezTo>
                  <a:pt x="753" y="61"/>
                  <a:pt x="753" y="62"/>
                  <a:pt x="754" y="61"/>
                </a:cubicBezTo>
                <a:cubicBezTo>
                  <a:pt x="755" y="60"/>
                  <a:pt x="754" y="60"/>
                  <a:pt x="755" y="59"/>
                </a:cubicBezTo>
                <a:cubicBezTo>
                  <a:pt x="756" y="59"/>
                  <a:pt x="756" y="58"/>
                  <a:pt x="758" y="59"/>
                </a:cubicBezTo>
                <a:cubicBezTo>
                  <a:pt x="760" y="59"/>
                  <a:pt x="761" y="59"/>
                  <a:pt x="762" y="59"/>
                </a:cubicBezTo>
                <a:cubicBezTo>
                  <a:pt x="762" y="59"/>
                  <a:pt x="762" y="60"/>
                  <a:pt x="763" y="59"/>
                </a:cubicBezTo>
                <a:cubicBezTo>
                  <a:pt x="764" y="59"/>
                  <a:pt x="764" y="58"/>
                  <a:pt x="765" y="58"/>
                </a:cubicBezTo>
                <a:cubicBezTo>
                  <a:pt x="766" y="59"/>
                  <a:pt x="767" y="60"/>
                  <a:pt x="769" y="60"/>
                </a:cubicBezTo>
                <a:cubicBezTo>
                  <a:pt x="772" y="59"/>
                  <a:pt x="772" y="59"/>
                  <a:pt x="772" y="59"/>
                </a:cubicBezTo>
                <a:cubicBezTo>
                  <a:pt x="773" y="59"/>
                  <a:pt x="773" y="59"/>
                  <a:pt x="774" y="59"/>
                </a:cubicBezTo>
                <a:cubicBezTo>
                  <a:pt x="779" y="59"/>
                  <a:pt x="784" y="57"/>
                  <a:pt x="784" y="57"/>
                </a:cubicBezTo>
                <a:cubicBezTo>
                  <a:pt x="785" y="57"/>
                  <a:pt x="791" y="59"/>
                  <a:pt x="797" y="58"/>
                </a:cubicBezTo>
                <a:cubicBezTo>
                  <a:pt x="798" y="57"/>
                  <a:pt x="802" y="57"/>
                  <a:pt x="802" y="57"/>
                </a:cubicBezTo>
                <a:cubicBezTo>
                  <a:pt x="807" y="58"/>
                  <a:pt x="807" y="58"/>
                  <a:pt x="807" y="58"/>
                </a:cubicBezTo>
                <a:cubicBezTo>
                  <a:pt x="807" y="58"/>
                  <a:pt x="807" y="59"/>
                  <a:pt x="808" y="59"/>
                </a:cubicBezTo>
                <a:cubicBezTo>
                  <a:pt x="809" y="59"/>
                  <a:pt x="813" y="60"/>
                  <a:pt x="813" y="60"/>
                </a:cubicBezTo>
                <a:cubicBezTo>
                  <a:pt x="814" y="61"/>
                  <a:pt x="814" y="61"/>
                  <a:pt x="814" y="61"/>
                </a:cubicBezTo>
                <a:cubicBezTo>
                  <a:pt x="813" y="62"/>
                  <a:pt x="813" y="62"/>
                  <a:pt x="809" y="64"/>
                </a:cubicBezTo>
                <a:cubicBezTo>
                  <a:pt x="809" y="64"/>
                  <a:pt x="810" y="65"/>
                  <a:pt x="811" y="65"/>
                </a:cubicBezTo>
                <a:cubicBezTo>
                  <a:pt x="811" y="65"/>
                  <a:pt x="813" y="63"/>
                  <a:pt x="812" y="65"/>
                </a:cubicBezTo>
                <a:cubicBezTo>
                  <a:pt x="810" y="66"/>
                  <a:pt x="812" y="66"/>
                  <a:pt x="809" y="66"/>
                </a:cubicBezTo>
                <a:cubicBezTo>
                  <a:pt x="807" y="67"/>
                  <a:pt x="807" y="66"/>
                  <a:pt x="806" y="66"/>
                </a:cubicBezTo>
                <a:cubicBezTo>
                  <a:pt x="804" y="66"/>
                  <a:pt x="804" y="66"/>
                  <a:pt x="803" y="67"/>
                </a:cubicBezTo>
                <a:cubicBezTo>
                  <a:pt x="803" y="68"/>
                  <a:pt x="805" y="69"/>
                  <a:pt x="799" y="68"/>
                </a:cubicBezTo>
                <a:cubicBezTo>
                  <a:pt x="796" y="68"/>
                  <a:pt x="792" y="68"/>
                  <a:pt x="791" y="68"/>
                </a:cubicBezTo>
                <a:cubicBezTo>
                  <a:pt x="790" y="68"/>
                  <a:pt x="788" y="69"/>
                  <a:pt x="785" y="68"/>
                </a:cubicBezTo>
                <a:cubicBezTo>
                  <a:pt x="784" y="68"/>
                  <a:pt x="783" y="67"/>
                  <a:pt x="784" y="67"/>
                </a:cubicBezTo>
                <a:cubicBezTo>
                  <a:pt x="785" y="67"/>
                  <a:pt x="786" y="67"/>
                  <a:pt x="785" y="66"/>
                </a:cubicBezTo>
                <a:cubicBezTo>
                  <a:pt x="784" y="65"/>
                  <a:pt x="783" y="64"/>
                  <a:pt x="783" y="65"/>
                </a:cubicBezTo>
                <a:cubicBezTo>
                  <a:pt x="782" y="65"/>
                  <a:pt x="783" y="66"/>
                  <a:pt x="782" y="67"/>
                </a:cubicBezTo>
                <a:cubicBezTo>
                  <a:pt x="782" y="67"/>
                  <a:pt x="781" y="68"/>
                  <a:pt x="781" y="68"/>
                </a:cubicBezTo>
                <a:cubicBezTo>
                  <a:pt x="781" y="68"/>
                  <a:pt x="777" y="69"/>
                  <a:pt x="776" y="69"/>
                </a:cubicBezTo>
                <a:cubicBezTo>
                  <a:pt x="776" y="69"/>
                  <a:pt x="772" y="68"/>
                  <a:pt x="772" y="68"/>
                </a:cubicBezTo>
                <a:cubicBezTo>
                  <a:pt x="772" y="66"/>
                  <a:pt x="772" y="68"/>
                  <a:pt x="770" y="68"/>
                </a:cubicBezTo>
                <a:cubicBezTo>
                  <a:pt x="767" y="69"/>
                  <a:pt x="768" y="68"/>
                  <a:pt x="765" y="68"/>
                </a:cubicBezTo>
                <a:cubicBezTo>
                  <a:pt x="762" y="69"/>
                  <a:pt x="762" y="69"/>
                  <a:pt x="760" y="69"/>
                </a:cubicBezTo>
                <a:cubicBezTo>
                  <a:pt x="758" y="69"/>
                  <a:pt x="753" y="69"/>
                  <a:pt x="753" y="69"/>
                </a:cubicBezTo>
                <a:cubicBezTo>
                  <a:pt x="748" y="69"/>
                  <a:pt x="748" y="69"/>
                  <a:pt x="748" y="69"/>
                </a:cubicBezTo>
                <a:cubicBezTo>
                  <a:pt x="748" y="69"/>
                  <a:pt x="747" y="68"/>
                  <a:pt x="749" y="68"/>
                </a:cubicBezTo>
                <a:cubicBezTo>
                  <a:pt x="750" y="67"/>
                  <a:pt x="751" y="67"/>
                  <a:pt x="751" y="67"/>
                </a:cubicBezTo>
                <a:cubicBezTo>
                  <a:pt x="751" y="66"/>
                  <a:pt x="751" y="65"/>
                  <a:pt x="750" y="65"/>
                </a:cubicBezTo>
                <a:cubicBezTo>
                  <a:pt x="749" y="66"/>
                  <a:pt x="748" y="67"/>
                  <a:pt x="748" y="67"/>
                </a:cubicBezTo>
                <a:cubicBezTo>
                  <a:pt x="748" y="67"/>
                  <a:pt x="742" y="68"/>
                  <a:pt x="741" y="68"/>
                </a:cubicBezTo>
                <a:cubicBezTo>
                  <a:pt x="741" y="68"/>
                  <a:pt x="736" y="68"/>
                  <a:pt x="736" y="68"/>
                </a:cubicBezTo>
                <a:cubicBezTo>
                  <a:pt x="736" y="68"/>
                  <a:pt x="735" y="65"/>
                  <a:pt x="734" y="65"/>
                </a:cubicBezTo>
                <a:cubicBezTo>
                  <a:pt x="734" y="65"/>
                  <a:pt x="732" y="67"/>
                  <a:pt x="731" y="67"/>
                </a:cubicBezTo>
                <a:cubicBezTo>
                  <a:pt x="730" y="67"/>
                  <a:pt x="729" y="70"/>
                  <a:pt x="728" y="67"/>
                </a:cubicBezTo>
                <a:cubicBezTo>
                  <a:pt x="727" y="64"/>
                  <a:pt x="727" y="64"/>
                  <a:pt x="728" y="64"/>
                </a:cubicBezTo>
                <a:cubicBezTo>
                  <a:pt x="729" y="63"/>
                  <a:pt x="729" y="64"/>
                  <a:pt x="729" y="63"/>
                </a:cubicBezTo>
                <a:cubicBezTo>
                  <a:pt x="729" y="62"/>
                  <a:pt x="728" y="61"/>
                  <a:pt x="729" y="61"/>
                </a:cubicBezTo>
                <a:cubicBezTo>
                  <a:pt x="730" y="61"/>
                  <a:pt x="731" y="61"/>
                  <a:pt x="732" y="60"/>
                </a:cubicBezTo>
                <a:cubicBezTo>
                  <a:pt x="733" y="60"/>
                  <a:pt x="732" y="59"/>
                  <a:pt x="734" y="59"/>
                </a:cubicBezTo>
                <a:cubicBezTo>
                  <a:pt x="737" y="58"/>
                  <a:pt x="734" y="53"/>
                  <a:pt x="735" y="53"/>
                </a:cubicBezTo>
                <a:cubicBezTo>
                  <a:pt x="738" y="53"/>
                  <a:pt x="737" y="53"/>
                  <a:pt x="740" y="50"/>
                </a:cubicBezTo>
                <a:cubicBezTo>
                  <a:pt x="741" y="50"/>
                  <a:pt x="745" y="50"/>
                  <a:pt x="745" y="50"/>
                </a:cubicBezTo>
                <a:close/>
                <a:moveTo>
                  <a:pt x="772" y="59"/>
                </a:moveTo>
                <a:cubicBezTo>
                  <a:pt x="772" y="59"/>
                  <a:pt x="772" y="59"/>
                  <a:pt x="772" y="59"/>
                </a:cubicBezTo>
                <a:cubicBezTo>
                  <a:pt x="770" y="59"/>
                  <a:pt x="772" y="59"/>
                  <a:pt x="772" y="59"/>
                </a:cubicBezTo>
                <a:close/>
                <a:moveTo>
                  <a:pt x="540" y="54"/>
                </a:moveTo>
                <a:cubicBezTo>
                  <a:pt x="541" y="53"/>
                  <a:pt x="541" y="53"/>
                  <a:pt x="543" y="53"/>
                </a:cubicBezTo>
                <a:cubicBezTo>
                  <a:pt x="545" y="53"/>
                  <a:pt x="544" y="52"/>
                  <a:pt x="547" y="52"/>
                </a:cubicBezTo>
                <a:cubicBezTo>
                  <a:pt x="550" y="51"/>
                  <a:pt x="556" y="51"/>
                  <a:pt x="557" y="50"/>
                </a:cubicBezTo>
                <a:cubicBezTo>
                  <a:pt x="558" y="50"/>
                  <a:pt x="558" y="49"/>
                  <a:pt x="560" y="49"/>
                </a:cubicBezTo>
                <a:cubicBezTo>
                  <a:pt x="561" y="48"/>
                  <a:pt x="562" y="49"/>
                  <a:pt x="564" y="48"/>
                </a:cubicBezTo>
                <a:cubicBezTo>
                  <a:pt x="568" y="47"/>
                  <a:pt x="569" y="46"/>
                  <a:pt x="573" y="46"/>
                </a:cubicBezTo>
                <a:cubicBezTo>
                  <a:pt x="575" y="46"/>
                  <a:pt x="575" y="47"/>
                  <a:pt x="579" y="44"/>
                </a:cubicBezTo>
                <a:cubicBezTo>
                  <a:pt x="581" y="43"/>
                  <a:pt x="579" y="43"/>
                  <a:pt x="582" y="43"/>
                </a:cubicBezTo>
                <a:cubicBezTo>
                  <a:pt x="588" y="44"/>
                  <a:pt x="591" y="43"/>
                  <a:pt x="596" y="42"/>
                </a:cubicBezTo>
                <a:cubicBezTo>
                  <a:pt x="596" y="42"/>
                  <a:pt x="599" y="42"/>
                  <a:pt x="600" y="42"/>
                </a:cubicBezTo>
                <a:cubicBezTo>
                  <a:pt x="601" y="42"/>
                  <a:pt x="601" y="41"/>
                  <a:pt x="602" y="42"/>
                </a:cubicBezTo>
                <a:cubicBezTo>
                  <a:pt x="603" y="43"/>
                  <a:pt x="603" y="44"/>
                  <a:pt x="602" y="44"/>
                </a:cubicBezTo>
                <a:cubicBezTo>
                  <a:pt x="602" y="44"/>
                  <a:pt x="596" y="44"/>
                  <a:pt x="595" y="44"/>
                </a:cubicBezTo>
                <a:cubicBezTo>
                  <a:pt x="595" y="45"/>
                  <a:pt x="594" y="45"/>
                  <a:pt x="595" y="46"/>
                </a:cubicBezTo>
                <a:cubicBezTo>
                  <a:pt x="595" y="46"/>
                  <a:pt x="597" y="46"/>
                  <a:pt x="597" y="46"/>
                </a:cubicBezTo>
                <a:cubicBezTo>
                  <a:pt x="597" y="47"/>
                  <a:pt x="594" y="48"/>
                  <a:pt x="594" y="48"/>
                </a:cubicBezTo>
                <a:cubicBezTo>
                  <a:pt x="594" y="47"/>
                  <a:pt x="593" y="47"/>
                  <a:pt x="593" y="47"/>
                </a:cubicBezTo>
                <a:cubicBezTo>
                  <a:pt x="592" y="48"/>
                  <a:pt x="592" y="49"/>
                  <a:pt x="592" y="49"/>
                </a:cubicBezTo>
                <a:cubicBezTo>
                  <a:pt x="593" y="49"/>
                  <a:pt x="590" y="49"/>
                  <a:pt x="589" y="49"/>
                </a:cubicBezTo>
                <a:cubicBezTo>
                  <a:pt x="588" y="49"/>
                  <a:pt x="586" y="50"/>
                  <a:pt x="586" y="50"/>
                </a:cubicBezTo>
                <a:cubicBezTo>
                  <a:pt x="585" y="50"/>
                  <a:pt x="585" y="50"/>
                  <a:pt x="583" y="50"/>
                </a:cubicBezTo>
                <a:cubicBezTo>
                  <a:pt x="582" y="51"/>
                  <a:pt x="581" y="52"/>
                  <a:pt x="578" y="52"/>
                </a:cubicBezTo>
                <a:cubicBezTo>
                  <a:pt x="577" y="52"/>
                  <a:pt x="577" y="53"/>
                  <a:pt x="577" y="52"/>
                </a:cubicBezTo>
                <a:cubicBezTo>
                  <a:pt x="576" y="52"/>
                  <a:pt x="574" y="52"/>
                  <a:pt x="576" y="51"/>
                </a:cubicBezTo>
                <a:cubicBezTo>
                  <a:pt x="578" y="51"/>
                  <a:pt x="578" y="50"/>
                  <a:pt x="579" y="50"/>
                </a:cubicBezTo>
                <a:cubicBezTo>
                  <a:pt x="582" y="49"/>
                  <a:pt x="579" y="48"/>
                  <a:pt x="578" y="49"/>
                </a:cubicBezTo>
                <a:cubicBezTo>
                  <a:pt x="574" y="50"/>
                  <a:pt x="574" y="50"/>
                  <a:pt x="574" y="50"/>
                </a:cubicBezTo>
                <a:cubicBezTo>
                  <a:pt x="570" y="51"/>
                  <a:pt x="570" y="51"/>
                  <a:pt x="570" y="51"/>
                </a:cubicBezTo>
                <a:cubicBezTo>
                  <a:pt x="570" y="51"/>
                  <a:pt x="571" y="52"/>
                  <a:pt x="570" y="52"/>
                </a:cubicBezTo>
                <a:cubicBezTo>
                  <a:pt x="568" y="52"/>
                  <a:pt x="568" y="52"/>
                  <a:pt x="567" y="53"/>
                </a:cubicBezTo>
                <a:cubicBezTo>
                  <a:pt x="566" y="54"/>
                  <a:pt x="564" y="54"/>
                  <a:pt x="564" y="54"/>
                </a:cubicBezTo>
                <a:cubicBezTo>
                  <a:pt x="564" y="54"/>
                  <a:pt x="565" y="51"/>
                  <a:pt x="562" y="53"/>
                </a:cubicBezTo>
                <a:cubicBezTo>
                  <a:pt x="561" y="54"/>
                  <a:pt x="561" y="55"/>
                  <a:pt x="560" y="55"/>
                </a:cubicBezTo>
                <a:cubicBezTo>
                  <a:pt x="559" y="55"/>
                  <a:pt x="556" y="56"/>
                  <a:pt x="555" y="55"/>
                </a:cubicBezTo>
                <a:cubicBezTo>
                  <a:pt x="555" y="54"/>
                  <a:pt x="555" y="52"/>
                  <a:pt x="553" y="54"/>
                </a:cubicBezTo>
                <a:cubicBezTo>
                  <a:pt x="550" y="56"/>
                  <a:pt x="549" y="54"/>
                  <a:pt x="546" y="54"/>
                </a:cubicBezTo>
                <a:cubicBezTo>
                  <a:pt x="545" y="54"/>
                  <a:pt x="545" y="54"/>
                  <a:pt x="543" y="54"/>
                </a:cubicBezTo>
                <a:cubicBezTo>
                  <a:pt x="542" y="55"/>
                  <a:pt x="542" y="55"/>
                  <a:pt x="541" y="55"/>
                </a:cubicBezTo>
                <a:cubicBezTo>
                  <a:pt x="540" y="55"/>
                  <a:pt x="539" y="56"/>
                  <a:pt x="540" y="54"/>
                </a:cubicBezTo>
                <a:close/>
                <a:moveTo>
                  <a:pt x="614" y="39"/>
                </a:moveTo>
                <a:cubicBezTo>
                  <a:pt x="620" y="37"/>
                  <a:pt x="620" y="37"/>
                  <a:pt x="620" y="37"/>
                </a:cubicBezTo>
                <a:cubicBezTo>
                  <a:pt x="620" y="37"/>
                  <a:pt x="621" y="37"/>
                  <a:pt x="621" y="38"/>
                </a:cubicBezTo>
                <a:cubicBezTo>
                  <a:pt x="622" y="39"/>
                  <a:pt x="623" y="38"/>
                  <a:pt x="622" y="39"/>
                </a:cubicBezTo>
                <a:cubicBezTo>
                  <a:pt x="618" y="41"/>
                  <a:pt x="617" y="41"/>
                  <a:pt x="614" y="39"/>
                </a:cubicBezTo>
                <a:close/>
                <a:moveTo>
                  <a:pt x="601" y="48"/>
                </a:moveTo>
                <a:cubicBezTo>
                  <a:pt x="601" y="48"/>
                  <a:pt x="603" y="47"/>
                  <a:pt x="603" y="47"/>
                </a:cubicBezTo>
                <a:cubicBezTo>
                  <a:pt x="604" y="47"/>
                  <a:pt x="609" y="46"/>
                  <a:pt x="609" y="47"/>
                </a:cubicBezTo>
                <a:cubicBezTo>
                  <a:pt x="609" y="48"/>
                  <a:pt x="610" y="48"/>
                  <a:pt x="609" y="49"/>
                </a:cubicBezTo>
                <a:cubicBezTo>
                  <a:pt x="607" y="49"/>
                  <a:pt x="602" y="49"/>
                  <a:pt x="601" y="48"/>
                </a:cubicBezTo>
                <a:close/>
                <a:moveTo>
                  <a:pt x="623" y="40"/>
                </a:moveTo>
                <a:cubicBezTo>
                  <a:pt x="624" y="39"/>
                  <a:pt x="623" y="39"/>
                  <a:pt x="625" y="39"/>
                </a:cubicBezTo>
                <a:cubicBezTo>
                  <a:pt x="627" y="38"/>
                  <a:pt x="624" y="38"/>
                  <a:pt x="629" y="38"/>
                </a:cubicBezTo>
                <a:cubicBezTo>
                  <a:pt x="634" y="37"/>
                  <a:pt x="640" y="38"/>
                  <a:pt x="640" y="38"/>
                </a:cubicBezTo>
                <a:cubicBezTo>
                  <a:pt x="641" y="38"/>
                  <a:pt x="643" y="38"/>
                  <a:pt x="646" y="38"/>
                </a:cubicBezTo>
                <a:cubicBezTo>
                  <a:pt x="648" y="38"/>
                  <a:pt x="650" y="37"/>
                  <a:pt x="649" y="38"/>
                </a:cubicBezTo>
                <a:cubicBezTo>
                  <a:pt x="649" y="39"/>
                  <a:pt x="649" y="39"/>
                  <a:pt x="648" y="39"/>
                </a:cubicBezTo>
                <a:cubicBezTo>
                  <a:pt x="646" y="40"/>
                  <a:pt x="643" y="40"/>
                  <a:pt x="643" y="40"/>
                </a:cubicBezTo>
                <a:cubicBezTo>
                  <a:pt x="635" y="40"/>
                  <a:pt x="649" y="41"/>
                  <a:pt x="644" y="43"/>
                </a:cubicBezTo>
                <a:cubicBezTo>
                  <a:pt x="643" y="43"/>
                  <a:pt x="642" y="43"/>
                  <a:pt x="641" y="43"/>
                </a:cubicBezTo>
                <a:cubicBezTo>
                  <a:pt x="638" y="42"/>
                  <a:pt x="637" y="43"/>
                  <a:pt x="635" y="43"/>
                </a:cubicBezTo>
                <a:cubicBezTo>
                  <a:pt x="631" y="43"/>
                  <a:pt x="629" y="46"/>
                  <a:pt x="625" y="45"/>
                </a:cubicBezTo>
                <a:cubicBezTo>
                  <a:pt x="624" y="45"/>
                  <a:pt x="623" y="45"/>
                  <a:pt x="623" y="43"/>
                </a:cubicBezTo>
                <a:cubicBezTo>
                  <a:pt x="623" y="42"/>
                  <a:pt x="621" y="42"/>
                  <a:pt x="623" y="40"/>
                </a:cubicBezTo>
                <a:close/>
                <a:moveTo>
                  <a:pt x="605" y="52"/>
                </a:moveTo>
                <a:cubicBezTo>
                  <a:pt x="610" y="55"/>
                  <a:pt x="610" y="55"/>
                  <a:pt x="610" y="55"/>
                </a:cubicBezTo>
                <a:cubicBezTo>
                  <a:pt x="610" y="55"/>
                  <a:pt x="611" y="56"/>
                  <a:pt x="610" y="57"/>
                </a:cubicBezTo>
                <a:cubicBezTo>
                  <a:pt x="610" y="58"/>
                  <a:pt x="609" y="58"/>
                  <a:pt x="610" y="58"/>
                </a:cubicBezTo>
                <a:cubicBezTo>
                  <a:pt x="611" y="59"/>
                  <a:pt x="619" y="58"/>
                  <a:pt x="620" y="59"/>
                </a:cubicBezTo>
                <a:cubicBezTo>
                  <a:pt x="621" y="59"/>
                  <a:pt x="625" y="59"/>
                  <a:pt x="625" y="59"/>
                </a:cubicBezTo>
                <a:cubicBezTo>
                  <a:pt x="625" y="59"/>
                  <a:pt x="626" y="58"/>
                  <a:pt x="624" y="58"/>
                </a:cubicBezTo>
                <a:cubicBezTo>
                  <a:pt x="623" y="57"/>
                  <a:pt x="619" y="57"/>
                  <a:pt x="622" y="56"/>
                </a:cubicBezTo>
                <a:cubicBezTo>
                  <a:pt x="624" y="56"/>
                  <a:pt x="624" y="56"/>
                  <a:pt x="624" y="56"/>
                </a:cubicBezTo>
                <a:cubicBezTo>
                  <a:pt x="627" y="55"/>
                  <a:pt x="627" y="55"/>
                  <a:pt x="627" y="55"/>
                </a:cubicBezTo>
                <a:cubicBezTo>
                  <a:pt x="627" y="53"/>
                  <a:pt x="627" y="53"/>
                  <a:pt x="627" y="53"/>
                </a:cubicBezTo>
                <a:cubicBezTo>
                  <a:pt x="625" y="53"/>
                  <a:pt x="625" y="53"/>
                  <a:pt x="625" y="53"/>
                </a:cubicBezTo>
                <a:cubicBezTo>
                  <a:pt x="624" y="52"/>
                  <a:pt x="624" y="52"/>
                  <a:pt x="624" y="52"/>
                </a:cubicBezTo>
                <a:cubicBezTo>
                  <a:pt x="624" y="52"/>
                  <a:pt x="626" y="51"/>
                  <a:pt x="627" y="51"/>
                </a:cubicBezTo>
                <a:cubicBezTo>
                  <a:pt x="631" y="51"/>
                  <a:pt x="631" y="48"/>
                  <a:pt x="641" y="48"/>
                </a:cubicBezTo>
                <a:cubicBezTo>
                  <a:pt x="639" y="50"/>
                  <a:pt x="639" y="50"/>
                  <a:pt x="639" y="50"/>
                </a:cubicBezTo>
                <a:cubicBezTo>
                  <a:pt x="638" y="51"/>
                  <a:pt x="638" y="54"/>
                  <a:pt x="637" y="54"/>
                </a:cubicBezTo>
                <a:cubicBezTo>
                  <a:pt x="636" y="54"/>
                  <a:pt x="634" y="55"/>
                  <a:pt x="634" y="55"/>
                </a:cubicBezTo>
                <a:cubicBezTo>
                  <a:pt x="636" y="56"/>
                  <a:pt x="635" y="56"/>
                  <a:pt x="637" y="55"/>
                </a:cubicBezTo>
                <a:cubicBezTo>
                  <a:pt x="639" y="57"/>
                  <a:pt x="639" y="57"/>
                  <a:pt x="639" y="57"/>
                </a:cubicBezTo>
                <a:cubicBezTo>
                  <a:pt x="640" y="58"/>
                  <a:pt x="642" y="55"/>
                  <a:pt x="643" y="55"/>
                </a:cubicBezTo>
                <a:cubicBezTo>
                  <a:pt x="644" y="55"/>
                  <a:pt x="649" y="54"/>
                  <a:pt x="649" y="55"/>
                </a:cubicBezTo>
                <a:cubicBezTo>
                  <a:pt x="649" y="55"/>
                  <a:pt x="651" y="55"/>
                  <a:pt x="649" y="56"/>
                </a:cubicBezTo>
                <a:cubicBezTo>
                  <a:pt x="647" y="58"/>
                  <a:pt x="645" y="60"/>
                  <a:pt x="643" y="60"/>
                </a:cubicBezTo>
                <a:cubicBezTo>
                  <a:pt x="642" y="61"/>
                  <a:pt x="639" y="63"/>
                  <a:pt x="638" y="63"/>
                </a:cubicBezTo>
                <a:cubicBezTo>
                  <a:pt x="637" y="63"/>
                  <a:pt x="634" y="65"/>
                  <a:pt x="633" y="65"/>
                </a:cubicBezTo>
                <a:cubicBezTo>
                  <a:pt x="632" y="65"/>
                  <a:pt x="627" y="65"/>
                  <a:pt x="627" y="65"/>
                </a:cubicBezTo>
                <a:cubicBezTo>
                  <a:pt x="625" y="63"/>
                  <a:pt x="625" y="63"/>
                  <a:pt x="625" y="63"/>
                </a:cubicBezTo>
                <a:cubicBezTo>
                  <a:pt x="622" y="64"/>
                  <a:pt x="622" y="64"/>
                  <a:pt x="622" y="64"/>
                </a:cubicBezTo>
                <a:cubicBezTo>
                  <a:pt x="618" y="64"/>
                  <a:pt x="618" y="64"/>
                  <a:pt x="618" y="64"/>
                </a:cubicBezTo>
                <a:cubicBezTo>
                  <a:pt x="613" y="65"/>
                  <a:pt x="613" y="65"/>
                  <a:pt x="613" y="65"/>
                </a:cubicBezTo>
                <a:cubicBezTo>
                  <a:pt x="603" y="66"/>
                  <a:pt x="603" y="66"/>
                  <a:pt x="603" y="66"/>
                </a:cubicBezTo>
                <a:cubicBezTo>
                  <a:pt x="595" y="67"/>
                  <a:pt x="595" y="67"/>
                  <a:pt x="595" y="67"/>
                </a:cubicBezTo>
                <a:cubicBezTo>
                  <a:pt x="583" y="69"/>
                  <a:pt x="583" y="69"/>
                  <a:pt x="583" y="69"/>
                </a:cubicBezTo>
                <a:cubicBezTo>
                  <a:pt x="583" y="69"/>
                  <a:pt x="579" y="69"/>
                  <a:pt x="579" y="69"/>
                </a:cubicBezTo>
                <a:cubicBezTo>
                  <a:pt x="579" y="68"/>
                  <a:pt x="577" y="68"/>
                  <a:pt x="578" y="67"/>
                </a:cubicBezTo>
                <a:cubicBezTo>
                  <a:pt x="578" y="64"/>
                  <a:pt x="583" y="66"/>
                  <a:pt x="588" y="64"/>
                </a:cubicBezTo>
                <a:cubicBezTo>
                  <a:pt x="589" y="64"/>
                  <a:pt x="597" y="63"/>
                  <a:pt x="599" y="63"/>
                </a:cubicBezTo>
                <a:cubicBezTo>
                  <a:pt x="603" y="63"/>
                  <a:pt x="601" y="64"/>
                  <a:pt x="606" y="61"/>
                </a:cubicBezTo>
                <a:cubicBezTo>
                  <a:pt x="606" y="61"/>
                  <a:pt x="602" y="62"/>
                  <a:pt x="601" y="62"/>
                </a:cubicBezTo>
                <a:cubicBezTo>
                  <a:pt x="600" y="62"/>
                  <a:pt x="596" y="62"/>
                  <a:pt x="595" y="62"/>
                </a:cubicBezTo>
                <a:cubicBezTo>
                  <a:pt x="594" y="62"/>
                  <a:pt x="587" y="64"/>
                  <a:pt x="586" y="63"/>
                </a:cubicBezTo>
                <a:cubicBezTo>
                  <a:pt x="586" y="63"/>
                  <a:pt x="588" y="61"/>
                  <a:pt x="588" y="61"/>
                </a:cubicBezTo>
                <a:cubicBezTo>
                  <a:pt x="590" y="60"/>
                  <a:pt x="590" y="60"/>
                  <a:pt x="590" y="60"/>
                </a:cubicBezTo>
                <a:cubicBezTo>
                  <a:pt x="587" y="60"/>
                  <a:pt x="588" y="60"/>
                  <a:pt x="586" y="61"/>
                </a:cubicBezTo>
                <a:cubicBezTo>
                  <a:pt x="586" y="61"/>
                  <a:pt x="584" y="61"/>
                  <a:pt x="584" y="62"/>
                </a:cubicBezTo>
                <a:cubicBezTo>
                  <a:pt x="580" y="64"/>
                  <a:pt x="581" y="62"/>
                  <a:pt x="576" y="63"/>
                </a:cubicBezTo>
                <a:cubicBezTo>
                  <a:pt x="576" y="63"/>
                  <a:pt x="577" y="62"/>
                  <a:pt x="576" y="62"/>
                </a:cubicBezTo>
                <a:cubicBezTo>
                  <a:pt x="575" y="62"/>
                  <a:pt x="575" y="62"/>
                  <a:pt x="574" y="62"/>
                </a:cubicBezTo>
                <a:cubicBezTo>
                  <a:pt x="574" y="63"/>
                  <a:pt x="575" y="63"/>
                  <a:pt x="574" y="63"/>
                </a:cubicBezTo>
                <a:cubicBezTo>
                  <a:pt x="573" y="63"/>
                  <a:pt x="571" y="63"/>
                  <a:pt x="571" y="63"/>
                </a:cubicBezTo>
                <a:cubicBezTo>
                  <a:pt x="570" y="62"/>
                  <a:pt x="570" y="62"/>
                  <a:pt x="570" y="62"/>
                </a:cubicBezTo>
                <a:cubicBezTo>
                  <a:pt x="568" y="62"/>
                  <a:pt x="566" y="62"/>
                  <a:pt x="565" y="62"/>
                </a:cubicBezTo>
                <a:cubicBezTo>
                  <a:pt x="565" y="62"/>
                  <a:pt x="564" y="60"/>
                  <a:pt x="564" y="60"/>
                </a:cubicBezTo>
                <a:cubicBezTo>
                  <a:pt x="564" y="60"/>
                  <a:pt x="566" y="59"/>
                  <a:pt x="566" y="59"/>
                </a:cubicBezTo>
                <a:cubicBezTo>
                  <a:pt x="568" y="59"/>
                  <a:pt x="570" y="58"/>
                  <a:pt x="573" y="58"/>
                </a:cubicBezTo>
                <a:cubicBezTo>
                  <a:pt x="573" y="56"/>
                  <a:pt x="573" y="56"/>
                  <a:pt x="573" y="56"/>
                </a:cubicBezTo>
                <a:cubicBezTo>
                  <a:pt x="577" y="56"/>
                  <a:pt x="577" y="56"/>
                  <a:pt x="577" y="56"/>
                </a:cubicBezTo>
                <a:cubicBezTo>
                  <a:pt x="577" y="55"/>
                  <a:pt x="580" y="53"/>
                  <a:pt x="581" y="53"/>
                </a:cubicBezTo>
                <a:cubicBezTo>
                  <a:pt x="581" y="53"/>
                  <a:pt x="583" y="53"/>
                  <a:pt x="583" y="53"/>
                </a:cubicBezTo>
                <a:cubicBezTo>
                  <a:pt x="584" y="53"/>
                  <a:pt x="586" y="53"/>
                  <a:pt x="586" y="53"/>
                </a:cubicBezTo>
                <a:cubicBezTo>
                  <a:pt x="588" y="52"/>
                  <a:pt x="588" y="52"/>
                  <a:pt x="588" y="52"/>
                </a:cubicBezTo>
                <a:cubicBezTo>
                  <a:pt x="589" y="51"/>
                  <a:pt x="601" y="50"/>
                  <a:pt x="601" y="51"/>
                </a:cubicBezTo>
                <a:cubicBezTo>
                  <a:pt x="601" y="52"/>
                  <a:pt x="600" y="53"/>
                  <a:pt x="601" y="53"/>
                </a:cubicBezTo>
                <a:cubicBezTo>
                  <a:pt x="601" y="53"/>
                  <a:pt x="602" y="53"/>
                  <a:pt x="603" y="53"/>
                </a:cubicBezTo>
                <a:cubicBezTo>
                  <a:pt x="604" y="52"/>
                  <a:pt x="605" y="52"/>
                  <a:pt x="605" y="52"/>
                </a:cubicBezTo>
                <a:close/>
                <a:moveTo>
                  <a:pt x="649" y="63"/>
                </a:moveTo>
                <a:cubicBezTo>
                  <a:pt x="644" y="63"/>
                  <a:pt x="647" y="60"/>
                  <a:pt x="650" y="59"/>
                </a:cubicBezTo>
                <a:cubicBezTo>
                  <a:pt x="652" y="59"/>
                  <a:pt x="654" y="60"/>
                  <a:pt x="656" y="60"/>
                </a:cubicBezTo>
                <a:cubicBezTo>
                  <a:pt x="655" y="64"/>
                  <a:pt x="652" y="63"/>
                  <a:pt x="649" y="63"/>
                </a:cubicBezTo>
                <a:close/>
                <a:moveTo>
                  <a:pt x="630" y="101"/>
                </a:moveTo>
                <a:cubicBezTo>
                  <a:pt x="630" y="101"/>
                  <a:pt x="632" y="102"/>
                  <a:pt x="631" y="103"/>
                </a:cubicBezTo>
                <a:cubicBezTo>
                  <a:pt x="631" y="103"/>
                  <a:pt x="631" y="103"/>
                  <a:pt x="630" y="103"/>
                </a:cubicBezTo>
                <a:cubicBezTo>
                  <a:pt x="629" y="104"/>
                  <a:pt x="628" y="103"/>
                  <a:pt x="628" y="103"/>
                </a:cubicBezTo>
                <a:cubicBezTo>
                  <a:pt x="628" y="103"/>
                  <a:pt x="629" y="101"/>
                  <a:pt x="630" y="101"/>
                </a:cubicBezTo>
                <a:close/>
                <a:moveTo>
                  <a:pt x="627" y="118"/>
                </a:moveTo>
                <a:cubicBezTo>
                  <a:pt x="626" y="118"/>
                  <a:pt x="623" y="118"/>
                  <a:pt x="622" y="117"/>
                </a:cubicBezTo>
                <a:cubicBezTo>
                  <a:pt x="622" y="116"/>
                  <a:pt x="622" y="116"/>
                  <a:pt x="622" y="116"/>
                </a:cubicBezTo>
                <a:cubicBezTo>
                  <a:pt x="624" y="116"/>
                  <a:pt x="627" y="116"/>
                  <a:pt x="629" y="115"/>
                </a:cubicBezTo>
                <a:cubicBezTo>
                  <a:pt x="633" y="115"/>
                  <a:pt x="631" y="114"/>
                  <a:pt x="634" y="112"/>
                </a:cubicBezTo>
                <a:cubicBezTo>
                  <a:pt x="636" y="111"/>
                  <a:pt x="635" y="113"/>
                  <a:pt x="636" y="112"/>
                </a:cubicBezTo>
                <a:cubicBezTo>
                  <a:pt x="636" y="112"/>
                  <a:pt x="635" y="111"/>
                  <a:pt x="635" y="110"/>
                </a:cubicBezTo>
                <a:cubicBezTo>
                  <a:pt x="636" y="109"/>
                  <a:pt x="638" y="110"/>
                  <a:pt x="638" y="110"/>
                </a:cubicBezTo>
                <a:cubicBezTo>
                  <a:pt x="639" y="110"/>
                  <a:pt x="641" y="109"/>
                  <a:pt x="642" y="109"/>
                </a:cubicBezTo>
                <a:cubicBezTo>
                  <a:pt x="643" y="109"/>
                  <a:pt x="645" y="112"/>
                  <a:pt x="647" y="113"/>
                </a:cubicBezTo>
                <a:cubicBezTo>
                  <a:pt x="648" y="113"/>
                  <a:pt x="647" y="115"/>
                  <a:pt x="647" y="115"/>
                </a:cubicBezTo>
                <a:cubicBezTo>
                  <a:pt x="647" y="117"/>
                  <a:pt x="646" y="119"/>
                  <a:pt x="650" y="119"/>
                </a:cubicBezTo>
                <a:cubicBezTo>
                  <a:pt x="651" y="119"/>
                  <a:pt x="650" y="119"/>
                  <a:pt x="650" y="120"/>
                </a:cubicBezTo>
                <a:cubicBezTo>
                  <a:pt x="649" y="121"/>
                  <a:pt x="647" y="120"/>
                  <a:pt x="646" y="120"/>
                </a:cubicBezTo>
                <a:cubicBezTo>
                  <a:pt x="644" y="120"/>
                  <a:pt x="641" y="121"/>
                  <a:pt x="639" y="122"/>
                </a:cubicBezTo>
                <a:cubicBezTo>
                  <a:pt x="636" y="122"/>
                  <a:pt x="635" y="121"/>
                  <a:pt x="632" y="121"/>
                </a:cubicBezTo>
                <a:cubicBezTo>
                  <a:pt x="630" y="120"/>
                  <a:pt x="630" y="120"/>
                  <a:pt x="630" y="119"/>
                </a:cubicBezTo>
                <a:cubicBezTo>
                  <a:pt x="630" y="118"/>
                  <a:pt x="628" y="118"/>
                  <a:pt x="627" y="118"/>
                </a:cubicBezTo>
                <a:close/>
                <a:moveTo>
                  <a:pt x="650" y="113"/>
                </a:moveTo>
                <a:cubicBezTo>
                  <a:pt x="655" y="111"/>
                  <a:pt x="655" y="111"/>
                  <a:pt x="655" y="111"/>
                </a:cubicBezTo>
                <a:cubicBezTo>
                  <a:pt x="655" y="111"/>
                  <a:pt x="657" y="112"/>
                  <a:pt x="656" y="113"/>
                </a:cubicBezTo>
                <a:cubicBezTo>
                  <a:pt x="656" y="113"/>
                  <a:pt x="654" y="114"/>
                  <a:pt x="653" y="114"/>
                </a:cubicBezTo>
                <a:cubicBezTo>
                  <a:pt x="651" y="114"/>
                  <a:pt x="650" y="114"/>
                  <a:pt x="650" y="113"/>
                </a:cubicBezTo>
                <a:close/>
                <a:moveTo>
                  <a:pt x="548" y="332"/>
                </a:moveTo>
                <a:cubicBezTo>
                  <a:pt x="548" y="331"/>
                  <a:pt x="548" y="330"/>
                  <a:pt x="549" y="330"/>
                </a:cubicBezTo>
                <a:cubicBezTo>
                  <a:pt x="549" y="329"/>
                  <a:pt x="552" y="329"/>
                  <a:pt x="553" y="328"/>
                </a:cubicBezTo>
                <a:cubicBezTo>
                  <a:pt x="553" y="328"/>
                  <a:pt x="554" y="327"/>
                  <a:pt x="555" y="327"/>
                </a:cubicBezTo>
                <a:cubicBezTo>
                  <a:pt x="556" y="327"/>
                  <a:pt x="556" y="328"/>
                  <a:pt x="556" y="328"/>
                </a:cubicBezTo>
                <a:cubicBezTo>
                  <a:pt x="555" y="329"/>
                  <a:pt x="553" y="330"/>
                  <a:pt x="552" y="331"/>
                </a:cubicBezTo>
                <a:cubicBezTo>
                  <a:pt x="551" y="331"/>
                  <a:pt x="550" y="331"/>
                  <a:pt x="549" y="331"/>
                </a:cubicBezTo>
                <a:cubicBezTo>
                  <a:pt x="549" y="331"/>
                  <a:pt x="548" y="332"/>
                  <a:pt x="548" y="332"/>
                </a:cubicBezTo>
                <a:close/>
                <a:moveTo>
                  <a:pt x="603" y="118"/>
                </a:moveTo>
                <a:cubicBezTo>
                  <a:pt x="603" y="118"/>
                  <a:pt x="605" y="118"/>
                  <a:pt x="605" y="118"/>
                </a:cubicBezTo>
                <a:cubicBezTo>
                  <a:pt x="605" y="119"/>
                  <a:pt x="605" y="119"/>
                  <a:pt x="603" y="120"/>
                </a:cubicBezTo>
                <a:cubicBezTo>
                  <a:pt x="601" y="121"/>
                  <a:pt x="601" y="120"/>
                  <a:pt x="600" y="119"/>
                </a:cubicBezTo>
                <a:cubicBezTo>
                  <a:pt x="601" y="119"/>
                  <a:pt x="602" y="118"/>
                  <a:pt x="603" y="118"/>
                </a:cubicBezTo>
                <a:close/>
                <a:moveTo>
                  <a:pt x="618" y="115"/>
                </a:moveTo>
                <a:cubicBezTo>
                  <a:pt x="618" y="116"/>
                  <a:pt x="620" y="119"/>
                  <a:pt x="618" y="119"/>
                </a:cubicBezTo>
                <a:cubicBezTo>
                  <a:pt x="615" y="119"/>
                  <a:pt x="612" y="120"/>
                  <a:pt x="614" y="117"/>
                </a:cubicBezTo>
                <a:cubicBezTo>
                  <a:pt x="614" y="117"/>
                  <a:pt x="618" y="115"/>
                  <a:pt x="618" y="115"/>
                </a:cubicBezTo>
                <a:close/>
                <a:moveTo>
                  <a:pt x="679" y="80"/>
                </a:moveTo>
                <a:cubicBezTo>
                  <a:pt x="679" y="79"/>
                  <a:pt x="680" y="80"/>
                  <a:pt x="681" y="80"/>
                </a:cubicBezTo>
                <a:cubicBezTo>
                  <a:pt x="681" y="80"/>
                  <a:pt x="680" y="81"/>
                  <a:pt x="679" y="82"/>
                </a:cubicBezTo>
                <a:cubicBezTo>
                  <a:pt x="678" y="82"/>
                  <a:pt x="676" y="82"/>
                  <a:pt x="676" y="82"/>
                </a:cubicBezTo>
                <a:cubicBezTo>
                  <a:pt x="677" y="81"/>
                  <a:pt x="678" y="80"/>
                  <a:pt x="679" y="80"/>
                </a:cubicBezTo>
                <a:close/>
                <a:moveTo>
                  <a:pt x="716" y="89"/>
                </a:moveTo>
                <a:cubicBezTo>
                  <a:pt x="717" y="89"/>
                  <a:pt x="717" y="89"/>
                  <a:pt x="717" y="89"/>
                </a:cubicBezTo>
                <a:cubicBezTo>
                  <a:pt x="717" y="85"/>
                  <a:pt x="718" y="87"/>
                  <a:pt x="721" y="85"/>
                </a:cubicBezTo>
                <a:cubicBezTo>
                  <a:pt x="722" y="84"/>
                  <a:pt x="723" y="83"/>
                  <a:pt x="724" y="83"/>
                </a:cubicBezTo>
                <a:cubicBezTo>
                  <a:pt x="725" y="82"/>
                  <a:pt x="729" y="81"/>
                  <a:pt x="731" y="80"/>
                </a:cubicBezTo>
                <a:cubicBezTo>
                  <a:pt x="732" y="80"/>
                  <a:pt x="736" y="77"/>
                  <a:pt x="736" y="77"/>
                </a:cubicBezTo>
                <a:cubicBezTo>
                  <a:pt x="736" y="77"/>
                  <a:pt x="740" y="77"/>
                  <a:pt x="742" y="76"/>
                </a:cubicBezTo>
                <a:cubicBezTo>
                  <a:pt x="745" y="75"/>
                  <a:pt x="749" y="73"/>
                  <a:pt x="753" y="73"/>
                </a:cubicBezTo>
                <a:cubicBezTo>
                  <a:pt x="754" y="73"/>
                  <a:pt x="756" y="73"/>
                  <a:pt x="757" y="73"/>
                </a:cubicBezTo>
                <a:cubicBezTo>
                  <a:pt x="758" y="74"/>
                  <a:pt x="765" y="74"/>
                  <a:pt x="765" y="74"/>
                </a:cubicBezTo>
                <a:cubicBezTo>
                  <a:pt x="765" y="76"/>
                  <a:pt x="760" y="76"/>
                  <a:pt x="758" y="76"/>
                </a:cubicBezTo>
                <a:cubicBezTo>
                  <a:pt x="752" y="76"/>
                  <a:pt x="754" y="78"/>
                  <a:pt x="751" y="79"/>
                </a:cubicBezTo>
                <a:cubicBezTo>
                  <a:pt x="750" y="79"/>
                  <a:pt x="750" y="80"/>
                  <a:pt x="749" y="80"/>
                </a:cubicBezTo>
                <a:cubicBezTo>
                  <a:pt x="747" y="81"/>
                  <a:pt x="746" y="81"/>
                  <a:pt x="745" y="82"/>
                </a:cubicBezTo>
                <a:cubicBezTo>
                  <a:pt x="744" y="83"/>
                  <a:pt x="743" y="83"/>
                  <a:pt x="743" y="83"/>
                </a:cubicBezTo>
                <a:cubicBezTo>
                  <a:pt x="743" y="85"/>
                  <a:pt x="745" y="85"/>
                  <a:pt x="743" y="86"/>
                </a:cubicBezTo>
                <a:cubicBezTo>
                  <a:pt x="741" y="87"/>
                  <a:pt x="742" y="86"/>
                  <a:pt x="741" y="88"/>
                </a:cubicBezTo>
                <a:cubicBezTo>
                  <a:pt x="740" y="91"/>
                  <a:pt x="740" y="91"/>
                  <a:pt x="741" y="93"/>
                </a:cubicBezTo>
                <a:cubicBezTo>
                  <a:pt x="743" y="94"/>
                  <a:pt x="744" y="94"/>
                  <a:pt x="745" y="95"/>
                </a:cubicBezTo>
                <a:cubicBezTo>
                  <a:pt x="744" y="96"/>
                  <a:pt x="744" y="98"/>
                  <a:pt x="742" y="99"/>
                </a:cubicBezTo>
                <a:cubicBezTo>
                  <a:pt x="741" y="97"/>
                  <a:pt x="741" y="97"/>
                  <a:pt x="741" y="97"/>
                </a:cubicBezTo>
                <a:cubicBezTo>
                  <a:pt x="738" y="98"/>
                  <a:pt x="738" y="98"/>
                  <a:pt x="738" y="98"/>
                </a:cubicBezTo>
                <a:cubicBezTo>
                  <a:pt x="729" y="99"/>
                  <a:pt x="729" y="99"/>
                  <a:pt x="729" y="99"/>
                </a:cubicBezTo>
                <a:cubicBezTo>
                  <a:pt x="725" y="99"/>
                  <a:pt x="725" y="99"/>
                  <a:pt x="725" y="99"/>
                </a:cubicBezTo>
                <a:cubicBezTo>
                  <a:pt x="724" y="98"/>
                  <a:pt x="724" y="98"/>
                  <a:pt x="724" y="98"/>
                </a:cubicBezTo>
                <a:cubicBezTo>
                  <a:pt x="724" y="99"/>
                  <a:pt x="721" y="96"/>
                  <a:pt x="721" y="96"/>
                </a:cubicBezTo>
                <a:cubicBezTo>
                  <a:pt x="721" y="96"/>
                  <a:pt x="721" y="96"/>
                  <a:pt x="720" y="96"/>
                </a:cubicBezTo>
                <a:cubicBezTo>
                  <a:pt x="718" y="96"/>
                  <a:pt x="714" y="95"/>
                  <a:pt x="713" y="95"/>
                </a:cubicBezTo>
                <a:cubicBezTo>
                  <a:pt x="712" y="96"/>
                  <a:pt x="711" y="95"/>
                  <a:pt x="711" y="95"/>
                </a:cubicBezTo>
                <a:cubicBezTo>
                  <a:pt x="711" y="95"/>
                  <a:pt x="712" y="93"/>
                  <a:pt x="714" y="93"/>
                </a:cubicBezTo>
                <a:cubicBezTo>
                  <a:pt x="715" y="93"/>
                  <a:pt x="715" y="91"/>
                  <a:pt x="715" y="90"/>
                </a:cubicBezTo>
                <a:cubicBezTo>
                  <a:pt x="715" y="90"/>
                  <a:pt x="716" y="89"/>
                  <a:pt x="716" y="89"/>
                </a:cubicBezTo>
                <a:close/>
                <a:moveTo>
                  <a:pt x="617" y="110"/>
                </a:moveTo>
                <a:cubicBezTo>
                  <a:pt x="615" y="111"/>
                  <a:pt x="615" y="109"/>
                  <a:pt x="614" y="110"/>
                </a:cubicBezTo>
                <a:cubicBezTo>
                  <a:pt x="613" y="110"/>
                  <a:pt x="611" y="111"/>
                  <a:pt x="611" y="110"/>
                </a:cubicBezTo>
                <a:cubicBezTo>
                  <a:pt x="610" y="109"/>
                  <a:pt x="611" y="109"/>
                  <a:pt x="609" y="110"/>
                </a:cubicBezTo>
                <a:cubicBezTo>
                  <a:pt x="608" y="110"/>
                  <a:pt x="606" y="112"/>
                  <a:pt x="605" y="112"/>
                </a:cubicBezTo>
                <a:cubicBezTo>
                  <a:pt x="604" y="112"/>
                  <a:pt x="602" y="110"/>
                  <a:pt x="601" y="110"/>
                </a:cubicBezTo>
                <a:cubicBezTo>
                  <a:pt x="601" y="111"/>
                  <a:pt x="599" y="111"/>
                  <a:pt x="600" y="112"/>
                </a:cubicBezTo>
                <a:cubicBezTo>
                  <a:pt x="600" y="112"/>
                  <a:pt x="601" y="112"/>
                  <a:pt x="601" y="113"/>
                </a:cubicBezTo>
                <a:cubicBezTo>
                  <a:pt x="601" y="113"/>
                  <a:pt x="601" y="114"/>
                  <a:pt x="602" y="114"/>
                </a:cubicBezTo>
                <a:cubicBezTo>
                  <a:pt x="602" y="113"/>
                  <a:pt x="602" y="112"/>
                  <a:pt x="603" y="112"/>
                </a:cubicBezTo>
                <a:cubicBezTo>
                  <a:pt x="604" y="113"/>
                  <a:pt x="606" y="113"/>
                  <a:pt x="606" y="113"/>
                </a:cubicBezTo>
                <a:cubicBezTo>
                  <a:pt x="606" y="113"/>
                  <a:pt x="607" y="113"/>
                  <a:pt x="607" y="113"/>
                </a:cubicBezTo>
                <a:cubicBezTo>
                  <a:pt x="608" y="113"/>
                  <a:pt x="608" y="115"/>
                  <a:pt x="608" y="115"/>
                </a:cubicBezTo>
                <a:cubicBezTo>
                  <a:pt x="607" y="116"/>
                  <a:pt x="602" y="117"/>
                  <a:pt x="601" y="118"/>
                </a:cubicBezTo>
                <a:cubicBezTo>
                  <a:pt x="601" y="118"/>
                  <a:pt x="598" y="118"/>
                  <a:pt x="597" y="118"/>
                </a:cubicBezTo>
                <a:cubicBezTo>
                  <a:pt x="595" y="118"/>
                  <a:pt x="590" y="119"/>
                  <a:pt x="588" y="118"/>
                </a:cubicBezTo>
                <a:cubicBezTo>
                  <a:pt x="587" y="117"/>
                  <a:pt x="585" y="118"/>
                  <a:pt x="584" y="118"/>
                </a:cubicBezTo>
                <a:cubicBezTo>
                  <a:pt x="583" y="118"/>
                  <a:pt x="580" y="117"/>
                  <a:pt x="580" y="117"/>
                </a:cubicBezTo>
                <a:cubicBezTo>
                  <a:pt x="580" y="117"/>
                  <a:pt x="583" y="115"/>
                  <a:pt x="582" y="115"/>
                </a:cubicBezTo>
                <a:cubicBezTo>
                  <a:pt x="582" y="115"/>
                  <a:pt x="579" y="115"/>
                  <a:pt x="578" y="115"/>
                </a:cubicBezTo>
                <a:cubicBezTo>
                  <a:pt x="578" y="115"/>
                  <a:pt x="575" y="115"/>
                  <a:pt x="575" y="115"/>
                </a:cubicBezTo>
                <a:cubicBezTo>
                  <a:pt x="575" y="114"/>
                  <a:pt x="578" y="112"/>
                  <a:pt x="577" y="112"/>
                </a:cubicBezTo>
                <a:cubicBezTo>
                  <a:pt x="576" y="112"/>
                  <a:pt x="571" y="116"/>
                  <a:pt x="571" y="116"/>
                </a:cubicBezTo>
                <a:cubicBezTo>
                  <a:pt x="569" y="117"/>
                  <a:pt x="562" y="118"/>
                  <a:pt x="559" y="118"/>
                </a:cubicBezTo>
                <a:cubicBezTo>
                  <a:pt x="557" y="118"/>
                  <a:pt x="557" y="118"/>
                  <a:pt x="557" y="118"/>
                </a:cubicBezTo>
                <a:cubicBezTo>
                  <a:pt x="557" y="119"/>
                  <a:pt x="536" y="121"/>
                  <a:pt x="536" y="121"/>
                </a:cubicBezTo>
                <a:cubicBezTo>
                  <a:pt x="535" y="121"/>
                  <a:pt x="529" y="121"/>
                  <a:pt x="527" y="121"/>
                </a:cubicBezTo>
                <a:cubicBezTo>
                  <a:pt x="526" y="121"/>
                  <a:pt x="523" y="122"/>
                  <a:pt x="522" y="122"/>
                </a:cubicBezTo>
                <a:cubicBezTo>
                  <a:pt x="520" y="122"/>
                  <a:pt x="518" y="121"/>
                  <a:pt x="519" y="120"/>
                </a:cubicBezTo>
                <a:cubicBezTo>
                  <a:pt x="520" y="119"/>
                  <a:pt x="522" y="117"/>
                  <a:pt x="523" y="117"/>
                </a:cubicBezTo>
                <a:cubicBezTo>
                  <a:pt x="523" y="116"/>
                  <a:pt x="527" y="115"/>
                  <a:pt x="522" y="115"/>
                </a:cubicBezTo>
                <a:cubicBezTo>
                  <a:pt x="517" y="114"/>
                  <a:pt x="522" y="116"/>
                  <a:pt x="517" y="115"/>
                </a:cubicBezTo>
                <a:cubicBezTo>
                  <a:pt x="512" y="114"/>
                  <a:pt x="507" y="115"/>
                  <a:pt x="507" y="115"/>
                </a:cubicBezTo>
                <a:cubicBezTo>
                  <a:pt x="503" y="114"/>
                  <a:pt x="505" y="111"/>
                  <a:pt x="505" y="108"/>
                </a:cubicBezTo>
                <a:cubicBezTo>
                  <a:pt x="505" y="106"/>
                  <a:pt x="524" y="106"/>
                  <a:pt x="524" y="106"/>
                </a:cubicBezTo>
                <a:cubicBezTo>
                  <a:pt x="524" y="106"/>
                  <a:pt x="531" y="105"/>
                  <a:pt x="531" y="105"/>
                </a:cubicBezTo>
                <a:cubicBezTo>
                  <a:pt x="541" y="106"/>
                  <a:pt x="541" y="106"/>
                  <a:pt x="541" y="106"/>
                </a:cubicBezTo>
                <a:cubicBezTo>
                  <a:pt x="542" y="106"/>
                  <a:pt x="548" y="105"/>
                  <a:pt x="548" y="105"/>
                </a:cubicBezTo>
                <a:cubicBezTo>
                  <a:pt x="548" y="105"/>
                  <a:pt x="548" y="102"/>
                  <a:pt x="545" y="102"/>
                </a:cubicBezTo>
                <a:cubicBezTo>
                  <a:pt x="543" y="102"/>
                  <a:pt x="543" y="101"/>
                  <a:pt x="539" y="101"/>
                </a:cubicBezTo>
                <a:cubicBezTo>
                  <a:pt x="536" y="101"/>
                  <a:pt x="534" y="102"/>
                  <a:pt x="533" y="102"/>
                </a:cubicBezTo>
                <a:cubicBezTo>
                  <a:pt x="532" y="102"/>
                  <a:pt x="530" y="102"/>
                  <a:pt x="526" y="102"/>
                </a:cubicBezTo>
                <a:cubicBezTo>
                  <a:pt x="521" y="102"/>
                  <a:pt x="520" y="101"/>
                  <a:pt x="520" y="101"/>
                </a:cubicBezTo>
                <a:cubicBezTo>
                  <a:pt x="520" y="101"/>
                  <a:pt x="511" y="103"/>
                  <a:pt x="510" y="103"/>
                </a:cubicBezTo>
                <a:cubicBezTo>
                  <a:pt x="510" y="102"/>
                  <a:pt x="508" y="101"/>
                  <a:pt x="508" y="100"/>
                </a:cubicBezTo>
                <a:cubicBezTo>
                  <a:pt x="508" y="99"/>
                  <a:pt x="512" y="97"/>
                  <a:pt x="513" y="97"/>
                </a:cubicBezTo>
                <a:cubicBezTo>
                  <a:pt x="515" y="97"/>
                  <a:pt x="515" y="96"/>
                  <a:pt x="518" y="97"/>
                </a:cubicBezTo>
                <a:cubicBezTo>
                  <a:pt x="521" y="97"/>
                  <a:pt x="523" y="97"/>
                  <a:pt x="524" y="96"/>
                </a:cubicBezTo>
                <a:cubicBezTo>
                  <a:pt x="526" y="96"/>
                  <a:pt x="531" y="95"/>
                  <a:pt x="532" y="95"/>
                </a:cubicBezTo>
                <a:cubicBezTo>
                  <a:pt x="536" y="95"/>
                  <a:pt x="534" y="94"/>
                  <a:pt x="534" y="94"/>
                </a:cubicBezTo>
                <a:cubicBezTo>
                  <a:pt x="533" y="94"/>
                  <a:pt x="522" y="95"/>
                  <a:pt x="520" y="95"/>
                </a:cubicBezTo>
                <a:cubicBezTo>
                  <a:pt x="519" y="95"/>
                  <a:pt x="515" y="95"/>
                  <a:pt x="515" y="95"/>
                </a:cubicBezTo>
                <a:cubicBezTo>
                  <a:pt x="515" y="94"/>
                  <a:pt x="515" y="92"/>
                  <a:pt x="514" y="93"/>
                </a:cubicBezTo>
                <a:cubicBezTo>
                  <a:pt x="509" y="93"/>
                  <a:pt x="511" y="90"/>
                  <a:pt x="513" y="90"/>
                </a:cubicBezTo>
                <a:cubicBezTo>
                  <a:pt x="517" y="90"/>
                  <a:pt x="524" y="88"/>
                  <a:pt x="525" y="87"/>
                </a:cubicBezTo>
                <a:cubicBezTo>
                  <a:pt x="526" y="87"/>
                  <a:pt x="526" y="85"/>
                  <a:pt x="527" y="85"/>
                </a:cubicBezTo>
                <a:cubicBezTo>
                  <a:pt x="529" y="83"/>
                  <a:pt x="532" y="83"/>
                  <a:pt x="535" y="83"/>
                </a:cubicBezTo>
                <a:cubicBezTo>
                  <a:pt x="538" y="82"/>
                  <a:pt x="541" y="81"/>
                  <a:pt x="545" y="80"/>
                </a:cubicBezTo>
                <a:cubicBezTo>
                  <a:pt x="551" y="78"/>
                  <a:pt x="551" y="78"/>
                  <a:pt x="551" y="78"/>
                </a:cubicBezTo>
                <a:cubicBezTo>
                  <a:pt x="551" y="78"/>
                  <a:pt x="558" y="78"/>
                  <a:pt x="559" y="78"/>
                </a:cubicBezTo>
                <a:cubicBezTo>
                  <a:pt x="560" y="78"/>
                  <a:pt x="564" y="78"/>
                  <a:pt x="564" y="78"/>
                </a:cubicBezTo>
                <a:cubicBezTo>
                  <a:pt x="562" y="81"/>
                  <a:pt x="561" y="80"/>
                  <a:pt x="558" y="82"/>
                </a:cubicBezTo>
                <a:cubicBezTo>
                  <a:pt x="557" y="83"/>
                  <a:pt x="554" y="84"/>
                  <a:pt x="554" y="84"/>
                </a:cubicBezTo>
                <a:cubicBezTo>
                  <a:pt x="554" y="84"/>
                  <a:pt x="558" y="84"/>
                  <a:pt x="558" y="84"/>
                </a:cubicBezTo>
                <a:cubicBezTo>
                  <a:pt x="559" y="84"/>
                  <a:pt x="561" y="83"/>
                  <a:pt x="562" y="83"/>
                </a:cubicBezTo>
                <a:cubicBezTo>
                  <a:pt x="563" y="83"/>
                  <a:pt x="564" y="81"/>
                  <a:pt x="565" y="81"/>
                </a:cubicBezTo>
                <a:cubicBezTo>
                  <a:pt x="567" y="81"/>
                  <a:pt x="571" y="81"/>
                  <a:pt x="573" y="81"/>
                </a:cubicBezTo>
                <a:cubicBezTo>
                  <a:pt x="574" y="82"/>
                  <a:pt x="576" y="82"/>
                  <a:pt x="576" y="82"/>
                </a:cubicBezTo>
                <a:cubicBezTo>
                  <a:pt x="576" y="82"/>
                  <a:pt x="578" y="83"/>
                  <a:pt x="576" y="84"/>
                </a:cubicBezTo>
                <a:cubicBezTo>
                  <a:pt x="573" y="85"/>
                  <a:pt x="572" y="85"/>
                  <a:pt x="571" y="86"/>
                </a:cubicBezTo>
                <a:cubicBezTo>
                  <a:pt x="570" y="86"/>
                  <a:pt x="568" y="86"/>
                  <a:pt x="568" y="87"/>
                </a:cubicBezTo>
                <a:cubicBezTo>
                  <a:pt x="569" y="87"/>
                  <a:pt x="573" y="87"/>
                  <a:pt x="574" y="86"/>
                </a:cubicBezTo>
                <a:cubicBezTo>
                  <a:pt x="575" y="85"/>
                  <a:pt x="576" y="85"/>
                  <a:pt x="578" y="85"/>
                </a:cubicBezTo>
                <a:cubicBezTo>
                  <a:pt x="578" y="85"/>
                  <a:pt x="585" y="85"/>
                  <a:pt x="585" y="85"/>
                </a:cubicBezTo>
                <a:cubicBezTo>
                  <a:pt x="585" y="85"/>
                  <a:pt x="585" y="84"/>
                  <a:pt x="585" y="84"/>
                </a:cubicBezTo>
                <a:cubicBezTo>
                  <a:pt x="585" y="83"/>
                  <a:pt x="585" y="82"/>
                  <a:pt x="584" y="82"/>
                </a:cubicBezTo>
                <a:cubicBezTo>
                  <a:pt x="583" y="82"/>
                  <a:pt x="580" y="81"/>
                  <a:pt x="583" y="80"/>
                </a:cubicBezTo>
                <a:cubicBezTo>
                  <a:pt x="585" y="80"/>
                  <a:pt x="585" y="79"/>
                  <a:pt x="587" y="80"/>
                </a:cubicBezTo>
                <a:cubicBezTo>
                  <a:pt x="592" y="80"/>
                  <a:pt x="590" y="79"/>
                  <a:pt x="591" y="83"/>
                </a:cubicBezTo>
                <a:cubicBezTo>
                  <a:pt x="592" y="89"/>
                  <a:pt x="590" y="87"/>
                  <a:pt x="589" y="90"/>
                </a:cubicBezTo>
                <a:cubicBezTo>
                  <a:pt x="589" y="90"/>
                  <a:pt x="588" y="92"/>
                  <a:pt x="588" y="92"/>
                </a:cubicBezTo>
                <a:cubicBezTo>
                  <a:pt x="589" y="93"/>
                  <a:pt x="591" y="92"/>
                  <a:pt x="593" y="91"/>
                </a:cubicBezTo>
                <a:cubicBezTo>
                  <a:pt x="595" y="91"/>
                  <a:pt x="594" y="89"/>
                  <a:pt x="594" y="88"/>
                </a:cubicBezTo>
                <a:cubicBezTo>
                  <a:pt x="595" y="88"/>
                  <a:pt x="594" y="88"/>
                  <a:pt x="596" y="87"/>
                </a:cubicBezTo>
                <a:cubicBezTo>
                  <a:pt x="599" y="84"/>
                  <a:pt x="598" y="83"/>
                  <a:pt x="600" y="81"/>
                </a:cubicBezTo>
                <a:cubicBezTo>
                  <a:pt x="601" y="80"/>
                  <a:pt x="601" y="80"/>
                  <a:pt x="601" y="80"/>
                </a:cubicBezTo>
                <a:cubicBezTo>
                  <a:pt x="607" y="78"/>
                  <a:pt x="607" y="78"/>
                  <a:pt x="607" y="78"/>
                </a:cubicBezTo>
                <a:cubicBezTo>
                  <a:pt x="607" y="78"/>
                  <a:pt x="610" y="79"/>
                  <a:pt x="610" y="79"/>
                </a:cubicBezTo>
                <a:cubicBezTo>
                  <a:pt x="611" y="79"/>
                  <a:pt x="611" y="77"/>
                  <a:pt x="614" y="79"/>
                </a:cubicBezTo>
                <a:cubicBezTo>
                  <a:pt x="616" y="80"/>
                  <a:pt x="616" y="80"/>
                  <a:pt x="617" y="82"/>
                </a:cubicBezTo>
                <a:cubicBezTo>
                  <a:pt x="618" y="85"/>
                  <a:pt x="614" y="85"/>
                  <a:pt x="614" y="87"/>
                </a:cubicBezTo>
                <a:cubicBezTo>
                  <a:pt x="614" y="88"/>
                  <a:pt x="614" y="89"/>
                  <a:pt x="613" y="90"/>
                </a:cubicBezTo>
                <a:cubicBezTo>
                  <a:pt x="613" y="91"/>
                  <a:pt x="613" y="91"/>
                  <a:pt x="613" y="92"/>
                </a:cubicBezTo>
                <a:cubicBezTo>
                  <a:pt x="613" y="92"/>
                  <a:pt x="614" y="93"/>
                  <a:pt x="612" y="94"/>
                </a:cubicBezTo>
                <a:cubicBezTo>
                  <a:pt x="611" y="94"/>
                  <a:pt x="608" y="96"/>
                  <a:pt x="608" y="96"/>
                </a:cubicBezTo>
                <a:cubicBezTo>
                  <a:pt x="607" y="97"/>
                  <a:pt x="606" y="96"/>
                  <a:pt x="606" y="98"/>
                </a:cubicBezTo>
                <a:cubicBezTo>
                  <a:pt x="608" y="100"/>
                  <a:pt x="608" y="100"/>
                  <a:pt x="608" y="100"/>
                </a:cubicBezTo>
                <a:cubicBezTo>
                  <a:pt x="605" y="102"/>
                  <a:pt x="612" y="101"/>
                  <a:pt x="613" y="102"/>
                </a:cubicBezTo>
                <a:cubicBezTo>
                  <a:pt x="613" y="103"/>
                  <a:pt x="611" y="103"/>
                  <a:pt x="614" y="104"/>
                </a:cubicBezTo>
                <a:cubicBezTo>
                  <a:pt x="616" y="105"/>
                  <a:pt x="617" y="106"/>
                  <a:pt x="618" y="106"/>
                </a:cubicBezTo>
                <a:cubicBezTo>
                  <a:pt x="620" y="106"/>
                  <a:pt x="622" y="106"/>
                  <a:pt x="622" y="107"/>
                </a:cubicBezTo>
                <a:cubicBezTo>
                  <a:pt x="621" y="109"/>
                  <a:pt x="620" y="109"/>
                  <a:pt x="617" y="110"/>
                </a:cubicBezTo>
                <a:close/>
                <a:moveTo>
                  <a:pt x="474" y="90"/>
                </a:moveTo>
                <a:cubicBezTo>
                  <a:pt x="473" y="90"/>
                  <a:pt x="471" y="90"/>
                  <a:pt x="469" y="90"/>
                </a:cubicBezTo>
                <a:cubicBezTo>
                  <a:pt x="469" y="88"/>
                  <a:pt x="469" y="88"/>
                  <a:pt x="469" y="88"/>
                </a:cubicBezTo>
                <a:cubicBezTo>
                  <a:pt x="474" y="86"/>
                  <a:pt x="474" y="86"/>
                  <a:pt x="474" y="86"/>
                </a:cubicBezTo>
                <a:cubicBezTo>
                  <a:pt x="474" y="86"/>
                  <a:pt x="479" y="86"/>
                  <a:pt x="479" y="86"/>
                </a:cubicBezTo>
                <a:cubicBezTo>
                  <a:pt x="480" y="86"/>
                  <a:pt x="483" y="83"/>
                  <a:pt x="483" y="83"/>
                </a:cubicBezTo>
                <a:cubicBezTo>
                  <a:pt x="483" y="82"/>
                  <a:pt x="483" y="81"/>
                  <a:pt x="484" y="81"/>
                </a:cubicBezTo>
                <a:cubicBezTo>
                  <a:pt x="485" y="81"/>
                  <a:pt x="487" y="82"/>
                  <a:pt x="488" y="82"/>
                </a:cubicBezTo>
                <a:cubicBezTo>
                  <a:pt x="489" y="81"/>
                  <a:pt x="488" y="81"/>
                  <a:pt x="489" y="80"/>
                </a:cubicBezTo>
                <a:cubicBezTo>
                  <a:pt x="489" y="80"/>
                  <a:pt x="492" y="79"/>
                  <a:pt x="493" y="78"/>
                </a:cubicBezTo>
                <a:cubicBezTo>
                  <a:pt x="495" y="77"/>
                  <a:pt x="498" y="75"/>
                  <a:pt x="500" y="75"/>
                </a:cubicBezTo>
                <a:cubicBezTo>
                  <a:pt x="502" y="75"/>
                  <a:pt x="502" y="74"/>
                  <a:pt x="502" y="74"/>
                </a:cubicBezTo>
                <a:cubicBezTo>
                  <a:pt x="502" y="72"/>
                  <a:pt x="501" y="72"/>
                  <a:pt x="504" y="71"/>
                </a:cubicBezTo>
                <a:cubicBezTo>
                  <a:pt x="505" y="70"/>
                  <a:pt x="504" y="69"/>
                  <a:pt x="505" y="69"/>
                </a:cubicBezTo>
                <a:cubicBezTo>
                  <a:pt x="506" y="69"/>
                  <a:pt x="508" y="69"/>
                  <a:pt x="510" y="69"/>
                </a:cubicBezTo>
                <a:cubicBezTo>
                  <a:pt x="510" y="69"/>
                  <a:pt x="518" y="67"/>
                  <a:pt x="523" y="67"/>
                </a:cubicBezTo>
                <a:cubicBezTo>
                  <a:pt x="527" y="67"/>
                  <a:pt x="527" y="67"/>
                  <a:pt x="529" y="66"/>
                </a:cubicBezTo>
                <a:cubicBezTo>
                  <a:pt x="531" y="65"/>
                  <a:pt x="530" y="69"/>
                  <a:pt x="533" y="69"/>
                </a:cubicBezTo>
                <a:cubicBezTo>
                  <a:pt x="534" y="69"/>
                  <a:pt x="535" y="71"/>
                  <a:pt x="537" y="70"/>
                </a:cubicBezTo>
                <a:cubicBezTo>
                  <a:pt x="537" y="70"/>
                  <a:pt x="540" y="70"/>
                  <a:pt x="540" y="70"/>
                </a:cubicBezTo>
                <a:cubicBezTo>
                  <a:pt x="540" y="72"/>
                  <a:pt x="542" y="70"/>
                  <a:pt x="544" y="70"/>
                </a:cubicBezTo>
                <a:cubicBezTo>
                  <a:pt x="545" y="69"/>
                  <a:pt x="549" y="70"/>
                  <a:pt x="551" y="70"/>
                </a:cubicBezTo>
                <a:cubicBezTo>
                  <a:pt x="554" y="70"/>
                  <a:pt x="554" y="71"/>
                  <a:pt x="556" y="73"/>
                </a:cubicBezTo>
                <a:cubicBezTo>
                  <a:pt x="559" y="77"/>
                  <a:pt x="559" y="75"/>
                  <a:pt x="551" y="77"/>
                </a:cubicBezTo>
                <a:cubicBezTo>
                  <a:pt x="548" y="78"/>
                  <a:pt x="545" y="79"/>
                  <a:pt x="542" y="79"/>
                </a:cubicBezTo>
                <a:cubicBezTo>
                  <a:pt x="541" y="80"/>
                  <a:pt x="537" y="80"/>
                  <a:pt x="535" y="81"/>
                </a:cubicBezTo>
                <a:cubicBezTo>
                  <a:pt x="533" y="81"/>
                  <a:pt x="533" y="81"/>
                  <a:pt x="531" y="81"/>
                </a:cubicBezTo>
                <a:cubicBezTo>
                  <a:pt x="528" y="82"/>
                  <a:pt x="525" y="84"/>
                  <a:pt x="522" y="85"/>
                </a:cubicBezTo>
                <a:cubicBezTo>
                  <a:pt x="518" y="86"/>
                  <a:pt x="515" y="87"/>
                  <a:pt x="512" y="87"/>
                </a:cubicBezTo>
                <a:cubicBezTo>
                  <a:pt x="510" y="88"/>
                  <a:pt x="509" y="89"/>
                  <a:pt x="508" y="89"/>
                </a:cubicBezTo>
                <a:cubicBezTo>
                  <a:pt x="507" y="89"/>
                  <a:pt x="497" y="96"/>
                  <a:pt x="490" y="96"/>
                </a:cubicBezTo>
                <a:cubicBezTo>
                  <a:pt x="487" y="96"/>
                  <a:pt x="489" y="96"/>
                  <a:pt x="487" y="96"/>
                </a:cubicBezTo>
                <a:cubicBezTo>
                  <a:pt x="486" y="97"/>
                  <a:pt x="485" y="97"/>
                  <a:pt x="483" y="99"/>
                </a:cubicBezTo>
                <a:cubicBezTo>
                  <a:pt x="480" y="100"/>
                  <a:pt x="479" y="98"/>
                  <a:pt x="478" y="98"/>
                </a:cubicBezTo>
                <a:cubicBezTo>
                  <a:pt x="476" y="97"/>
                  <a:pt x="478" y="96"/>
                  <a:pt x="478" y="96"/>
                </a:cubicBezTo>
                <a:cubicBezTo>
                  <a:pt x="478" y="95"/>
                  <a:pt x="478" y="93"/>
                  <a:pt x="478" y="93"/>
                </a:cubicBezTo>
                <a:cubicBezTo>
                  <a:pt x="475" y="92"/>
                  <a:pt x="474" y="93"/>
                  <a:pt x="474" y="90"/>
                </a:cubicBezTo>
                <a:close/>
                <a:moveTo>
                  <a:pt x="625" y="80"/>
                </a:moveTo>
                <a:cubicBezTo>
                  <a:pt x="624" y="80"/>
                  <a:pt x="622" y="82"/>
                  <a:pt x="621" y="83"/>
                </a:cubicBezTo>
                <a:cubicBezTo>
                  <a:pt x="620" y="83"/>
                  <a:pt x="618" y="79"/>
                  <a:pt x="617" y="79"/>
                </a:cubicBezTo>
                <a:cubicBezTo>
                  <a:pt x="617" y="78"/>
                  <a:pt x="617" y="78"/>
                  <a:pt x="617" y="78"/>
                </a:cubicBezTo>
                <a:cubicBezTo>
                  <a:pt x="617" y="78"/>
                  <a:pt x="614" y="77"/>
                  <a:pt x="613" y="75"/>
                </a:cubicBezTo>
                <a:cubicBezTo>
                  <a:pt x="612" y="74"/>
                  <a:pt x="614" y="75"/>
                  <a:pt x="615" y="74"/>
                </a:cubicBezTo>
                <a:cubicBezTo>
                  <a:pt x="617" y="74"/>
                  <a:pt x="619" y="75"/>
                  <a:pt x="621" y="75"/>
                </a:cubicBezTo>
                <a:cubicBezTo>
                  <a:pt x="626" y="75"/>
                  <a:pt x="627" y="73"/>
                  <a:pt x="630" y="76"/>
                </a:cubicBezTo>
                <a:cubicBezTo>
                  <a:pt x="630" y="76"/>
                  <a:pt x="629" y="78"/>
                  <a:pt x="628" y="78"/>
                </a:cubicBezTo>
                <a:cubicBezTo>
                  <a:pt x="627" y="78"/>
                  <a:pt x="627" y="79"/>
                  <a:pt x="625" y="80"/>
                </a:cubicBezTo>
                <a:close/>
                <a:moveTo>
                  <a:pt x="579" y="120"/>
                </a:moveTo>
                <a:cubicBezTo>
                  <a:pt x="579" y="120"/>
                  <a:pt x="582" y="120"/>
                  <a:pt x="582" y="121"/>
                </a:cubicBezTo>
                <a:cubicBezTo>
                  <a:pt x="582" y="121"/>
                  <a:pt x="582" y="122"/>
                  <a:pt x="581" y="122"/>
                </a:cubicBezTo>
                <a:cubicBezTo>
                  <a:pt x="579" y="123"/>
                  <a:pt x="579" y="123"/>
                  <a:pt x="579" y="120"/>
                </a:cubicBezTo>
                <a:close/>
                <a:moveTo>
                  <a:pt x="243" y="302"/>
                </a:moveTo>
                <a:cubicBezTo>
                  <a:pt x="248" y="303"/>
                  <a:pt x="248" y="303"/>
                  <a:pt x="248" y="303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52" y="304"/>
                  <a:pt x="252" y="304"/>
                  <a:pt x="252" y="304"/>
                </a:cubicBezTo>
                <a:cubicBezTo>
                  <a:pt x="254" y="304"/>
                  <a:pt x="254" y="304"/>
                  <a:pt x="254" y="304"/>
                </a:cubicBezTo>
                <a:cubicBezTo>
                  <a:pt x="254" y="306"/>
                  <a:pt x="254" y="310"/>
                  <a:pt x="255" y="311"/>
                </a:cubicBezTo>
                <a:cubicBezTo>
                  <a:pt x="255" y="311"/>
                  <a:pt x="253" y="314"/>
                  <a:pt x="254" y="314"/>
                </a:cubicBezTo>
                <a:cubicBezTo>
                  <a:pt x="256" y="315"/>
                  <a:pt x="256" y="315"/>
                  <a:pt x="258" y="317"/>
                </a:cubicBezTo>
                <a:cubicBezTo>
                  <a:pt x="259" y="318"/>
                  <a:pt x="259" y="318"/>
                  <a:pt x="259" y="320"/>
                </a:cubicBezTo>
                <a:cubicBezTo>
                  <a:pt x="260" y="322"/>
                  <a:pt x="260" y="322"/>
                  <a:pt x="260" y="322"/>
                </a:cubicBezTo>
                <a:cubicBezTo>
                  <a:pt x="260" y="323"/>
                  <a:pt x="258" y="324"/>
                  <a:pt x="258" y="324"/>
                </a:cubicBezTo>
                <a:cubicBezTo>
                  <a:pt x="258" y="324"/>
                  <a:pt x="257" y="325"/>
                  <a:pt x="257" y="326"/>
                </a:cubicBezTo>
                <a:cubicBezTo>
                  <a:pt x="257" y="326"/>
                  <a:pt x="254" y="326"/>
                  <a:pt x="254" y="326"/>
                </a:cubicBezTo>
                <a:cubicBezTo>
                  <a:pt x="253" y="326"/>
                  <a:pt x="249" y="323"/>
                  <a:pt x="248" y="323"/>
                </a:cubicBezTo>
                <a:cubicBezTo>
                  <a:pt x="247" y="323"/>
                  <a:pt x="245" y="322"/>
                  <a:pt x="245" y="321"/>
                </a:cubicBezTo>
                <a:cubicBezTo>
                  <a:pt x="246" y="321"/>
                  <a:pt x="246" y="320"/>
                  <a:pt x="246" y="320"/>
                </a:cubicBezTo>
                <a:cubicBezTo>
                  <a:pt x="247" y="320"/>
                  <a:pt x="252" y="316"/>
                  <a:pt x="250" y="317"/>
                </a:cubicBezTo>
                <a:cubicBezTo>
                  <a:pt x="247" y="319"/>
                  <a:pt x="247" y="319"/>
                  <a:pt x="247" y="319"/>
                </a:cubicBezTo>
                <a:cubicBezTo>
                  <a:pt x="246" y="318"/>
                  <a:pt x="246" y="318"/>
                  <a:pt x="246" y="318"/>
                </a:cubicBezTo>
                <a:cubicBezTo>
                  <a:pt x="246" y="318"/>
                  <a:pt x="245" y="319"/>
                  <a:pt x="245" y="319"/>
                </a:cubicBezTo>
                <a:cubicBezTo>
                  <a:pt x="244" y="320"/>
                  <a:pt x="244" y="320"/>
                  <a:pt x="243" y="319"/>
                </a:cubicBezTo>
                <a:cubicBezTo>
                  <a:pt x="242" y="319"/>
                  <a:pt x="241" y="318"/>
                  <a:pt x="241" y="318"/>
                </a:cubicBezTo>
                <a:cubicBezTo>
                  <a:pt x="241" y="318"/>
                  <a:pt x="243" y="317"/>
                  <a:pt x="243" y="317"/>
                </a:cubicBezTo>
                <a:cubicBezTo>
                  <a:pt x="243" y="316"/>
                  <a:pt x="244" y="316"/>
                  <a:pt x="243" y="315"/>
                </a:cubicBezTo>
                <a:cubicBezTo>
                  <a:pt x="242" y="316"/>
                  <a:pt x="240" y="318"/>
                  <a:pt x="240" y="314"/>
                </a:cubicBezTo>
                <a:cubicBezTo>
                  <a:pt x="240" y="314"/>
                  <a:pt x="241" y="314"/>
                  <a:pt x="241" y="314"/>
                </a:cubicBezTo>
                <a:cubicBezTo>
                  <a:pt x="240" y="314"/>
                  <a:pt x="239" y="315"/>
                  <a:pt x="238" y="315"/>
                </a:cubicBezTo>
                <a:cubicBezTo>
                  <a:pt x="238" y="315"/>
                  <a:pt x="238" y="314"/>
                  <a:pt x="239" y="313"/>
                </a:cubicBezTo>
                <a:cubicBezTo>
                  <a:pt x="241" y="312"/>
                  <a:pt x="240" y="312"/>
                  <a:pt x="242" y="312"/>
                </a:cubicBezTo>
                <a:cubicBezTo>
                  <a:pt x="242" y="312"/>
                  <a:pt x="241" y="311"/>
                  <a:pt x="240" y="311"/>
                </a:cubicBezTo>
                <a:cubicBezTo>
                  <a:pt x="240" y="311"/>
                  <a:pt x="239" y="312"/>
                  <a:pt x="239" y="312"/>
                </a:cubicBezTo>
                <a:cubicBezTo>
                  <a:pt x="236" y="312"/>
                  <a:pt x="237" y="311"/>
                  <a:pt x="239" y="310"/>
                </a:cubicBezTo>
                <a:cubicBezTo>
                  <a:pt x="239" y="309"/>
                  <a:pt x="239" y="309"/>
                  <a:pt x="239" y="309"/>
                </a:cubicBezTo>
                <a:cubicBezTo>
                  <a:pt x="238" y="309"/>
                  <a:pt x="237" y="309"/>
                  <a:pt x="237" y="309"/>
                </a:cubicBezTo>
                <a:cubicBezTo>
                  <a:pt x="236" y="308"/>
                  <a:pt x="238" y="308"/>
                  <a:pt x="238" y="307"/>
                </a:cubicBezTo>
                <a:cubicBezTo>
                  <a:pt x="238" y="307"/>
                  <a:pt x="237" y="306"/>
                  <a:pt x="237" y="306"/>
                </a:cubicBezTo>
                <a:cubicBezTo>
                  <a:pt x="237" y="306"/>
                  <a:pt x="236" y="306"/>
                  <a:pt x="236" y="306"/>
                </a:cubicBezTo>
                <a:cubicBezTo>
                  <a:pt x="236" y="306"/>
                  <a:pt x="235" y="306"/>
                  <a:pt x="235" y="306"/>
                </a:cubicBezTo>
                <a:cubicBezTo>
                  <a:pt x="234" y="307"/>
                  <a:pt x="232" y="307"/>
                  <a:pt x="233" y="306"/>
                </a:cubicBezTo>
                <a:cubicBezTo>
                  <a:pt x="233" y="306"/>
                  <a:pt x="234" y="305"/>
                  <a:pt x="234" y="305"/>
                </a:cubicBezTo>
                <a:cubicBezTo>
                  <a:pt x="234" y="302"/>
                  <a:pt x="233" y="305"/>
                  <a:pt x="237" y="303"/>
                </a:cubicBezTo>
                <a:cubicBezTo>
                  <a:pt x="233" y="303"/>
                  <a:pt x="233" y="303"/>
                  <a:pt x="233" y="303"/>
                </a:cubicBezTo>
                <a:cubicBezTo>
                  <a:pt x="233" y="301"/>
                  <a:pt x="233" y="301"/>
                  <a:pt x="233" y="301"/>
                </a:cubicBezTo>
                <a:cubicBezTo>
                  <a:pt x="233" y="301"/>
                  <a:pt x="234" y="300"/>
                  <a:pt x="234" y="300"/>
                </a:cubicBezTo>
                <a:cubicBezTo>
                  <a:pt x="235" y="300"/>
                  <a:pt x="238" y="299"/>
                  <a:pt x="238" y="299"/>
                </a:cubicBezTo>
                <a:cubicBezTo>
                  <a:pt x="240" y="300"/>
                  <a:pt x="240" y="300"/>
                  <a:pt x="240" y="300"/>
                </a:cubicBezTo>
                <a:lnTo>
                  <a:pt x="243" y="302"/>
                </a:lnTo>
                <a:close/>
                <a:moveTo>
                  <a:pt x="708" y="147"/>
                </a:moveTo>
                <a:cubicBezTo>
                  <a:pt x="708" y="147"/>
                  <a:pt x="708" y="147"/>
                  <a:pt x="708" y="147"/>
                </a:cubicBezTo>
                <a:cubicBezTo>
                  <a:pt x="708" y="145"/>
                  <a:pt x="708" y="145"/>
                  <a:pt x="708" y="145"/>
                </a:cubicBezTo>
                <a:cubicBezTo>
                  <a:pt x="709" y="145"/>
                  <a:pt x="710" y="144"/>
                  <a:pt x="711" y="146"/>
                </a:cubicBezTo>
                <a:cubicBezTo>
                  <a:pt x="712" y="146"/>
                  <a:pt x="713" y="149"/>
                  <a:pt x="713" y="149"/>
                </a:cubicBezTo>
                <a:cubicBezTo>
                  <a:pt x="709" y="149"/>
                  <a:pt x="709" y="149"/>
                  <a:pt x="709" y="149"/>
                </a:cubicBezTo>
                <a:cubicBezTo>
                  <a:pt x="709" y="149"/>
                  <a:pt x="708" y="147"/>
                  <a:pt x="708" y="147"/>
                </a:cubicBezTo>
                <a:close/>
                <a:moveTo>
                  <a:pt x="687" y="182"/>
                </a:moveTo>
                <a:cubicBezTo>
                  <a:pt x="685" y="183"/>
                  <a:pt x="684" y="184"/>
                  <a:pt x="684" y="180"/>
                </a:cubicBezTo>
                <a:cubicBezTo>
                  <a:pt x="687" y="179"/>
                  <a:pt x="687" y="179"/>
                  <a:pt x="687" y="179"/>
                </a:cubicBezTo>
                <a:cubicBezTo>
                  <a:pt x="690" y="177"/>
                  <a:pt x="690" y="177"/>
                  <a:pt x="690" y="177"/>
                </a:cubicBezTo>
                <a:cubicBezTo>
                  <a:pt x="693" y="175"/>
                  <a:pt x="693" y="175"/>
                  <a:pt x="693" y="175"/>
                </a:cubicBezTo>
                <a:cubicBezTo>
                  <a:pt x="695" y="176"/>
                  <a:pt x="695" y="176"/>
                  <a:pt x="695" y="176"/>
                </a:cubicBezTo>
                <a:cubicBezTo>
                  <a:pt x="695" y="176"/>
                  <a:pt x="697" y="176"/>
                  <a:pt x="698" y="176"/>
                </a:cubicBezTo>
                <a:cubicBezTo>
                  <a:pt x="698" y="176"/>
                  <a:pt x="701" y="175"/>
                  <a:pt x="701" y="175"/>
                </a:cubicBezTo>
                <a:cubicBezTo>
                  <a:pt x="701" y="175"/>
                  <a:pt x="702" y="175"/>
                  <a:pt x="702" y="175"/>
                </a:cubicBezTo>
                <a:cubicBezTo>
                  <a:pt x="703" y="175"/>
                  <a:pt x="701" y="177"/>
                  <a:pt x="701" y="177"/>
                </a:cubicBezTo>
                <a:cubicBezTo>
                  <a:pt x="699" y="179"/>
                  <a:pt x="699" y="179"/>
                  <a:pt x="699" y="179"/>
                </a:cubicBezTo>
                <a:cubicBezTo>
                  <a:pt x="699" y="179"/>
                  <a:pt x="694" y="183"/>
                  <a:pt x="693" y="183"/>
                </a:cubicBezTo>
                <a:cubicBezTo>
                  <a:pt x="692" y="184"/>
                  <a:pt x="690" y="181"/>
                  <a:pt x="687" y="182"/>
                </a:cubicBezTo>
                <a:close/>
                <a:moveTo>
                  <a:pt x="652" y="286"/>
                </a:moveTo>
                <a:cubicBezTo>
                  <a:pt x="655" y="286"/>
                  <a:pt x="655" y="286"/>
                  <a:pt x="655" y="286"/>
                </a:cubicBezTo>
                <a:cubicBezTo>
                  <a:pt x="654" y="288"/>
                  <a:pt x="654" y="288"/>
                  <a:pt x="654" y="288"/>
                </a:cubicBezTo>
                <a:cubicBezTo>
                  <a:pt x="651" y="289"/>
                  <a:pt x="651" y="289"/>
                  <a:pt x="651" y="289"/>
                </a:cubicBezTo>
                <a:lnTo>
                  <a:pt x="652" y="286"/>
                </a:lnTo>
                <a:close/>
                <a:moveTo>
                  <a:pt x="676" y="245"/>
                </a:moveTo>
                <a:cubicBezTo>
                  <a:pt x="676" y="245"/>
                  <a:pt x="675" y="246"/>
                  <a:pt x="674" y="246"/>
                </a:cubicBezTo>
                <a:cubicBezTo>
                  <a:pt x="672" y="249"/>
                  <a:pt x="666" y="247"/>
                  <a:pt x="677" y="243"/>
                </a:cubicBezTo>
                <a:cubicBezTo>
                  <a:pt x="681" y="242"/>
                  <a:pt x="676" y="243"/>
                  <a:pt x="675" y="243"/>
                </a:cubicBezTo>
                <a:cubicBezTo>
                  <a:pt x="671" y="244"/>
                  <a:pt x="673" y="242"/>
                  <a:pt x="674" y="242"/>
                </a:cubicBezTo>
                <a:cubicBezTo>
                  <a:pt x="675" y="242"/>
                  <a:pt x="680" y="240"/>
                  <a:pt x="679" y="242"/>
                </a:cubicBezTo>
                <a:cubicBezTo>
                  <a:pt x="679" y="241"/>
                  <a:pt x="680" y="240"/>
                  <a:pt x="682" y="239"/>
                </a:cubicBezTo>
                <a:cubicBezTo>
                  <a:pt x="682" y="239"/>
                  <a:pt x="682" y="242"/>
                  <a:pt x="682" y="242"/>
                </a:cubicBezTo>
                <a:cubicBezTo>
                  <a:pt x="686" y="241"/>
                  <a:pt x="685" y="241"/>
                  <a:pt x="685" y="243"/>
                </a:cubicBezTo>
                <a:cubicBezTo>
                  <a:pt x="685" y="245"/>
                  <a:pt x="682" y="244"/>
                  <a:pt x="681" y="244"/>
                </a:cubicBezTo>
                <a:cubicBezTo>
                  <a:pt x="681" y="244"/>
                  <a:pt x="679" y="246"/>
                  <a:pt x="679" y="246"/>
                </a:cubicBezTo>
                <a:cubicBezTo>
                  <a:pt x="679" y="247"/>
                  <a:pt x="676" y="248"/>
                  <a:pt x="676" y="247"/>
                </a:cubicBezTo>
                <a:cubicBezTo>
                  <a:pt x="675" y="246"/>
                  <a:pt x="676" y="245"/>
                  <a:pt x="676" y="245"/>
                </a:cubicBezTo>
                <a:close/>
                <a:moveTo>
                  <a:pt x="718" y="181"/>
                </a:moveTo>
                <a:cubicBezTo>
                  <a:pt x="722" y="182"/>
                  <a:pt x="717" y="185"/>
                  <a:pt x="715" y="186"/>
                </a:cubicBezTo>
                <a:cubicBezTo>
                  <a:pt x="715" y="186"/>
                  <a:pt x="713" y="188"/>
                  <a:pt x="712" y="188"/>
                </a:cubicBezTo>
                <a:cubicBezTo>
                  <a:pt x="712" y="189"/>
                  <a:pt x="710" y="190"/>
                  <a:pt x="710" y="190"/>
                </a:cubicBezTo>
                <a:cubicBezTo>
                  <a:pt x="710" y="189"/>
                  <a:pt x="708" y="188"/>
                  <a:pt x="708" y="187"/>
                </a:cubicBezTo>
                <a:cubicBezTo>
                  <a:pt x="708" y="186"/>
                  <a:pt x="709" y="187"/>
                  <a:pt x="710" y="186"/>
                </a:cubicBezTo>
                <a:cubicBezTo>
                  <a:pt x="712" y="183"/>
                  <a:pt x="712" y="179"/>
                  <a:pt x="718" y="181"/>
                </a:cubicBezTo>
                <a:close/>
                <a:moveTo>
                  <a:pt x="721" y="167"/>
                </a:moveTo>
                <a:cubicBezTo>
                  <a:pt x="721" y="168"/>
                  <a:pt x="717" y="169"/>
                  <a:pt x="716" y="169"/>
                </a:cubicBezTo>
                <a:cubicBezTo>
                  <a:pt x="716" y="169"/>
                  <a:pt x="715" y="170"/>
                  <a:pt x="714" y="170"/>
                </a:cubicBezTo>
                <a:cubicBezTo>
                  <a:pt x="713" y="170"/>
                  <a:pt x="710" y="170"/>
                  <a:pt x="710" y="170"/>
                </a:cubicBezTo>
                <a:cubicBezTo>
                  <a:pt x="709" y="169"/>
                  <a:pt x="708" y="169"/>
                  <a:pt x="708" y="169"/>
                </a:cubicBezTo>
                <a:cubicBezTo>
                  <a:pt x="707" y="168"/>
                  <a:pt x="705" y="169"/>
                  <a:pt x="704" y="169"/>
                </a:cubicBezTo>
                <a:cubicBezTo>
                  <a:pt x="704" y="167"/>
                  <a:pt x="705" y="168"/>
                  <a:pt x="707" y="166"/>
                </a:cubicBezTo>
                <a:cubicBezTo>
                  <a:pt x="705" y="165"/>
                  <a:pt x="706" y="165"/>
                  <a:pt x="703" y="165"/>
                </a:cubicBezTo>
                <a:cubicBezTo>
                  <a:pt x="703" y="165"/>
                  <a:pt x="701" y="166"/>
                  <a:pt x="702" y="165"/>
                </a:cubicBezTo>
                <a:cubicBezTo>
                  <a:pt x="702" y="165"/>
                  <a:pt x="705" y="164"/>
                  <a:pt x="704" y="164"/>
                </a:cubicBezTo>
                <a:cubicBezTo>
                  <a:pt x="702" y="163"/>
                  <a:pt x="701" y="164"/>
                  <a:pt x="699" y="164"/>
                </a:cubicBezTo>
                <a:cubicBezTo>
                  <a:pt x="697" y="164"/>
                  <a:pt x="697" y="167"/>
                  <a:pt x="695" y="168"/>
                </a:cubicBezTo>
                <a:cubicBezTo>
                  <a:pt x="693" y="168"/>
                  <a:pt x="690" y="168"/>
                  <a:pt x="690" y="168"/>
                </a:cubicBezTo>
                <a:cubicBezTo>
                  <a:pt x="690" y="169"/>
                  <a:pt x="689" y="170"/>
                  <a:pt x="688" y="171"/>
                </a:cubicBezTo>
                <a:cubicBezTo>
                  <a:pt x="687" y="171"/>
                  <a:pt x="681" y="172"/>
                  <a:pt x="680" y="172"/>
                </a:cubicBezTo>
                <a:cubicBezTo>
                  <a:pt x="679" y="173"/>
                  <a:pt x="678" y="174"/>
                  <a:pt x="678" y="173"/>
                </a:cubicBezTo>
                <a:cubicBezTo>
                  <a:pt x="677" y="173"/>
                  <a:pt x="677" y="172"/>
                  <a:pt x="678" y="171"/>
                </a:cubicBezTo>
                <a:cubicBezTo>
                  <a:pt x="678" y="170"/>
                  <a:pt x="680" y="169"/>
                  <a:pt x="681" y="169"/>
                </a:cubicBezTo>
                <a:cubicBezTo>
                  <a:pt x="681" y="168"/>
                  <a:pt x="680" y="168"/>
                  <a:pt x="680" y="168"/>
                </a:cubicBezTo>
                <a:cubicBezTo>
                  <a:pt x="679" y="168"/>
                  <a:pt x="675" y="168"/>
                  <a:pt x="674" y="168"/>
                </a:cubicBezTo>
                <a:cubicBezTo>
                  <a:pt x="673" y="168"/>
                  <a:pt x="666" y="171"/>
                  <a:pt x="669" y="168"/>
                </a:cubicBezTo>
                <a:cubicBezTo>
                  <a:pt x="671" y="166"/>
                  <a:pt x="676" y="165"/>
                  <a:pt x="679" y="165"/>
                </a:cubicBezTo>
                <a:cubicBezTo>
                  <a:pt x="679" y="163"/>
                  <a:pt x="680" y="163"/>
                  <a:pt x="681" y="162"/>
                </a:cubicBezTo>
                <a:cubicBezTo>
                  <a:pt x="682" y="157"/>
                  <a:pt x="683" y="159"/>
                  <a:pt x="686" y="156"/>
                </a:cubicBezTo>
                <a:cubicBezTo>
                  <a:pt x="687" y="155"/>
                  <a:pt x="687" y="153"/>
                  <a:pt x="688" y="153"/>
                </a:cubicBezTo>
                <a:cubicBezTo>
                  <a:pt x="689" y="151"/>
                  <a:pt x="695" y="147"/>
                  <a:pt x="697" y="147"/>
                </a:cubicBezTo>
                <a:cubicBezTo>
                  <a:pt x="698" y="146"/>
                  <a:pt x="699" y="147"/>
                  <a:pt x="700" y="147"/>
                </a:cubicBezTo>
                <a:cubicBezTo>
                  <a:pt x="701" y="147"/>
                  <a:pt x="701" y="146"/>
                  <a:pt x="702" y="145"/>
                </a:cubicBezTo>
                <a:cubicBezTo>
                  <a:pt x="705" y="144"/>
                  <a:pt x="704" y="147"/>
                  <a:pt x="703" y="149"/>
                </a:cubicBezTo>
                <a:cubicBezTo>
                  <a:pt x="703" y="149"/>
                  <a:pt x="702" y="149"/>
                  <a:pt x="701" y="149"/>
                </a:cubicBezTo>
                <a:cubicBezTo>
                  <a:pt x="701" y="149"/>
                  <a:pt x="700" y="148"/>
                  <a:pt x="700" y="148"/>
                </a:cubicBezTo>
                <a:cubicBezTo>
                  <a:pt x="699" y="148"/>
                  <a:pt x="699" y="149"/>
                  <a:pt x="699" y="150"/>
                </a:cubicBezTo>
                <a:cubicBezTo>
                  <a:pt x="698" y="150"/>
                  <a:pt x="698" y="149"/>
                  <a:pt x="697" y="150"/>
                </a:cubicBezTo>
                <a:cubicBezTo>
                  <a:pt x="697" y="150"/>
                  <a:pt x="698" y="151"/>
                  <a:pt x="698" y="152"/>
                </a:cubicBezTo>
                <a:cubicBezTo>
                  <a:pt x="698" y="152"/>
                  <a:pt x="697" y="153"/>
                  <a:pt x="698" y="153"/>
                </a:cubicBezTo>
                <a:cubicBezTo>
                  <a:pt x="700" y="154"/>
                  <a:pt x="702" y="149"/>
                  <a:pt x="704" y="152"/>
                </a:cubicBezTo>
                <a:cubicBezTo>
                  <a:pt x="704" y="153"/>
                  <a:pt x="703" y="153"/>
                  <a:pt x="704" y="154"/>
                </a:cubicBezTo>
                <a:cubicBezTo>
                  <a:pt x="704" y="154"/>
                  <a:pt x="705" y="154"/>
                  <a:pt x="706" y="154"/>
                </a:cubicBezTo>
                <a:cubicBezTo>
                  <a:pt x="706" y="154"/>
                  <a:pt x="707" y="154"/>
                  <a:pt x="708" y="155"/>
                </a:cubicBezTo>
                <a:cubicBezTo>
                  <a:pt x="708" y="155"/>
                  <a:pt x="708" y="156"/>
                  <a:pt x="709" y="156"/>
                </a:cubicBezTo>
                <a:cubicBezTo>
                  <a:pt x="710" y="157"/>
                  <a:pt x="711" y="158"/>
                  <a:pt x="711" y="158"/>
                </a:cubicBezTo>
                <a:cubicBezTo>
                  <a:pt x="714" y="159"/>
                  <a:pt x="716" y="158"/>
                  <a:pt x="715" y="161"/>
                </a:cubicBezTo>
                <a:cubicBezTo>
                  <a:pt x="714" y="164"/>
                  <a:pt x="713" y="164"/>
                  <a:pt x="711" y="164"/>
                </a:cubicBezTo>
                <a:cubicBezTo>
                  <a:pt x="714" y="167"/>
                  <a:pt x="713" y="165"/>
                  <a:pt x="715" y="165"/>
                </a:cubicBezTo>
                <a:cubicBezTo>
                  <a:pt x="716" y="165"/>
                  <a:pt x="717" y="164"/>
                  <a:pt x="718" y="165"/>
                </a:cubicBezTo>
                <a:cubicBezTo>
                  <a:pt x="719" y="165"/>
                  <a:pt x="720" y="164"/>
                  <a:pt x="720" y="164"/>
                </a:cubicBezTo>
                <a:cubicBezTo>
                  <a:pt x="721" y="165"/>
                  <a:pt x="723" y="165"/>
                  <a:pt x="721" y="167"/>
                </a:cubicBezTo>
                <a:close/>
                <a:moveTo>
                  <a:pt x="645" y="274"/>
                </a:moveTo>
                <a:cubicBezTo>
                  <a:pt x="646" y="274"/>
                  <a:pt x="647" y="276"/>
                  <a:pt x="648" y="276"/>
                </a:cubicBezTo>
                <a:cubicBezTo>
                  <a:pt x="648" y="276"/>
                  <a:pt x="648" y="280"/>
                  <a:pt x="648" y="280"/>
                </a:cubicBezTo>
                <a:cubicBezTo>
                  <a:pt x="643" y="281"/>
                  <a:pt x="646" y="280"/>
                  <a:pt x="640" y="278"/>
                </a:cubicBezTo>
                <a:cubicBezTo>
                  <a:pt x="639" y="277"/>
                  <a:pt x="639" y="277"/>
                  <a:pt x="639" y="277"/>
                </a:cubicBezTo>
                <a:cubicBezTo>
                  <a:pt x="639" y="277"/>
                  <a:pt x="639" y="275"/>
                  <a:pt x="640" y="275"/>
                </a:cubicBezTo>
                <a:cubicBezTo>
                  <a:pt x="640" y="274"/>
                  <a:pt x="645" y="274"/>
                  <a:pt x="645" y="274"/>
                </a:cubicBezTo>
                <a:close/>
                <a:moveTo>
                  <a:pt x="880" y="141"/>
                </a:moveTo>
                <a:cubicBezTo>
                  <a:pt x="880" y="140"/>
                  <a:pt x="882" y="140"/>
                  <a:pt x="878" y="138"/>
                </a:cubicBezTo>
                <a:cubicBezTo>
                  <a:pt x="876" y="136"/>
                  <a:pt x="877" y="137"/>
                  <a:pt x="875" y="138"/>
                </a:cubicBezTo>
                <a:cubicBezTo>
                  <a:pt x="873" y="139"/>
                  <a:pt x="873" y="139"/>
                  <a:pt x="873" y="139"/>
                </a:cubicBezTo>
                <a:cubicBezTo>
                  <a:pt x="872" y="137"/>
                  <a:pt x="872" y="138"/>
                  <a:pt x="871" y="139"/>
                </a:cubicBezTo>
                <a:cubicBezTo>
                  <a:pt x="869" y="140"/>
                  <a:pt x="869" y="140"/>
                  <a:pt x="869" y="140"/>
                </a:cubicBezTo>
                <a:cubicBezTo>
                  <a:pt x="871" y="138"/>
                  <a:pt x="871" y="139"/>
                  <a:pt x="871" y="138"/>
                </a:cubicBezTo>
                <a:cubicBezTo>
                  <a:pt x="871" y="138"/>
                  <a:pt x="868" y="138"/>
                  <a:pt x="868" y="137"/>
                </a:cubicBezTo>
                <a:cubicBezTo>
                  <a:pt x="868" y="137"/>
                  <a:pt x="871" y="136"/>
                  <a:pt x="871" y="135"/>
                </a:cubicBezTo>
                <a:cubicBezTo>
                  <a:pt x="871" y="134"/>
                  <a:pt x="871" y="134"/>
                  <a:pt x="871" y="134"/>
                </a:cubicBezTo>
                <a:cubicBezTo>
                  <a:pt x="869" y="135"/>
                  <a:pt x="868" y="135"/>
                  <a:pt x="867" y="135"/>
                </a:cubicBezTo>
                <a:cubicBezTo>
                  <a:pt x="866" y="135"/>
                  <a:pt x="866" y="135"/>
                  <a:pt x="865" y="135"/>
                </a:cubicBezTo>
                <a:cubicBezTo>
                  <a:pt x="863" y="136"/>
                  <a:pt x="862" y="134"/>
                  <a:pt x="859" y="137"/>
                </a:cubicBezTo>
                <a:cubicBezTo>
                  <a:pt x="859" y="137"/>
                  <a:pt x="858" y="137"/>
                  <a:pt x="858" y="137"/>
                </a:cubicBezTo>
                <a:cubicBezTo>
                  <a:pt x="858" y="137"/>
                  <a:pt x="858" y="136"/>
                  <a:pt x="858" y="136"/>
                </a:cubicBezTo>
                <a:cubicBezTo>
                  <a:pt x="861" y="135"/>
                  <a:pt x="860" y="135"/>
                  <a:pt x="861" y="134"/>
                </a:cubicBezTo>
                <a:cubicBezTo>
                  <a:pt x="861" y="134"/>
                  <a:pt x="863" y="134"/>
                  <a:pt x="863" y="134"/>
                </a:cubicBezTo>
                <a:cubicBezTo>
                  <a:pt x="863" y="134"/>
                  <a:pt x="865" y="133"/>
                  <a:pt x="865" y="133"/>
                </a:cubicBezTo>
                <a:cubicBezTo>
                  <a:pt x="865" y="133"/>
                  <a:pt x="866" y="130"/>
                  <a:pt x="866" y="130"/>
                </a:cubicBezTo>
                <a:cubicBezTo>
                  <a:pt x="863" y="129"/>
                  <a:pt x="863" y="129"/>
                  <a:pt x="863" y="129"/>
                </a:cubicBezTo>
                <a:cubicBezTo>
                  <a:pt x="861" y="130"/>
                  <a:pt x="861" y="130"/>
                  <a:pt x="859" y="130"/>
                </a:cubicBezTo>
                <a:cubicBezTo>
                  <a:pt x="861" y="129"/>
                  <a:pt x="861" y="129"/>
                  <a:pt x="863" y="128"/>
                </a:cubicBezTo>
                <a:cubicBezTo>
                  <a:pt x="863" y="128"/>
                  <a:pt x="863" y="127"/>
                  <a:pt x="863" y="127"/>
                </a:cubicBezTo>
                <a:cubicBezTo>
                  <a:pt x="861" y="126"/>
                  <a:pt x="859" y="129"/>
                  <a:pt x="858" y="129"/>
                </a:cubicBezTo>
                <a:cubicBezTo>
                  <a:pt x="857" y="129"/>
                  <a:pt x="857" y="129"/>
                  <a:pt x="857" y="129"/>
                </a:cubicBezTo>
                <a:cubicBezTo>
                  <a:pt x="857" y="128"/>
                  <a:pt x="857" y="128"/>
                  <a:pt x="857" y="128"/>
                </a:cubicBezTo>
                <a:cubicBezTo>
                  <a:pt x="857" y="128"/>
                  <a:pt x="857" y="127"/>
                  <a:pt x="857" y="127"/>
                </a:cubicBezTo>
                <a:cubicBezTo>
                  <a:pt x="857" y="127"/>
                  <a:pt x="855" y="128"/>
                  <a:pt x="855" y="128"/>
                </a:cubicBezTo>
                <a:cubicBezTo>
                  <a:pt x="855" y="128"/>
                  <a:pt x="855" y="129"/>
                  <a:pt x="855" y="129"/>
                </a:cubicBezTo>
                <a:cubicBezTo>
                  <a:pt x="853" y="129"/>
                  <a:pt x="853" y="130"/>
                  <a:pt x="852" y="131"/>
                </a:cubicBezTo>
                <a:cubicBezTo>
                  <a:pt x="853" y="129"/>
                  <a:pt x="853" y="130"/>
                  <a:pt x="854" y="129"/>
                </a:cubicBezTo>
                <a:cubicBezTo>
                  <a:pt x="855" y="128"/>
                  <a:pt x="855" y="128"/>
                  <a:pt x="855" y="128"/>
                </a:cubicBezTo>
                <a:cubicBezTo>
                  <a:pt x="855" y="127"/>
                  <a:pt x="855" y="127"/>
                  <a:pt x="855" y="127"/>
                </a:cubicBezTo>
                <a:cubicBezTo>
                  <a:pt x="852" y="128"/>
                  <a:pt x="853" y="129"/>
                  <a:pt x="849" y="129"/>
                </a:cubicBezTo>
                <a:cubicBezTo>
                  <a:pt x="852" y="128"/>
                  <a:pt x="852" y="128"/>
                  <a:pt x="853" y="126"/>
                </a:cubicBezTo>
                <a:cubicBezTo>
                  <a:pt x="851" y="126"/>
                  <a:pt x="852" y="126"/>
                  <a:pt x="850" y="127"/>
                </a:cubicBezTo>
                <a:cubicBezTo>
                  <a:pt x="849" y="127"/>
                  <a:pt x="849" y="127"/>
                  <a:pt x="849" y="127"/>
                </a:cubicBezTo>
                <a:cubicBezTo>
                  <a:pt x="850" y="126"/>
                  <a:pt x="850" y="126"/>
                  <a:pt x="850" y="126"/>
                </a:cubicBezTo>
                <a:cubicBezTo>
                  <a:pt x="849" y="125"/>
                  <a:pt x="849" y="125"/>
                  <a:pt x="849" y="125"/>
                </a:cubicBezTo>
                <a:cubicBezTo>
                  <a:pt x="851" y="124"/>
                  <a:pt x="851" y="124"/>
                  <a:pt x="851" y="124"/>
                </a:cubicBezTo>
                <a:cubicBezTo>
                  <a:pt x="852" y="124"/>
                  <a:pt x="853" y="125"/>
                  <a:pt x="851" y="123"/>
                </a:cubicBezTo>
                <a:cubicBezTo>
                  <a:pt x="847" y="124"/>
                  <a:pt x="847" y="124"/>
                  <a:pt x="847" y="124"/>
                </a:cubicBezTo>
                <a:cubicBezTo>
                  <a:pt x="846" y="122"/>
                  <a:pt x="846" y="122"/>
                  <a:pt x="846" y="122"/>
                </a:cubicBezTo>
                <a:cubicBezTo>
                  <a:pt x="843" y="123"/>
                  <a:pt x="843" y="123"/>
                  <a:pt x="843" y="122"/>
                </a:cubicBezTo>
                <a:cubicBezTo>
                  <a:pt x="843" y="121"/>
                  <a:pt x="841" y="121"/>
                  <a:pt x="841" y="121"/>
                </a:cubicBezTo>
                <a:cubicBezTo>
                  <a:pt x="841" y="120"/>
                  <a:pt x="841" y="120"/>
                  <a:pt x="841" y="120"/>
                </a:cubicBezTo>
                <a:cubicBezTo>
                  <a:pt x="844" y="120"/>
                  <a:pt x="843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4" y="119"/>
                  <a:pt x="846" y="119"/>
                  <a:pt x="847" y="119"/>
                </a:cubicBezTo>
                <a:cubicBezTo>
                  <a:pt x="848" y="118"/>
                  <a:pt x="848" y="118"/>
                  <a:pt x="848" y="118"/>
                </a:cubicBezTo>
                <a:cubicBezTo>
                  <a:pt x="847" y="117"/>
                  <a:pt x="847" y="117"/>
                  <a:pt x="845" y="116"/>
                </a:cubicBezTo>
                <a:cubicBezTo>
                  <a:pt x="845" y="116"/>
                  <a:pt x="845" y="116"/>
                  <a:pt x="844" y="116"/>
                </a:cubicBezTo>
                <a:cubicBezTo>
                  <a:pt x="843" y="116"/>
                  <a:pt x="843" y="115"/>
                  <a:pt x="842" y="115"/>
                </a:cubicBezTo>
                <a:cubicBezTo>
                  <a:pt x="842" y="115"/>
                  <a:pt x="840" y="115"/>
                  <a:pt x="840" y="115"/>
                </a:cubicBezTo>
                <a:cubicBezTo>
                  <a:pt x="840" y="115"/>
                  <a:pt x="840" y="115"/>
                  <a:pt x="840" y="115"/>
                </a:cubicBezTo>
                <a:cubicBezTo>
                  <a:pt x="846" y="116"/>
                  <a:pt x="846" y="116"/>
                  <a:pt x="846" y="116"/>
                </a:cubicBezTo>
                <a:cubicBezTo>
                  <a:pt x="846" y="116"/>
                  <a:pt x="846" y="115"/>
                  <a:pt x="847" y="116"/>
                </a:cubicBezTo>
                <a:cubicBezTo>
                  <a:pt x="848" y="117"/>
                  <a:pt x="850" y="116"/>
                  <a:pt x="853" y="117"/>
                </a:cubicBezTo>
                <a:cubicBezTo>
                  <a:pt x="856" y="118"/>
                  <a:pt x="857" y="118"/>
                  <a:pt x="859" y="116"/>
                </a:cubicBezTo>
                <a:cubicBezTo>
                  <a:pt x="858" y="116"/>
                  <a:pt x="856" y="114"/>
                  <a:pt x="855" y="114"/>
                </a:cubicBezTo>
                <a:cubicBezTo>
                  <a:pt x="855" y="114"/>
                  <a:pt x="852" y="115"/>
                  <a:pt x="852" y="115"/>
                </a:cubicBezTo>
                <a:cubicBezTo>
                  <a:pt x="852" y="115"/>
                  <a:pt x="850" y="114"/>
                  <a:pt x="849" y="114"/>
                </a:cubicBezTo>
                <a:cubicBezTo>
                  <a:pt x="849" y="114"/>
                  <a:pt x="846" y="113"/>
                  <a:pt x="846" y="113"/>
                </a:cubicBezTo>
                <a:cubicBezTo>
                  <a:pt x="844" y="113"/>
                  <a:pt x="844" y="113"/>
                  <a:pt x="844" y="113"/>
                </a:cubicBezTo>
                <a:cubicBezTo>
                  <a:pt x="842" y="113"/>
                  <a:pt x="842" y="113"/>
                  <a:pt x="842" y="113"/>
                </a:cubicBezTo>
                <a:cubicBezTo>
                  <a:pt x="845" y="112"/>
                  <a:pt x="844" y="112"/>
                  <a:pt x="847" y="113"/>
                </a:cubicBezTo>
                <a:cubicBezTo>
                  <a:pt x="849" y="112"/>
                  <a:pt x="849" y="112"/>
                  <a:pt x="850" y="111"/>
                </a:cubicBezTo>
                <a:cubicBezTo>
                  <a:pt x="853" y="111"/>
                  <a:pt x="853" y="111"/>
                  <a:pt x="853" y="111"/>
                </a:cubicBezTo>
                <a:cubicBezTo>
                  <a:pt x="855" y="112"/>
                  <a:pt x="855" y="112"/>
                  <a:pt x="855" y="112"/>
                </a:cubicBezTo>
                <a:cubicBezTo>
                  <a:pt x="855" y="112"/>
                  <a:pt x="858" y="112"/>
                  <a:pt x="858" y="111"/>
                </a:cubicBezTo>
                <a:cubicBezTo>
                  <a:pt x="858" y="108"/>
                  <a:pt x="855" y="106"/>
                  <a:pt x="855" y="106"/>
                </a:cubicBezTo>
                <a:cubicBezTo>
                  <a:pt x="853" y="106"/>
                  <a:pt x="852" y="108"/>
                  <a:pt x="850" y="109"/>
                </a:cubicBezTo>
                <a:cubicBezTo>
                  <a:pt x="847" y="110"/>
                  <a:pt x="847" y="110"/>
                  <a:pt x="847" y="110"/>
                </a:cubicBezTo>
                <a:cubicBezTo>
                  <a:pt x="847" y="110"/>
                  <a:pt x="846" y="109"/>
                  <a:pt x="845" y="110"/>
                </a:cubicBezTo>
                <a:cubicBezTo>
                  <a:pt x="839" y="112"/>
                  <a:pt x="843" y="110"/>
                  <a:pt x="838" y="111"/>
                </a:cubicBezTo>
                <a:cubicBezTo>
                  <a:pt x="838" y="110"/>
                  <a:pt x="838" y="110"/>
                  <a:pt x="838" y="110"/>
                </a:cubicBezTo>
                <a:cubicBezTo>
                  <a:pt x="840" y="110"/>
                  <a:pt x="842" y="110"/>
                  <a:pt x="843" y="110"/>
                </a:cubicBezTo>
                <a:cubicBezTo>
                  <a:pt x="845" y="109"/>
                  <a:pt x="845" y="109"/>
                  <a:pt x="845" y="109"/>
                </a:cubicBezTo>
                <a:cubicBezTo>
                  <a:pt x="847" y="109"/>
                  <a:pt x="847" y="109"/>
                  <a:pt x="847" y="109"/>
                </a:cubicBezTo>
                <a:cubicBezTo>
                  <a:pt x="847" y="109"/>
                  <a:pt x="848" y="108"/>
                  <a:pt x="848" y="108"/>
                </a:cubicBezTo>
                <a:cubicBezTo>
                  <a:pt x="848" y="108"/>
                  <a:pt x="848" y="107"/>
                  <a:pt x="848" y="107"/>
                </a:cubicBezTo>
                <a:cubicBezTo>
                  <a:pt x="846" y="107"/>
                  <a:pt x="842" y="108"/>
                  <a:pt x="840" y="109"/>
                </a:cubicBezTo>
                <a:cubicBezTo>
                  <a:pt x="838" y="109"/>
                  <a:pt x="839" y="110"/>
                  <a:pt x="837" y="110"/>
                </a:cubicBezTo>
                <a:cubicBezTo>
                  <a:pt x="837" y="109"/>
                  <a:pt x="837" y="109"/>
                  <a:pt x="837" y="109"/>
                </a:cubicBezTo>
                <a:cubicBezTo>
                  <a:pt x="842" y="108"/>
                  <a:pt x="839" y="109"/>
                  <a:pt x="842" y="108"/>
                </a:cubicBezTo>
                <a:cubicBezTo>
                  <a:pt x="843" y="107"/>
                  <a:pt x="851" y="106"/>
                  <a:pt x="851" y="106"/>
                </a:cubicBezTo>
                <a:cubicBezTo>
                  <a:pt x="851" y="106"/>
                  <a:pt x="854" y="105"/>
                  <a:pt x="854" y="105"/>
                </a:cubicBezTo>
                <a:cubicBezTo>
                  <a:pt x="847" y="102"/>
                  <a:pt x="847" y="102"/>
                  <a:pt x="847" y="102"/>
                </a:cubicBezTo>
                <a:cubicBezTo>
                  <a:pt x="844" y="104"/>
                  <a:pt x="846" y="102"/>
                  <a:pt x="843" y="103"/>
                </a:cubicBezTo>
                <a:cubicBezTo>
                  <a:pt x="842" y="103"/>
                  <a:pt x="840" y="104"/>
                  <a:pt x="840" y="104"/>
                </a:cubicBezTo>
                <a:cubicBezTo>
                  <a:pt x="839" y="103"/>
                  <a:pt x="839" y="103"/>
                  <a:pt x="839" y="103"/>
                </a:cubicBezTo>
                <a:cubicBezTo>
                  <a:pt x="840" y="103"/>
                  <a:pt x="844" y="103"/>
                  <a:pt x="845" y="102"/>
                </a:cubicBezTo>
                <a:cubicBezTo>
                  <a:pt x="845" y="102"/>
                  <a:pt x="845" y="102"/>
                  <a:pt x="845" y="102"/>
                </a:cubicBezTo>
                <a:cubicBezTo>
                  <a:pt x="845" y="101"/>
                  <a:pt x="845" y="101"/>
                  <a:pt x="845" y="101"/>
                </a:cubicBezTo>
                <a:cubicBezTo>
                  <a:pt x="841" y="102"/>
                  <a:pt x="841" y="102"/>
                  <a:pt x="841" y="102"/>
                </a:cubicBezTo>
                <a:cubicBezTo>
                  <a:pt x="841" y="102"/>
                  <a:pt x="840" y="102"/>
                  <a:pt x="840" y="102"/>
                </a:cubicBezTo>
                <a:cubicBezTo>
                  <a:pt x="837" y="102"/>
                  <a:pt x="838" y="103"/>
                  <a:pt x="837" y="104"/>
                </a:cubicBezTo>
                <a:cubicBezTo>
                  <a:pt x="837" y="104"/>
                  <a:pt x="834" y="104"/>
                  <a:pt x="834" y="105"/>
                </a:cubicBezTo>
                <a:cubicBezTo>
                  <a:pt x="834" y="105"/>
                  <a:pt x="833" y="106"/>
                  <a:pt x="833" y="106"/>
                </a:cubicBezTo>
                <a:cubicBezTo>
                  <a:pt x="833" y="106"/>
                  <a:pt x="831" y="107"/>
                  <a:pt x="831" y="107"/>
                </a:cubicBezTo>
                <a:cubicBezTo>
                  <a:pt x="832" y="106"/>
                  <a:pt x="832" y="106"/>
                  <a:pt x="832" y="106"/>
                </a:cubicBezTo>
                <a:cubicBezTo>
                  <a:pt x="832" y="106"/>
                  <a:pt x="833" y="105"/>
                  <a:pt x="833" y="105"/>
                </a:cubicBezTo>
                <a:cubicBezTo>
                  <a:pt x="834" y="104"/>
                  <a:pt x="836" y="103"/>
                  <a:pt x="837" y="103"/>
                </a:cubicBezTo>
                <a:cubicBezTo>
                  <a:pt x="839" y="102"/>
                  <a:pt x="839" y="102"/>
                  <a:pt x="842" y="100"/>
                </a:cubicBezTo>
                <a:cubicBezTo>
                  <a:pt x="841" y="99"/>
                  <a:pt x="841" y="99"/>
                  <a:pt x="841" y="99"/>
                </a:cubicBezTo>
                <a:cubicBezTo>
                  <a:pt x="838" y="100"/>
                  <a:pt x="838" y="100"/>
                  <a:pt x="838" y="100"/>
                </a:cubicBezTo>
                <a:cubicBezTo>
                  <a:pt x="836" y="101"/>
                  <a:pt x="836" y="101"/>
                  <a:pt x="836" y="101"/>
                </a:cubicBezTo>
                <a:cubicBezTo>
                  <a:pt x="835" y="101"/>
                  <a:pt x="831" y="100"/>
                  <a:pt x="831" y="101"/>
                </a:cubicBezTo>
                <a:cubicBezTo>
                  <a:pt x="830" y="102"/>
                  <a:pt x="829" y="102"/>
                  <a:pt x="828" y="103"/>
                </a:cubicBezTo>
                <a:cubicBezTo>
                  <a:pt x="828" y="101"/>
                  <a:pt x="828" y="101"/>
                  <a:pt x="828" y="101"/>
                </a:cubicBezTo>
                <a:cubicBezTo>
                  <a:pt x="829" y="100"/>
                  <a:pt x="829" y="100"/>
                  <a:pt x="829" y="100"/>
                </a:cubicBezTo>
                <a:cubicBezTo>
                  <a:pt x="833" y="99"/>
                  <a:pt x="833" y="99"/>
                  <a:pt x="833" y="99"/>
                </a:cubicBezTo>
                <a:cubicBezTo>
                  <a:pt x="836" y="100"/>
                  <a:pt x="836" y="100"/>
                  <a:pt x="836" y="100"/>
                </a:cubicBezTo>
                <a:cubicBezTo>
                  <a:pt x="839" y="97"/>
                  <a:pt x="839" y="97"/>
                  <a:pt x="839" y="97"/>
                </a:cubicBezTo>
                <a:cubicBezTo>
                  <a:pt x="838" y="95"/>
                  <a:pt x="838" y="95"/>
                  <a:pt x="835" y="94"/>
                </a:cubicBezTo>
                <a:cubicBezTo>
                  <a:pt x="835" y="94"/>
                  <a:pt x="833" y="93"/>
                  <a:pt x="833" y="93"/>
                </a:cubicBezTo>
                <a:cubicBezTo>
                  <a:pt x="832" y="94"/>
                  <a:pt x="830" y="96"/>
                  <a:pt x="829" y="96"/>
                </a:cubicBezTo>
                <a:cubicBezTo>
                  <a:pt x="827" y="96"/>
                  <a:pt x="827" y="96"/>
                  <a:pt x="827" y="96"/>
                </a:cubicBezTo>
                <a:cubicBezTo>
                  <a:pt x="826" y="97"/>
                  <a:pt x="828" y="97"/>
                  <a:pt x="823" y="98"/>
                </a:cubicBezTo>
                <a:cubicBezTo>
                  <a:pt x="823" y="98"/>
                  <a:pt x="823" y="98"/>
                  <a:pt x="823" y="98"/>
                </a:cubicBezTo>
                <a:cubicBezTo>
                  <a:pt x="824" y="97"/>
                  <a:pt x="824" y="97"/>
                  <a:pt x="824" y="97"/>
                </a:cubicBezTo>
                <a:cubicBezTo>
                  <a:pt x="824" y="96"/>
                  <a:pt x="824" y="96"/>
                  <a:pt x="824" y="96"/>
                </a:cubicBezTo>
                <a:cubicBezTo>
                  <a:pt x="823" y="97"/>
                  <a:pt x="823" y="97"/>
                  <a:pt x="823" y="97"/>
                </a:cubicBezTo>
                <a:cubicBezTo>
                  <a:pt x="823" y="96"/>
                  <a:pt x="823" y="96"/>
                  <a:pt x="823" y="96"/>
                </a:cubicBezTo>
                <a:cubicBezTo>
                  <a:pt x="824" y="95"/>
                  <a:pt x="824" y="95"/>
                  <a:pt x="824" y="95"/>
                </a:cubicBezTo>
                <a:cubicBezTo>
                  <a:pt x="823" y="95"/>
                  <a:pt x="823" y="95"/>
                  <a:pt x="823" y="95"/>
                </a:cubicBezTo>
                <a:cubicBezTo>
                  <a:pt x="825" y="94"/>
                  <a:pt x="825" y="94"/>
                  <a:pt x="825" y="94"/>
                </a:cubicBezTo>
                <a:cubicBezTo>
                  <a:pt x="826" y="92"/>
                  <a:pt x="826" y="92"/>
                  <a:pt x="826" y="92"/>
                </a:cubicBezTo>
                <a:cubicBezTo>
                  <a:pt x="823" y="92"/>
                  <a:pt x="823" y="92"/>
                  <a:pt x="823" y="92"/>
                </a:cubicBezTo>
                <a:cubicBezTo>
                  <a:pt x="822" y="94"/>
                  <a:pt x="822" y="94"/>
                  <a:pt x="821" y="94"/>
                </a:cubicBezTo>
                <a:cubicBezTo>
                  <a:pt x="817" y="94"/>
                  <a:pt x="818" y="94"/>
                  <a:pt x="815" y="97"/>
                </a:cubicBezTo>
                <a:cubicBezTo>
                  <a:pt x="815" y="95"/>
                  <a:pt x="815" y="95"/>
                  <a:pt x="815" y="95"/>
                </a:cubicBezTo>
                <a:cubicBezTo>
                  <a:pt x="814" y="94"/>
                  <a:pt x="814" y="94"/>
                  <a:pt x="814" y="94"/>
                </a:cubicBezTo>
                <a:cubicBezTo>
                  <a:pt x="815" y="94"/>
                  <a:pt x="817" y="94"/>
                  <a:pt x="818" y="93"/>
                </a:cubicBezTo>
                <a:cubicBezTo>
                  <a:pt x="819" y="92"/>
                  <a:pt x="819" y="92"/>
                  <a:pt x="819" y="92"/>
                </a:cubicBezTo>
                <a:cubicBezTo>
                  <a:pt x="820" y="92"/>
                  <a:pt x="820" y="92"/>
                  <a:pt x="820" y="92"/>
                </a:cubicBezTo>
                <a:cubicBezTo>
                  <a:pt x="823" y="91"/>
                  <a:pt x="823" y="91"/>
                  <a:pt x="823" y="91"/>
                </a:cubicBezTo>
                <a:cubicBezTo>
                  <a:pt x="823" y="90"/>
                  <a:pt x="823" y="90"/>
                  <a:pt x="823" y="90"/>
                </a:cubicBezTo>
                <a:cubicBezTo>
                  <a:pt x="820" y="88"/>
                  <a:pt x="822" y="89"/>
                  <a:pt x="819" y="90"/>
                </a:cubicBezTo>
                <a:cubicBezTo>
                  <a:pt x="817" y="90"/>
                  <a:pt x="817" y="90"/>
                  <a:pt x="817" y="90"/>
                </a:cubicBezTo>
                <a:cubicBezTo>
                  <a:pt x="815" y="91"/>
                  <a:pt x="815" y="91"/>
                  <a:pt x="815" y="91"/>
                </a:cubicBezTo>
                <a:cubicBezTo>
                  <a:pt x="815" y="91"/>
                  <a:pt x="814" y="91"/>
                  <a:pt x="813" y="91"/>
                </a:cubicBezTo>
                <a:cubicBezTo>
                  <a:pt x="813" y="91"/>
                  <a:pt x="811" y="93"/>
                  <a:pt x="811" y="93"/>
                </a:cubicBezTo>
                <a:cubicBezTo>
                  <a:pt x="811" y="93"/>
                  <a:pt x="811" y="93"/>
                  <a:pt x="811" y="93"/>
                </a:cubicBezTo>
                <a:cubicBezTo>
                  <a:pt x="812" y="92"/>
                  <a:pt x="812" y="92"/>
                  <a:pt x="813" y="91"/>
                </a:cubicBezTo>
                <a:cubicBezTo>
                  <a:pt x="816" y="90"/>
                  <a:pt x="815" y="90"/>
                  <a:pt x="818" y="89"/>
                </a:cubicBezTo>
                <a:cubicBezTo>
                  <a:pt x="818" y="89"/>
                  <a:pt x="820" y="89"/>
                  <a:pt x="820" y="89"/>
                </a:cubicBezTo>
                <a:cubicBezTo>
                  <a:pt x="820" y="88"/>
                  <a:pt x="820" y="86"/>
                  <a:pt x="820" y="86"/>
                </a:cubicBezTo>
                <a:cubicBezTo>
                  <a:pt x="820" y="86"/>
                  <a:pt x="818" y="85"/>
                  <a:pt x="817" y="85"/>
                </a:cubicBezTo>
                <a:cubicBezTo>
                  <a:pt x="817" y="85"/>
                  <a:pt x="814" y="86"/>
                  <a:pt x="814" y="86"/>
                </a:cubicBezTo>
                <a:cubicBezTo>
                  <a:pt x="814" y="86"/>
                  <a:pt x="812" y="84"/>
                  <a:pt x="812" y="84"/>
                </a:cubicBezTo>
                <a:cubicBezTo>
                  <a:pt x="810" y="84"/>
                  <a:pt x="810" y="84"/>
                  <a:pt x="810" y="84"/>
                </a:cubicBezTo>
                <a:cubicBezTo>
                  <a:pt x="799" y="85"/>
                  <a:pt x="799" y="85"/>
                  <a:pt x="799" y="85"/>
                </a:cubicBezTo>
                <a:cubicBezTo>
                  <a:pt x="796" y="87"/>
                  <a:pt x="796" y="87"/>
                  <a:pt x="796" y="87"/>
                </a:cubicBezTo>
                <a:cubicBezTo>
                  <a:pt x="795" y="88"/>
                  <a:pt x="795" y="88"/>
                  <a:pt x="795" y="88"/>
                </a:cubicBezTo>
                <a:cubicBezTo>
                  <a:pt x="795" y="88"/>
                  <a:pt x="793" y="87"/>
                  <a:pt x="793" y="87"/>
                </a:cubicBezTo>
                <a:cubicBezTo>
                  <a:pt x="793" y="88"/>
                  <a:pt x="793" y="89"/>
                  <a:pt x="793" y="89"/>
                </a:cubicBezTo>
                <a:cubicBezTo>
                  <a:pt x="791" y="90"/>
                  <a:pt x="791" y="90"/>
                  <a:pt x="791" y="90"/>
                </a:cubicBezTo>
                <a:cubicBezTo>
                  <a:pt x="792" y="87"/>
                  <a:pt x="792" y="87"/>
                  <a:pt x="792" y="87"/>
                </a:cubicBezTo>
                <a:cubicBezTo>
                  <a:pt x="790" y="87"/>
                  <a:pt x="790" y="87"/>
                  <a:pt x="790" y="87"/>
                </a:cubicBezTo>
                <a:cubicBezTo>
                  <a:pt x="789" y="88"/>
                  <a:pt x="789" y="88"/>
                  <a:pt x="789" y="88"/>
                </a:cubicBezTo>
                <a:cubicBezTo>
                  <a:pt x="788" y="86"/>
                  <a:pt x="788" y="86"/>
                  <a:pt x="788" y="86"/>
                </a:cubicBezTo>
                <a:cubicBezTo>
                  <a:pt x="786" y="86"/>
                  <a:pt x="787" y="86"/>
                  <a:pt x="784" y="87"/>
                </a:cubicBezTo>
                <a:cubicBezTo>
                  <a:pt x="781" y="89"/>
                  <a:pt x="781" y="89"/>
                  <a:pt x="781" y="89"/>
                </a:cubicBezTo>
                <a:cubicBezTo>
                  <a:pt x="780" y="89"/>
                  <a:pt x="779" y="89"/>
                  <a:pt x="779" y="89"/>
                </a:cubicBezTo>
                <a:cubicBezTo>
                  <a:pt x="780" y="87"/>
                  <a:pt x="780" y="87"/>
                  <a:pt x="780" y="87"/>
                </a:cubicBezTo>
                <a:cubicBezTo>
                  <a:pt x="784" y="87"/>
                  <a:pt x="781" y="86"/>
                  <a:pt x="783" y="86"/>
                </a:cubicBezTo>
                <a:cubicBezTo>
                  <a:pt x="784" y="86"/>
                  <a:pt x="786" y="86"/>
                  <a:pt x="786" y="86"/>
                </a:cubicBezTo>
                <a:cubicBezTo>
                  <a:pt x="786" y="84"/>
                  <a:pt x="786" y="84"/>
                  <a:pt x="786" y="84"/>
                </a:cubicBezTo>
                <a:cubicBezTo>
                  <a:pt x="787" y="84"/>
                  <a:pt x="787" y="84"/>
                  <a:pt x="787" y="84"/>
                </a:cubicBezTo>
                <a:cubicBezTo>
                  <a:pt x="786" y="81"/>
                  <a:pt x="786" y="82"/>
                  <a:pt x="788" y="81"/>
                </a:cubicBezTo>
                <a:cubicBezTo>
                  <a:pt x="786" y="79"/>
                  <a:pt x="786" y="79"/>
                  <a:pt x="786" y="79"/>
                </a:cubicBezTo>
                <a:cubicBezTo>
                  <a:pt x="787" y="75"/>
                  <a:pt x="787" y="75"/>
                  <a:pt x="787" y="75"/>
                </a:cubicBezTo>
                <a:cubicBezTo>
                  <a:pt x="775" y="76"/>
                  <a:pt x="775" y="76"/>
                  <a:pt x="775" y="76"/>
                </a:cubicBezTo>
                <a:cubicBezTo>
                  <a:pt x="769" y="76"/>
                  <a:pt x="769" y="76"/>
                  <a:pt x="769" y="76"/>
                </a:cubicBezTo>
                <a:cubicBezTo>
                  <a:pt x="770" y="78"/>
                  <a:pt x="770" y="78"/>
                  <a:pt x="770" y="78"/>
                </a:cubicBezTo>
                <a:cubicBezTo>
                  <a:pt x="767" y="77"/>
                  <a:pt x="767" y="77"/>
                  <a:pt x="767" y="77"/>
                </a:cubicBezTo>
                <a:cubicBezTo>
                  <a:pt x="764" y="77"/>
                  <a:pt x="764" y="77"/>
                  <a:pt x="764" y="77"/>
                </a:cubicBezTo>
                <a:cubicBezTo>
                  <a:pt x="762" y="78"/>
                  <a:pt x="762" y="78"/>
                  <a:pt x="762" y="78"/>
                </a:cubicBezTo>
                <a:cubicBezTo>
                  <a:pt x="760" y="79"/>
                  <a:pt x="760" y="79"/>
                  <a:pt x="760" y="79"/>
                </a:cubicBezTo>
                <a:cubicBezTo>
                  <a:pt x="759" y="79"/>
                  <a:pt x="760" y="80"/>
                  <a:pt x="760" y="80"/>
                </a:cubicBezTo>
                <a:cubicBezTo>
                  <a:pt x="758" y="80"/>
                  <a:pt x="758" y="80"/>
                  <a:pt x="756" y="81"/>
                </a:cubicBezTo>
                <a:cubicBezTo>
                  <a:pt x="756" y="82"/>
                  <a:pt x="756" y="82"/>
                  <a:pt x="756" y="82"/>
                </a:cubicBezTo>
                <a:cubicBezTo>
                  <a:pt x="756" y="82"/>
                  <a:pt x="753" y="82"/>
                  <a:pt x="753" y="82"/>
                </a:cubicBezTo>
                <a:cubicBezTo>
                  <a:pt x="753" y="82"/>
                  <a:pt x="751" y="83"/>
                  <a:pt x="751" y="83"/>
                </a:cubicBezTo>
                <a:cubicBezTo>
                  <a:pt x="750" y="86"/>
                  <a:pt x="750" y="86"/>
                  <a:pt x="750" y="86"/>
                </a:cubicBezTo>
                <a:cubicBezTo>
                  <a:pt x="751" y="86"/>
                  <a:pt x="751" y="86"/>
                  <a:pt x="752" y="87"/>
                </a:cubicBezTo>
                <a:cubicBezTo>
                  <a:pt x="752" y="88"/>
                  <a:pt x="752" y="88"/>
                  <a:pt x="752" y="88"/>
                </a:cubicBezTo>
                <a:cubicBezTo>
                  <a:pt x="751" y="88"/>
                  <a:pt x="751" y="88"/>
                  <a:pt x="748" y="88"/>
                </a:cubicBezTo>
                <a:cubicBezTo>
                  <a:pt x="746" y="91"/>
                  <a:pt x="747" y="90"/>
                  <a:pt x="742" y="90"/>
                </a:cubicBezTo>
                <a:cubicBezTo>
                  <a:pt x="744" y="91"/>
                  <a:pt x="744" y="91"/>
                  <a:pt x="744" y="91"/>
                </a:cubicBezTo>
                <a:cubicBezTo>
                  <a:pt x="743" y="92"/>
                  <a:pt x="744" y="92"/>
                  <a:pt x="745" y="93"/>
                </a:cubicBezTo>
                <a:cubicBezTo>
                  <a:pt x="746" y="93"/>
                  <a:pt x="749" y="93"/>
                  <a:pt x="749" y="93"/>
                </a:cubicBezTo>
                <a:cubicBezTo>
                  <a:pt x="749" y="94"/>
                  <a:pt x="748" y="95"/>
                  <a:pt x="747" y="95"/>
                </a:cubicBezTo>
                <a:cubicBezTo>
                  <a:pt x="747" y="96"/>
                  <a:pt x="745" y="95"/>
                  <a:pt x="745" y="96"/>
                </a:cubicBezTo>
                <a:cubicBezTo>
                  <a:pt x="745" y="97"/>
                  <a:pt x="743" y="99"/>
                  <a:pt x="743" y="99"/>
                </a:cubicBezTo>
                <a:cubicBezTo>
                  <a:pt x="743" y="99"/>
                  <a:pt x="742" y="99"/>
                  <a:pt x="742" y="99"/>
                </a:cubicBezTo>
                <a:cubicBezTo>
                  <a:pt x="741" y="97"/>
                  <a:pt x="741" y="97"/>
                  <a:pt x="741" y="97"/>
                </a:cubicBezTo>
                <a:cubicBezTo>
                  <a:pt x="738" y="98"/>
                  <a:pt x="738" y="98"/>
                  <a:pt x="738" y="98"/>
                </a:cubicBezTo>
                <a:cubicBezTo>
                  <a:pt x="729" y="99"/>
                  <a:pt x="729" y="99"/>
                  <a:pt x="729" y="99"/>
                </a:cubicBezTo>
                <a:cubicBezTo>
                  <a:pt x="729" y="99"/>
                  <a:pt x="726" y="99"/>
                  <a:pt x="725" y="99"/>
                </a:cubicBezTo>
                <a:cubicBezTo>
                  <a:pt x="719" y="99"/>
                  <a:pt x="719" y="99"/>
                  <a:pt x="719" y="99"/>
                </a:cubicBezTo>
                <a:cubicBezTo>
                  <a:pt x="718" y="99"/>
                  <a:pt x="718" y="99"/>
                  <a:pt x="718" y="99"/>
                </a:cubicBezTo>
                <a:cubicBezTo>
                  <a:pt x="716" y="99"/>
                  <a:pt x="716" y="99"/>
                  <a:pt x="716" y="99"/>
                </a:cubicBezTo>
                <a:cubicBezTo>
                  <a:pt x="716" y="99"/>
                  <a:pt x="713" y="98"/>
                  <a:pt x="713" y="98"/>
                </a:cubicBezTo>
                <a:cubicBezTo>
                  <a:pt x="713" y="98"/>
                  <a:pt x="711" y="98"/>
                  <a:pt x="711" y="98"/>
                </a:cubicBezTo>
                <a:cubicBezTo>
                  <a:pt x="711" y="99"/>
                  <a:pt x="711" y="99"/>
                  <a:pt x="711" y="99"/>
                </a:cubicBezTo>
                <a:cubicBezTo>
                  <a:pt x="710" y="99"/>
                  <a:pt x="709" y="100"/>
                  <a:pt x="709" y="101"/>
                </a:cubicBezTo>
                <a:cubicBezTo>
                  <a:pt x="709" y="101"/>
                  <a:pt x="712" y="104"/>
                  <a:pt x="712" y="104"/>
                </a:cubicBezTo>
                <a:cubicBezTo>
                  <a:pt x="712" y="104"/>
                  <a:pt x="711" y="105"/>
                  <a:pt x="712" y="105"/>
                </a:cubicBezTo>
                <a:cubicBezTo>
                  <a:pt x="714" y="105"/>
                  <a:pt x="718" y="106"/>
                  <a:pt x="719" y="106"/>
                </a:cubicBezTo>
                <a:cubicBezTo>
                  <a:pt x="719" y="106"/>
                  <a:pt x="721" y="105"/>
                  <a:pt x="721" y="105"/>
                </a:cubicBezTo>
                <a:cubicBezTo>
                  <a:pt x="722" y="104"/>
                  <a:pt x="722" y="103"/>
                  <a:pt x="724" y="106"/>
                </a:cubicBezTo>
                <a:cubicBezTo>
                  <a:pt x="725" y="107"/>
                  <a:pt x="726" y="108"/>
                  <a:pt x="727" y="108"/>
                </a:cubicBezTo>
                <a:cubicBezTo>
                  <a:pt x="727" y="108"/>
                  <a:pt x="731" y="107"/>
                  <a:pt x="731" y="107"/>
                </a:cubicBezTo>
                <a:cubicBezTo>
                  <a:pt x="732" y="107"/>
                  <a:pt x="736" y="108"/>
                  <a:pt x="736" y="108"/>
                </a:cubicBezTo>
                <a:cubicBezTo>
                  <a:pt x="736" y="108"/>
                  <a:pt x="739" y="109"/>
                  <a:pt x="739" y="109"/>
                </a:cubicBezTo>
                <a:cubicBezTo>
                  <a:pt x="740" y="109"/>
                  <a:pt x="747" y="108"/>
                  <a:pt x="747" y="108"/>
                </a:cubicBezTo>
                <a:cubicBezTo>
                  <a:pt x="751" y="109"/>
                  <a:pt x="751" y="109"/>
                  <a:pt x="751" y="109"/>
                </a:cubicBezTo>
                <a:cubicBezTo>
                  <a:pt x="753" y="110"/>
                  <a:pt x="755" y="109"/>
                  <a:pt x="757" y="109"/>
                </a:cubicBezTo>
                <a:cubicBezTo>
                  <a:pt x="757" y="109"/>
                  <a:pt x="759" y="110"/>
                  <a:pt x="759" y="110"/>
                </a:cubicBezTo>
                <a:cubicBezTo>
                  <a:pt x="759" y="110"/>
                  <a:pt x="761" y="111"/>
                  <a:pt x="761" y="111"/>
                </a:cubicBezTo>
                <a:cubicBezTo>
                  <a:pt x="761" y="111"/>
                  <a:pt x="762" y="111"/>
                  <a:pt x="762" y="111"/>
                </a:cubicBezTo>
                <a:cubicBezTo>
                  <a:pt x="761" y="111"/>
                  <a:pt x="760" y="109"/>
                  <a:pt x="760" y="109"/>
                </a:cubicBezTo>
                <a:cubicBezTo>
                  <a:pt x="761" y="107"/>
                  <a:pt x="761" y="107"/>
                  <a:pt x="761" y="107"/>
                </a:cubicBezTo>
                <a:cubicBezTo>
                  <a:pt x="769" y="109"/>
                  <a:pt x="769" y="109"/>
                  <a:pt x="769" y="109"/>
                </a:cubicBezTo>
                <a:cubicBezTo>
                  <a:pt x="770" y="109"/>
                  <a:pt x="769" y="110"/>
                  <a:pt x="768" y="111"/>
                </a:cubicBezTo>
                <a:cubicBezTo>
                  <a:pt x="768" y="111"/>
                  <a:pt x="763" y="111"/>
                  <a:pt x="763" y="112"/>
                </a:cubicBezTo>
                <a:cubicBezTo>
                  <a:pt x="763" y="112"/>
                  <a:pt x="763" y="113"/>
                  <a:pt x="764" y="113"/>
                </a:cubicBezTo>
                <a:cubicBezTo>
                  <a:pt x="765" y="113"/>
                  <a:pt x="765" y="112"/>
                  <a:pt x="768" y="112"/>
                </a:cubicBezTo>
                <a:cubicBezTo>
                  <a:pt x="770" y="112"/>
                  <a:pt x="770" y="112"/>
                  <a:pt x="770" y="112"/>
                </a:cubicBezTo>
                <a:cubicBezTo>
                  <a:pt x="771" y="111"/>
                  <a:pt x="772" y="109"/>
                  <a:pt x="773" y="109"/>
                </a:cubicBezTo>
                <a:cubicBezTo>
                  <a:pt x="776" y="109"/>
                  <a:pt x="776" y="109"/>
                  <a:pt x="776" y="109"/>
                </a:cubicBezTo>
                <a:cubicBezTo>
                  <a:pt x="776" y="109"/>
                  <a:pt x="778" y="109"/>
                  <a:pt x="778" y="108"/>
                </a:cubicBezTo>
                <a:cubicBezTo>
                  <a:pt x="778" y="106"/>
                  <a:pt x="776" y="107"/>
                  <a:pt x="775" y="106"/>
                </a:cubicBezTo>
                <a:cubicBezTo>
                  <a:pt x="775" y="105"/>
                  <a:pt x="775" y="104"/>
                  <a:pt x="776" y="104"/>
                </a:cubicBezTo>
                <a:cubicBezTo>
                  <a:pt x="777" y="104"/>
                  <a:pt x="779" y="103"/>
                  <a:pt x="779" y="103"/>
                </a:cubicBezTo>
                <a:cubicBezTo>
                  <a:pt x="780" y="102"/>
                  <a:pt x="780" y="102"/>
                  <a:pt x="780" y="102"/>
                </a:cubicBezTo>
                <a:cubicBezTo>
                  <a:pt x="779" y="106"/>
                  <a:pt x="780" y="105"/>
                  <a:pt x="783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5" y="108"/>
                  <a:pt x="785" y="108"/>
                  <a:pt x="784" y="110"/>
                </a:cubicBezTo>
                <a:cubicBezTo>
                  <a:pt x="786" y="110"/>
                  <a:pt x="785" y="110"/>
                  <a:pt x="788" y="110"/>
                </a:cubicBezTo>
                <a:cubicBezTo>
                  <a:pt x="788" y="112"/>
                  <a:pt x="787" y="111"/>
                  <a:pt x="786" y="112"/>
                </a:cubicBezTo>
                <a:cubicBezTo>
                  <a:pt x="786" y="112"/>
                  <a:pt x="784" y="113"/>
                  <a:pt x="786" y="113"/>
                </a:cubicBezTo>
                <a:cubicBezTo>
                  <a:pt x="787" y="113"/>
                  <a:pt x="788" y="113"/>
                  <a:pt x="789" y="113"/>
                </a:cubicBezTo>
                <a:cubicBezTo>
                  <a:pt x="789" y="113"/>
                  <a:pt x="790" y="112"/>
                  <a:pt x="790" y="113"/>
                </a:cubicBezTo>
                <a:cubicBezTo>
                  <a:pt x="790" y="114"/>
                  <a:pt x="790" y="114"/>
                  <a:pt x="790" y="114"/>
                </a:cubicBezTo>
                <a:cubicBezTo>
                  <a:pt x="791" y="114"/>
                  <a:pt x="793" y="114"/>
                  <a:pt x="793" y="114"/>
                </a:cubicBezTo>
                <a:cubicBezTo>
                  <a:pt x="793" y="114"/>
                  <a:pt x="794" y="115"/>
                  <a:pt x="794" y="116"/>
                </a:cubicBezTo>
                <a:cubicBezTo>
                  <a:pt x="794" y="116"/>
                  <a:pt x="791" y="117"/>
                  <a:pt x="790" y="117"/>
                </a:cubicBezTo>
                <a:cubicBezTo>
                  <a:pt x="786" y="117"/>
                  <a:pt x="786" y="117"/>
                  <a:pt x="785" y="119"/>
                </a:cubicBezTo>
                <a:cubicBezTo>
                  <a:pt x="784" y="119"/>
                  <a:pt x="783" y="120"/>
                  <a:pt x="783" y="120"/>
                </a:cubicBezTo>
                <a:cubicBezTo>
                  <a:pt x="783" y="121"/>
                  <a:pt x="785" y="121"/>
                  <a:pt x="785" y="121"/>
                </a:cubicBezTo>
                <a:cubicBezTo>
                  <a:pt x="786" y="121"/>
                  <a:pt x="786" y="120"/>
                  <a:pt x="787" y="120"/>
                </a:cubicBezTo>
                <a:cubicBezTo>
                  <a:pt x="788" y="120"/>
                  <a:pt x="789" y="119"/>
                  <a:pt x="790" y="119"/>
                </a:cubicBezTo>
                <a:cubicBezTo>
                  <a:pt x="790" y="119"/>
                  <a:pt x="793" y="119"/>
                  <a:pt x="793" y="119"/>
                </a:cubicBezTo>
                <a:cubicBezTo>
                  <a:pt x="794" y="118"/>
                  <a:pt x="794" y="118"/>
                  <a:pt x="794" y="118"/>
                </a:cubicBezTo>
                <a:cubicBezTo>
                  <a:pt x="795" y="120"/>
                  <a:pt x="795" y="119"/>
                  <a:pt x="797" y="118"/>
                </a:cubicBezTo>
                <a:cubicBezTo>
                  <a:pt x="798" y="122"/>
                  <a:pt x="798" y="122"/>
                  <a:pt x="798" y="122"/>
                </a:cubicBezTo>
                <a:cubicBezTo>
                  <a:pt x="800" y="123"/>
                  <a:pt x="800" y="123"/>
                  <a:pt x="800" y="123"/>
                </a:cubicBezTo>
                <a:cubicBezTo>
                  <a:pt x="801" y="122"/>
                  <a:pt x="801" y="122"/>
                  <a:pt x="801" y="121"/>
                </a:cubicBezTo>
                <a:cubicBezTo>
                  <a:pt x="802" y="120"/>
                  <a:pt x="802" y="120"/>
                  <a:pt x="802" y="120"/>
                </a:cubicBezTo>
                <a:cubicBezTo>
                  <a:pt x="804" y="122"/>
                  <a:pt x="803" y="122"/>
                  <a:pt x="801" y="123"/>
                </a:cubicBezTo>
                <a:cubicBezTo>
                  <a:pt x="800" y="124"/>
                  <a:pt x="800" y="124"/>
                  <a:pt x="800" y="124"/>
                </a:cubicBezTo>
                <a:cubicBezTo>
                  <a:pt x="802" y="125"/>
                  <a:pt x="802" y="126"/>
                  <a:pt x="804" y="125"/>
                </a:cubicBezTo>
                <a:cubicBezTo>
                  <a:pt x="805" y="127"/>
                  <a:pt x="805" y="127"/>
                  <a:pt x="805" y="127"/>
                </a:cubicBezTo>
                <a:cubicBezTo>
                  <a:pt x="803" y="131"/>
                  <a:pt x="804" y="128"/>
                  <a:pt x="804" y="134"/>
                </a:cubicBezTo>
                <a:cubicBezTo>
                  <a:pt x="802" y="136"/>
                  <a:pt x="802" y="136"/>
                  <a:pt x="802" y="136"/>
                </a:cubicBezTo>
                <a:cubicBezTo>
                  <a:pt x="796" y="139"/>
                  <a:pt x="796" y="139"/>
                  <a:pt x="796" y="139"/>
                </a:cubicBezTo>
                <a:cubicBezTo>
                  <a:pt x="791" y="140"/>
                  <a:pt x="791" y="140"/>
                  <a:pt x="791" y="140"/>
                </a:cubicBezTo>
                <a:cubicBezTo>
                  <a:pt x="788" y="142"/>
                  <a:pt x="788" y="142"/>
                  <a:pt x="788" y="142"/>
                </a:cubicBezTo>
                <a:cubicBezTo>
                  <a:pt x="788" y="142"/>
                  <a:pt x="784" y="143"/>
                  <a:pt x="783" y="144"/>
                </a:cubicBezTo>
                <a:cubicBezTo>
                  <a:pt x="783" y="144"/>
                  <a:pt x="781" y="145"/>
                  <a:pt x="781" y="145"/>
                </a:cubicBezTo>
                <a:cubicBezTo>
                  <a:pt x="784" y="149"/>
                  <a:pt x="784" y="149"/>
                  <a:pt x="784" y="149"/>
                </a:cubicBezTo>
                <a:cubicBezTo>
                  <a:pt x="783" y="150"/>
                  <a:pt x="782" y="151"/>
                  <a:pt x="782" y="151"/>
                </a:cubicBezTo>
                <a:cubicBezTo>
                  <a:pt x="780" y="151"/>
                  <a:pt x="780" y="151"/>
                  <a:pt x="780" y="151"/>
                </a:cubicBezTo>
                <a:cubicBezTo>
                  <a:pt x="777" y="152"/>
                  <a:pt x="777" y="152"/>
                  <a:pt x="777" y="152"/>
                </a:cubicBezTo>
                <a:cubicBezTo>
                  <a:pt x="775" y="152"/>
                  <a:pt x="775" y="152"/>
                  <a:pt x="775" y="152"/>
                </a:cubicBezTo>
                <a:cubicBezTo>
                  <a:pt x="774" y="152"/>
                  <a:pt x="774" y="152"/>
                  <a:pt x="774" y="152"/>
                </a:cubicBezTo>
                <a:cubicBezTo>
                  <a:pt x="773" y="152"/>
                  <a:pt x="769" y="154"/>
                  <a:pt x="768" y="154"/>
                </a:cubicBezTo>
                <a:cubicBezTo>
                  <a:pt x="767" y="153"/>
                  <a:pt x="767" y="153"/>
                  <a:pt x="767" y="153"/>
                </a:cubicBezTo>
                <a:cubicBezTo>
                  <a:pt x="766" y="154"/>
                  <a:pt x="766" y="154"/>
                  <a:pt x="766" y="154"/>
                </a:cubicBezTo>
                <a:cubicBezTo>
                  <a:pt x="763" y="153"/>
                  <a:pt x="759" y="152"/>
                  <a:pt x="756" y="151"/>
                </a:cubicBezTo>
                <a:cubicBezTo>
                  <a:pt x="753" y="153"/>
                  <a:pt x="753" y="153"/>
                  <a:pt x="753" y="153"/>
                </a:cubicBezTo>
                <a:cubicBezTo>
                  <a:pt x="753" y="155"/>
                  <a:pt x="752" y="154"/>
                  <a:pt x="750" y="155"/>
                </a:cubicBezTo>
                <a:cubicBezTo>
                  <a:pt x="748" y="155"/>
                  <a:pt x="744" y="160"/>
                  <a:pt x="744" y="160"/>
                </a:cubicBezTo>
                <a:cubicBezTo>
                  <a:pt x="744" y="161"/>
                  <a:pt x="746" y="163"/>
                  <a:pt x="747" y="163"/>
                </a:cubicBezTo>
                <a:cubicBezTo>
                  <a:pt x="753" y="165"/>
                  <a:pt x="752" y="163"/>
                  <a:pt x="754" y="163"/>
                </a:cubicBezTo>
                <a:cubicBezTo>
                  <a:pt x="754" y="163"/>
                  <a:pt x="757" y="162"/>
                  <a:pt x="758" y="162"/>
                </a:cubicBezTo>
                <a:cubicBezTo>
                  <a:pt x="759" y="162"/>
                  <a:pt x="762" y="159"/>
                  <a:pt x="762" y="159"/>
                </a:cubicBezTo>
                <a:cubicBezTo>
                  <a:pt x="762" y="160"/>
                  <a:pt x="769" y="163"/>
                  <a:pt x="769" y="162"/>
                </a:cubicBezTo>
                <a:cubicBezTo>
                  <a:pt x="770" y="161"/>
                  <a:pt x="769" y="159"/>
                  <a:pt x="769" y="158"/>
                </a:cubicBezTo>
                <a:cubicBezTo>
                  <a:pt x="771" y="157"/>
                  <a:pt x="771" y="157"/>
                  <a:pt x="771" y="157"/>
                </a:cubicBezTo>
                <a:cubicBezTo>
                  <a:pt x="771" y="157"/>
                  <a:pt x="770" y="158"/>
                  <a:pt x="770" y="159"/>
                </a:cubicBezTo>
                <a:cubicBezTo>
                  <a:pt x="771" y="159"/>
                  <a:pt x="772" y="160"/>
                  <a:pt x="772" y="160"/>
                </a:cubicBezTo>
                <a:cubicBezTo>
                  <a:pt x="772" y="160"/>
                  <a:pt x="775" y="159"/>
                  <a:pt x="774" y="159"/>
                </a:cubicBezTo>
                <a:cubicBezTo>
                  <a:pt x="774" y="160"/>
                  <a:pt x="772" y="161"/>
                  <a:pt x="772" y="161"/>
                </a:cubicBezTo>
                <a:cubicBezTo>
                  <a:pt x="772" y="161"/>
                  <a:pt x="772" y="162"/>
                  <a:pt x="773" y="162"/>
                </a:cubicBezTo>
                <a:cubicBezTo>
                  <a:pt x="776" y="160"/>
                  <a:pt x="774" y="161"/>
                  <a:pt x="778" y="159"/>
                </a:cubicBezTo>
                <a:cubicBezTo>
                  <a:pt x="778" y="160"/>
                  <a:pt x="778" y="160"/>
                  <a:pt x="778" y="160"/>
                </a:cubicBezTo>
                <a:cubicBezTo>
                  <a:pt x="781" y="159"/>
                  <a:pt x="780" y="160"/>
                  <a:pt x="778" y="163"/>
                </a:cubicBezTo>
                <a:cubicBezTo>
                  <a:pt x="778" y="163"/>
                  <a:pt x="781" y="165"/>
                  <a:pt x="780" y="166"/>
                </a:cubicBezTo>
                <a:cubicBezTo>
                  <a:pt x="780" y="167"/>
                  <a:pt x="782" y="169"/>
                  <a:pt x="782" y="169"/>
                </a:cubicBezTo>
                <a:cubicBezTo>
                  <a:pt x="784" y="168"/>
                  <a:pt x="784" y="168"/>
                  <a:pt x="784" y="168"/>
                </a:cubicBezTo>
                <a:cubicBezTo>
                  <a:pt x="785" y="169"/>
                  <a:pt x="785" y="169"/>
                  <a:pt x="785" y="169"/>
                </a:cubicBezTo>
                <a:cubicBezTo>
                  <a:pt x="785" y="169"/>
                  <a:pt x="787" y="169"/>
                  <a:pt x="788" y="169"/>
                </a:cubicBezTo>
                <a:cubicBezTo>
                  <a:pt x="788" y="171"/>
                  <a:pt x="788" y="170"/>
                  <a:pt x="785" y="171"/>
                </a:cubicBezTo>
                <a:cubicBezTo>
                  <a:pt x="785" y="172"/>
                  <a:pt x="781" y="171"/>
                  <a:pt x="781" y="171"/>
                </a:cubicBezTo>
                <a:cubicBezTo>
                  <a:pt x="782" y="172"/>
                  <a:pt x="782" y="172"/>
                  <a:pt x="782" y="172"/>
                </a:cubicBezTo>
                <a:cubicBezTo>
                  <a:pt x="783" y="173"/>
                  <a:pt x="783" y="173"/>
                  <a:pt x="783" y="173"/>
                </a:cubicBezTo>
                <a:cubicBezTo>
                  <a:pt x="784" y="174"/>
                  <a:pt x="784" y="174"/>
                  <a:pt x="784" y="174"/>
                </a:cubicBezTo>
                <a:cubicBezTo>
                  <a:pt x="786" y="175"/>
                  <a:pt x="786" y="175"/>
                  <a:pt x="788" y="175"/>
                </a:cubicBezTo>
                <a:cubicBezTo>
                  <a:pt x="787" y="176"/>
                  <a:pt x="787" y="176"/>
                  <a:pt x="787" y="176"/>
                </a:cubicBezTo>
                <a:cubicBezTo>
                  <a:pt x="785" y="176"/>
                  <a:pt x="785" y="176"/>
                  <a:pt x="785" y="176"/>
                </a:cubicBezTo>
                <a:cubicBezTo>
                  <a:pt x="785" y="178"/>
                  <a:pt x="785" y="178"/>
                  <a:pt x="786" y="178"/>
                </a:cubicBezTo>
                <a:cubicBezTo>
                  <a:pt x="786" y="178"/>
                  <a:pt x="786" y="179"/>
                  <a:pt x="786" y="179"/>
                </a:cubicBezTo>
                <a:cubicBezTo>
                  <a:pt x="786" y="179"/>
                  <a:pt x="787" y="180"/>
                  <a:pt x="788" y="180"/>
                </a:cubicBezTo>
                <a:cubicBezTo>
                  <a:pt x="788" y="181"/>
                  <a:pt x="790" y="181"/>
                  <a:pt x="790" y="181"/>
                </a:cubicBezTo>
                <a:cubicBezTo>
                  <a:pt x="790" y="181"/>
                  <a:pt x="791" y="180"/>
                  <a:pt x="791" y="179"/>
                </a:cubicBezTo>
                <a:cubicBezTo>
                  <a:pt x="790" y="179"/>
                  <a:pt x="790" y="178"/>
                  <a:pt x="789" y="178"/>
                </a:cubicBezTo>
                <a:cubicBezTo>
                  <a:pt x="787" y="178"/>
                  <a:pt x="787" y="178"/>
                  <a:pt x="788" y="176"/>
                </a:cubicBezTo>
                <a:cubicBezTo>
                  <a:pt x="789" y="176"/>
                  <a:pt x="791" y="179"/>
                  <a:pt x="792" y="179"/>
                </a:cubicBezTo>
                <a:cubicBezTo>
                  <a:pt x="794" y="179"/>
                  <a:pt x="792" y="178"/>
                  <a:pt x="797" y="179"/>
                </a:cubicBezTo>
                <a:cubicBezTo>
                  <a:pt x="797" y="180"/>
                  <a:pt x="798" y="181"/>
                  <a:pt x="799" y="182"/>
                </a:cubicBezTo>
                <a:cubicBezTo>
                  <a:pt x="799" y="182"/>
                  <a:pt x="802" y="183"/>
                  <a:pt x="803" y="183"/>
                </a:cubicBezTo>
                <a:cubicBezTo>
                  <a:pt x="803" y="183"/>
                  <a:pt x="806" y="183"/>
                  <a:pt x="806" y="183"/>
                </a:cubicBezTo>
                <a:cubicBezTo>
                  <a:pt x="809" y="184"/>
                  <a:pt x="809" y="184"/>
                  <a:pt x="809" y="184"/>
                </a:cubicBezTo>
                <a:cubicBezTo>
                  <a:pt x="809" y="184"/>
                  <a:pt x="810" y="185"/>
                  <a:pt x="811" y="185"/>
                </a:cubicBezTo>
                <a:cubicBezTo>
                  <a:pt x="815" y="188"/>
                  <a:pt x="814" y="188"/>
                  <a:pt x="819" y="187"/>
                </a:cubicBezTo>
                <a:cubicBezTo>
                  <a:pt x="818" y="185"/>
                  <a:pt x="818" y="185"/>
                  <a:pt x="818" y="185"/>
                </a:cubicBezTo>
                <a:cubicBezTo>
                  <a:pt x="819" y="184"/>
                  <a:pt x="821" y="184"/>
                  <a:pt x="820" y="183"/>
                </a:cubicBezTo>
                <a:cubicBezTo>
                  <a:pt x="816" y="179"/>
                  <a:pt x="820" y="180"/>
                  <a:pt x="812" y="175"/>
                </a:cubicBezTo>
                <a:cubicBezTo>
                  <a:pt x="809" y="173"/>
                  <a:pt x="807" y="172"/>
                  <a:pt x="807" y="169"/>
                </a:cubicBezTo>
                <a:cubicBezTo>
                  <a:pt x="807" y="169"/>
                  <a:pt x="809" y="168"/>
                  <a:pt x="809" y="168"/>
                </a:cubicBezTo>
                <a:cubicBezTo>
                  <a:pt x="811" y="168"/>
                  <a:pt x="811" y="170"/>
                  <a:pt x="815" y="171"/>
                </a:cubicBezTo>
                <a:cubicBezTo>
                  <a:pt x="814" y="167"/>
                  <a:pt x="816" y="169"/>
                  <a:pt x="816" y="170"/>
                </a:cubicBezTo>
                <a:cubicBezTo>
                  <a:pt x="817" y="172"/>
                  <a:pt x="818" y="173"/>
                  <a:pt x="819" y="172"/>
                </a:cubicBezTo>
                <a:cubicBezTo>
                  <a:pt x="819" y="173"/>
                  <a:pt x="820" y="175"/>
                  <a:pt x="820" y="175"/>
                </a:cubicBezTo>
                <a:cubicBezTo>
                  <a:pt x="822" y="175"/>
                  <a:pt x="822" y="174"/>
                  <a:pt x="823" y="176"/>
                </a:cubicBezTo>
                <a:cubicBezTo>
                  <a:pt x="824" y="177"/>
                  <a:pt x="825" y="176"/>
                  <a:pt x="825" y="176"/>
                </a:cubicBezTo>
                <a:cubicBezTo>
                  <a:pt x="826" y="176"/>
                  <a:pt x="826" y="176"/>
                  <a:pt x="826" y="176"/>
                </a:cubicBezTo>
                <a:cubicBezTo>
                  <a:pt x="826" y="176"/>
                  <a:pt x="827" y="177"/>
                  <a:pt x="827" y="177"/>
                </a:cubicBezTo>
                <a:cubicBezTo>
                  <a:pt x="827" y="177"/>
                  <a:pt x="828" y="178"/>
                  <a:pt x="828" y="178"/>
                </a:cubicBezTo>
                <a:cubicBezTo>
                  <a:pt x="830" y="176"/>
                  <a:pt x="830" y="176"/>
                  <a:pt x="832" y="177"/>
                </a:cubicBezTo>
                <a:cubicBezTo>
                  <a:pt x="833" y="177"/>
                  <a:pt x="834" y="178"/>
                  <a:pt x="834" y="177"/>
                </a:cubicBezTo>
                <a:cubicBezTo>
                  <a:pt x="834" y="176"/>
                  <a:pt x="833" y="173"/>
                  <a:pt x="834" y="173"/>
                </a:cubicBezTo>
                <a:cubicBezTo>
                  <a:pt x="834" y="173"/>
                  <a:pt x="835" y="171"/>
                  <a:pt x="835" y="171"/>
                </a:cubicBezTo>
                <a:cubicBezTo>
                  <a:pt x="835" y="171"/>
                  <a:pt x="836" y="169"/>
                  <a:pt x="836" y="169"/>
                </a:cubicBezTo>
                <a:cubicBezTo>
                  <a:pt x="836" y="169"/>
                  <a:pt x="836" y="171"/>
                  <a:pt x="836" y="171"/>
                </a:cubicBezTo>
                <a:cubicBezTo>
                  <a:pt x="835" y="174"/>
                  <a:pt x="836" y="174"/>
                  <a:pt x="838" y="172"/>
                </a:cubicBezTo>
                <a:cubicBezTo>
                  <a:pt x="840" y="170"/>
                  <a:pt x="840" y="170"/>
                  <a:pt x="840" y="170"/>
                </a:cubicBezTo>
                <a:cubicBezTo>
                  <a:pt x="839" y="169"/>
                  <a:pt x="839" y="169"/>
                  <a:pt x="838" y="168"/>
                </a:cubicBezTo>
                <a:cubicBezTo>
                  <a:pt x="838" y="166"/>
                  <a:pt x="838" y="167"/>
                  <a:pt x="840" y="166"/>
                </a:cubicBezTo>
                <a:cubicBezTo>
                  <a:pt x="838" y="165"/>
                  <a:pt x="838" y="165"/>
                  <a:pt x="838" y="165"/>
                </a:cubicBezTo>
                <a:cubicBezTo>
                  <a:pt x="838" y="165"/>
                  <a:pt x="837" y="165"/>
                  <a:pt x="837" y="164"/>
                </a:cubicBezTo>
                <a:cubicBezTo>
                  <a:pt x="837" y="164"/>
                  <a:pt x="837" y="163"/>
                  <a:pt x="837" y="163"/>
                </a:cubicBezTo>
                <a:cubicBezTo>
                  <a:pt x="837" y="163"/>
                  <a:pt x="839" y="162"/>
                  <a:pt x="839" y="162"/>
                </a:cubicBezTo>
                <a:cubicBezTo>
                  <a:pt x="839" y="162"/>
                  <a:pt x="840" y="161"/>
                  <a:pt x="840" y="161"/>
                </a:cubicBezTo>
                <a:cubicBezTo>
                  <a:pt x="838" y="161"/>
                  <a:pt x="838" y="161"/>
                  <a:pt x="837" y="161"/>
                </a:cubicBezTo>
                <a:cubicBezTo>
                  <a:pt x="837" y="161"/>
                  <a:pt x="836" y="162"/>
                  <a:pt x="836" y="161"/>
                </a:cubicBezTo>
                <a:cubicBezTo>
                  <a:pt x="835" y="160"/>
                  <a:pt x="836" y="160"/>
                  <a:pt x="837" y="160"/>
                </a:cubicBezTo>
                <a:cubicBezTo>
                  <a:pt x="837" y="160"/>
                  <a:pt x="838" y="158"/>
                  <a:pt x="838" y="158"/>
                </a:cubicBezTo>
                <a:cubicBezTo>
                  <a:pt x="838" y="158"/>
                  <a:pt x="837" y="158"/>
                  <a:pt x="837" y="158"/>
                </a:cubicBezTo>
                <a:cubicBezTo>
                  <a:pt x="837" y="158"/>
                  <a:pt x="837" y="157"/>
                  <a:pt x="836" y="157"/>
                </a:cubicBezTo>
                <a:cubicBezTo>
                  <a:pt x="836" y="159"/>
                  <a:pt x="835" y="159"/>
                  <a:pt x="834" y="159"/>
                </a:cubicBezTo>
                <a:cubicBezTo>
                  <a:pt x="834" y="158"/>
                  <a:pt x="834" y="157"/>
                  <a:pt x="833" y="157"/>
                </a:cubicBezTo>
                <a:cubicBezTo>
                  <a:pt x="832" y="157"/>
                  <a:pt x="833" y="156"/>
                  <a:pt x="831" y="157"/>
                </a:cubicBezTo>
                <a:cubicBezTo>
                  <a:pt x="830" y="156"/>
                  <a:pt x="830" y="156"/>
                  <a:pt x="830" y="156"/>
                </a:cubicBezTo>
                <a:cubicBezTo>
                  <a:pt x="831" y="156"/>
                  <a:pt x="831" y="155"/>
                  <a:pt x="830" y="154"/>
                </a:cubicBezTo>
                <a:cubicBezTo>
                  <a:pt x="829" y="153"/>
                  <a:pt x="829" y="153"/>
                  <a:pt x="830" y="152"/>
                </a:cubicBezTo>
                <a:cubicBezTo>
                  <a:pt x="830" y="152"/>
                  <a:pt x="831" y="152"/>
                  <a:pt x="831" y="151"/>
                </a:cubicBezTo>
                <a:cubicBezTo>
                  <a:pt x="831" y="151"/>
                  <a:pt x="831" y="149"/>
                  <a:pt x="831" y="149"/>
                </a:cubicBezTo>
                <a:cubicBezTo>
                  <a:pt x="829" y="149"/>
                  <a:pt x="828" y="150"/>
                  <a:pt x="827" y="150"/>
                </a:cubicBezTo>
                <a:cubicBezTo>
                  <a:pt x="826" y="150"/>
                  <a:pt x="826" y="149"/>
                  <a:pt x="826" y="149"/>
                </a:cubicBezTo>
                <a:cubicBezTo>
                  <a:pt x="826" y="147"/>
                  <a:pt x="826" y="147"/>
                  <a:pt x="826" y="147"/>
                </a:cubicBezTo>
                <a:cubicBezTo>
                  <a:pt x="825" y="146"/>
                  <a:pt x="824" y="145"/>
                  <a:pt x="823" y="145"/>
                </a:cubicBezTo>
                <a:cubicBezTo>
                  <a:pt x="826" y="144"/>
                  <a:pt x="826" y="144"/>
                  <a:pt x="826" y="144"/>
                </a:cubicBezTo>
                <a:cubicBezTo>
                  <a:pt x="826" y="144"/>
                  <a:pt x="827" y="145"/>
                  <a:pt x="827" y="146"/>
                </a:cubicBezTo>
                <a:cubicBezTo>
                  <a:pt x="827" y="147"/>
                  <a:pt x="830" y="147"/>
                  <a:pt x="830" y="147"/>
                </a:cubicBezTo>
                <a:cubicBezTo>
                  <a:pt x="830" y="147"/>
                  <a:pt x="832" y="148"/>
                  <a:pt x="832" y="147"/>
                </a:cubicBezTo>
                <a:cubicBezTo>
                  <a:pt x="833" y="147"/>
                  <a:pt x="834" y="146"/>
                  <a:pt x="834" y="146"/>
                </a:cubicBezTo>
                <a:cubicBezTo>
                  <a:pt x="832" y="145"/>
                  <a:pt x="832" y="145"/>
                  <a:pt x="832" y="145"/>
                </a:cubicBezTo>
                <a:cubicBezTo>
                  <a:pt x="831" y="144"/>
                  <a:pt x="831" y="144"/>
                  <a:pt x="831" y="142"/>
                </a:cubicBezTo>
                <a:cubicBezTo>
                  <a:pt x="830" y="141"/>
                  <a:pt x="832" y="141"/>
                  <a:pt x="833" y="142"/>
                </a:cubicBezTo>
                <a:cubicBezTo>
                  <a:pt x="833" y="142"/>
                  <a:pt x="833" y="143"/>
                  <a:pt x="833" y="143"/>
                </a:cubicBezTo>
                <a:cubicBezTo>
                  <a:pt x="835" y="144"/>
                  <a:pt x="836" y="143"/>
                  <a:pt x="836" y="143"/>
                </a:cubicBezTo>
                <a:cubicBezTo>
                  <a:pt x="837" y="142"/>
                  <a:pt x="838" y="141"/>
                  <a:pt x="838" y="141"/>
                </a:cubicBezTo>
                <a:cubicBezTo>
                  <a:pt x="838" y="141"/>
                  <a:pt x="840" y="142"/>
                  <a:pt x="840" y="143"/>
                </a:cubicBezTo>
                <a:cubicBezTo>
                  <a:pt x="840" y="144"/>
                  <a:pt x="840" y="145"/>
                  <a:pt x="842" y="144"/>
                </a:cubicBezTo>
                <a:cubicBezTo>
                  <a:pt x="843" y="145"/>
                  <a:pt x="841" y="145"/>
                  <a:pt x="842" y="146"/>
                </a:cubicBezTo>
                <a:cubicBezTo>
                  <a:pt x="843" y="147"/>
                  <a:pt x="845" y="147"/>
                  <a:pt x="846" y="147"/>
                </a:cubicBezTo>
                <a:cubicBezTo>
                  <a:pt x="846" y="147"/>
                  <a:pt x="847" y="146"/>
                  <a:pt x="847" y="147"/>
                </a:cubicBezTo>
                <a:cubicBezTo>
                  <a:pt x="848" y="148"/>
                  <a:pt x="846" y="148"/>
                  <a:pt x="845" y="148"/>
                </a:cubicBezTo>
                <a:cubicBezTo>
                  <a:pt x="845" y="149"/>
                  <a:pt x="844" y="149"/>
                  <a:pt x="844" y="149"/>
                </a:cubicBezTo>
                <a:cubicBezTo>
                  <a:pt x="845" y="150"/>
                  <a:pt x="847" y="151"/>
                  <a:pt x="847" y="151"/>
                </a:cubicBezTo>
                <a:cubicBezTo>
                  <a:pt x="848" y="150"/>
                  <a:pt x="848" y="150"/>
                  <a:pt x="848" y="150"/>
                </a:cubicBezTo>
                <a:cubicBezTo>
                  <a:pt x="848" y="151"/>
                  <a:pt x="846" y="153"/>
                  <a:pt x="848" y="154"/>
                </a:cubicBezTo>
                <a:cubicBezTo>
                  <a:pt x="847" y="155"/>
                  <a:pt x="847" y="155"/>
                  <a:pt x="847" y="155"/>
                </a:cubicBezTo>
                <a:cubicBezTo>
                  <a:pt x="849" y="155"/>
                  <a:pt x="849" y="155"/>
                  <a:pt x="850" y="154"/>
                </a:cubicBezTo>
                <a:cubicBezTo>
                  <a:pt x="850" y="154"/>
                  <a:pt x="851" y="154"/>
                  <a:pt x="851" y="155"/>
                </a:cubicBezTo>
                <a:cubicBezTo>
                  <a:pt x="851" y="155"/>
                  <a:pt x="850" y="156"/>
                  <a:pt x="851" y="156"/>
                </a:cubicBezTo>
                <a:cubicBezTo>
                  <a:pt x="851" y="156"/>
                  <a:pt x="852" y="155"/>
                  <a:pt x="852" y="155"/>
                </a:cubicBezTo>
                <a:cubicBezTo>
                  <a:pt x="853" y="156"/>
                  <a:pt x="853" y="156"/>
                  <a:pt x="853" y="156"/>
                </a:cubicBezTo>
                <a:cubicBezTo>
                  <a:pt x="853" y="156"/>
                  <a:pt x="853" y="157"/>
                  <a:pt x="853" y="157"/>
                </a:cubicBezTo>
                <a:cubicBezTo>
                  <a:pt x="854" y="157"/>
                  <a:pt x="856" y="157"/>
                  <a:pt x="856" y="157"/>
                </a:cubicBezTo>
                <a:cubicBezTo>
                  <a:pt x="858" y="154"/>
                  <a:pt x="858" y="154"/>
                  <a:pt x="858" y="151"/>
                </a:cubicBezTo>
                <a:cubicBezTo>
                  <a:pt x="860" y="151"/>
                  <a:pt x="860" y="151"/>
                  <a:pt x="860" y="147"/>
                </a:cubicBezTo>
                <a:cubicBezTo>
                  <a:pt x="861" y="150"/>
                  <a:pt x="860" y="150"/>
                  <a:pt x="862" y="150"/>
                </a:cubicBezTo>
                <a:cubicBezTo>
                  <a:pt x="863" y="150"/>
                  <a:pt x="863" y="150"/>
                  <a:pt x="863" y="150"/>
                </a:cubicBezTo>
                <a:cubicBezTo>
                  <a:pt x="864" y="150"/>
                  <a:pt x="866" y="148"/>
                  <a:pt x="867" y="149"/>
                </a:cubicBezTo>
                <a:cubicBezTo>
                  <a:pt x="868" y="149"/>
                  <a:pt x="869" y="149"/>
                  <a:pt x="869" y="148"/>
                </a:cubicBezTo>
                <a:cubicBezTo>
                  <a:pt x="869" y="148"/>
                  <a:pt x="868" y="147"/>
                  <a:pt x="868" y="147"/>
                </a:cubicBezTo>
                <a:cubicBezTo>
                  <a:pt x="866" y="147"/>
                  <a:pt x="867" y="147"/>
                  <a:pt x="866" y="145"/>
                </a:cubicBezTo>
                <a:cubicBezTo>
                  <a:pt x="867" y="145"/>
                  <a:pt x="867" y="145"/>
                  <a:pt x="868" y="146"/>
                </a:cubicBezTo>
                <a:cubicBezTo>
                  <a:pt x="869" y="146"/>
                  <a:pt x="869" y="147"/>
                  <a:pt x="872" y="146"/>
                </a:cubicBezTo>
                <a:cubicBezTo>
                  <a:pt x="871" y="145"/>
                  <a:pt x="871" y="145"/>
                  <a:pt x="870" y="145"/>
                </a:cubicBezTo>
                <a:cubicBezTo>
                  <a:pt x="871" y="144"/>
                  <a:pt x="871" y="144"/>
                  <a:pt x="871" y="144"/>
                </a:cubicBezTo>
                <a:cubicBezTo>
                  <a:pt x="871" y="143"/>
                  <a:pt x="871" y="143"/>
                  <a:pt x="871" y="143"/>
                </a:cubicBezTo>
                <a:cubicBezTo>
                  <a:pt x="872" y="143"/>
                  <a:pt x="872" y="143"/>
                  <a:pt x="872" y="143"/>
                </a:cubicBezTo>
                <a:cubicBezTo>
                  <a:pt x="873" y="144"/>
                  <a:pt x="873" y="144"/>
                  <a:pt x="875" y="144"/>
                </a:cubicBezTo>
                <a:cubicBezTo>
                  <a:pt x="876" y="144"/>
                  <a:pt x="877" y="143"/>
                  <a:pt x="878" y="142"/>
                </a:cubicBezTo>
                <a:cubicBezTo>
                  <a:pt x="876" y="141"/>
                  <a:pt x="876" y="141"/>
                  <a:pt x="876" y="141"/>
                </a:cubicBezTo>
                <a:cubicBezTo>
                  <a:pt x="878" y="141"/>
                  <a:pt x="878" y="141"/>
                  <a:pt x="878" y="141"/>
                </a:cubicBezTo>
                <a:cubicBezTo>
                  <a:pt x="878" y="141"/>
                  <a:pt x="880" y="142"/>
                  <a:pt x="880" y="141"/>
                </a:cubicBezTo>
                <a:close/>
                <a:moveTo>
                  <a:pt x="817" y="144"/>
                </a:moveTo>
                <a:cubicBezTo>
                  <a:pt x="814" y="145"/>
                  <a:pt x="812" y="144"/>
                  <a:pt x="810" y="144"/>
                </a:cubicBezTo>
                <a:cubicBezTo>
                  <a:pt x="810" y="144"/>
                  <a:pt x="809" y="145"/>
                  <a:pt x="808" y="145"/>
                </a:cubicBezTo>
                <a:cubicBezTo>
                  <a:pt x="808" y="145"/>
                  <a:pt x="806" y="146"/>
                  <a:pt x="806" y="147"/>
                </a:cubicBezTo>
                <a:cubicBezTo>
                  <a:pt x="805" y="147"/>
                  <a:pt x="803" y="148"/>
                  <a:pt x="803" y="148"/>
                </a:cubicBezTo>
                <a:cubicBezTo>
                  <a:pt x="803" y="146"/>
                  <a:pt x="803" y="146"/>
                  <a:pt x="803" y="146"/>
                </a:cubicBezTo>
                <a:cubicBezTo>
                  <a:pt x="806" y="145"/>
                  <a:pt x="806" y="145"/>
                  <a:pt x="806" y="145"/>
                </a:cubicBezTo>
                <a:cubicBezTo>
                  <a:pt x="806" y="142"/>
                  <a:pt x="806" y="142"/>
                  <a:pt x="806" y="142"/>
                </a:cubicBezTo>
                <a:cubicBezTo>
                  <a:pt x="806" y="140"/>
                  <a:pt x="806" y="140"/>
                  <a:pt x="806" y="140"/>
                </a:cubicBezTo>
                <a:cubicBezTo>
                  <a:pt x="811" y="139"/>
                  <a:pt x="810" y="138"/>
                  <a:pt x="811" y="137"/>
                </a:cubicBezTo>
                <a:cubicBezTo>
                  <a:pt x="811" y="137"/>
                  <a:pt x="813" y="137"/>
                  <a:pt x="813" y="137"/>
                </a:cubicBezTo>
                <a:cubicBezTo>
                  <a:pt x="813" y="137"/>
                  <a:pt x="813" y="139"/>
                  <a:pt x="814" y="139"/>
                </a:cubicBezTo>
                <a:cubicBezTo>
                  <a:pt x="815" y="139"/>
                  <a:pt x="818" y="139"/>
                  <a:pt x="818" y="139"/>
                </a:cubicBezTo>
                <a:cubicBezTo>
                  <a:pt x="819" y="140"/>
                  <a:pt x="820" y="141"/>
                  <a:pt x="820" y="141"/>
                </a:cubicBezTo>
                <a:cubicBezTo>
                  <a:pt x="820" y="141"/>
                  <a:pt x="822" y="141"/>
                  <a:pt x="822" y="142"/>
                </a:cubicBezTo>
                <a:cubicBezTo>
                  <a:pt x="821" y="145"/>
                  <a:pt x="820" y="144"/>
                  <a:pt x="817" y="144"/>
                </a:cubicBezTo>
                <a:close/>
                <a:moveTo>
                  <a:pt x="771" y="351"/>
                </a:moveTo>
                <a:cubicBezTo>
                  <a:pt x="772" y="353"/>
                  <a:pt x="768" y="353"/>
                  <a:pt x="768" y="353"/>
                </a:cubicBezTo>
                <a:cubicBezTo>
                  <a:pt x="765" y="353"/>
                  <a:pt x="766" y="351"/>
                  <a:pt x="767" y="350"/>
                </a:cubicBezTo>
                <a:cubicBezTo>
                  <a:pt x="765" y="351"/>
                  <a:pt x="765" y="351"/>
                  <a:pt x="765" y="351"/>
                </a:cubicBezTo>
                <a:cubicBezTo>
                  <a:pt x="766" y="353"/>
                  <a:pt x="760" y="350"/>
                  <a:pt x="760" y="348"/>
                </a:cubicBezTo>
                <a:cubicBezTo>
                  <a:pt x="762" y="347"/>
                  <a:pt x="760" y="349"/>
                  <a:pt x="759" y="348"/>
                </a:cubicBezTo>
                <a:cubicBezTo>
                  <a:pt x="757" y="347"/>
                  <a:pt x="757" y="347"/>
                  <a:pt x="757" y="347"/>
                </a:cubicBezTo>
                <a:cubicBezTo>
                  <a:pt x="758" y="346"/>
                  <a:pt x="758" y="346"/>
                  <a:pt x="758" y="346"/>
                </a:cubicBezTo>
                <a:cubicBezTo>
                  <a:pt x="757" y="346"/>
                  <a:pt x="757" y="346"/>
                  <a:pt x="757" y="346"/>
                </a:cubicBezTo>
                <a:cubicBezTo>
                  <a:pt x="757" y="343"/>
                  <a:pt x="758" y="344"/>
                  <a:pt x="761" y="341"/>
                </a:cubicBezTo>
                <a:cubicBezTo>
                  <a:pt x="762" y="343"/>
                  <a:pt x="761" y="343"/>
                  <a:pt x="760" y="345"/>
                </a:cubicBezTo>
                <a:cubicBezTo>
                  <a:pt x="760" y="345"/>
                  <a:pt x="762" y="345"/>
                  <a:pt x="762" y="346"/>
                </a:cubicBezTo>
                <a:cubicBezTo>
                  <a:pt x="760" y="346"/>
                  <a:pt x="761" y="347"/>
                  <a:pt x="761" y="347"/>
                </a:cubicBezTo>
                <a:cubicBezTo>
                  <a:pt x="762" y="347"/>
                  <a:pt x="762" y="347"/>
                  <a:pt x="762" y="347"/>
                </a:cubicBezTo>
                <a:cubicBezTo>
                  <a:pt x="762" y="347"/>
                  <a:pt x="762" y="345"/>
                  <a:pt x="763" y="346"/>
                </a:cubicBezTo>
                <a:cubicBezTo>
                  <a:pt x="763" y="346"/>
                  <a:pt x="765" y="347"/>
                  <a:pt x="765" y="347"/>
                </a:cubicBezTo>
                <a:cubicBezTo>
                  <a:pt x="766" y="347"/>
                  <a:pt x="768" y="348"/>
                  <a:pt x="768" y="348"/>
                </a:cubicBezTo>
                <a:cubicBezTo>
                  <a:pt x="772" y="347"/>
                  <a:pt x="772" y="347"/>
                  <a:pt x="772" y="347"/>
                </a:cubicBezTo>
                <a:cubicBezTo>
                  <a:pt x="776" y="347"/>
                  <a:pt x="776" y="347"/>
                  <a:pt x="776" y="347"/>
                </a:cubicBezTo>
                <a:cubicBezTo>
                  <a:pt x="776" y="348"/>
                  <a:pt x="776" y="348"/>
                  <a:pt x="776" y="348"/>
                </a:cubicBezTo>
                <a:cubicBezTo>
                  <a:pt x="772" y="349"/>
                  <a:pt x="773" y="348"/>
                  <a:pt x="771" y="351"/>
                </a:cubicBezTo>
                <a:close/>
                <a:moveTo>
                  <a:pt x="762" y="111"/>
                </a:moveTo>
                <a:cubicBezTo>
                  <a:pt x="762" y="111"/>
                  <a:pt x="762" y="111"/>
                  <a:pt x="762" y="111"/>
                </a:cubicBezTo>
                <a:cubicBezTo>
                  <a:pt x="762" y="110"/>
                  <a:pt x="762" y="110"/>
                  <a:pt x="762" y="111"/>
                </a:cubicBezTo>
                <a:close/>
                <a:moveTo>
                  <a:pt x="778" y="318"/>
                </a:moveTo>
                <a:cubicBezTo>
                  <a:pt x="777" y="318"/>
                  <a:pt x="775" y="316"/>
                  <a:pt x="775" y="316"/>
                </a:cubicBezTo>
                <a:cubicBezTo>
                  <a:pt x="773" y="313"/>
                  <a:pt x="773" y="313"/>
                  <a:pt x="773" y="313"/>
                </a:cubicBezTo>
                <a:cubicBezTo>
                  <a:pt x="769" y="311"/>
                  <a:pt x="769" y="311"/>
                  <a:pt x="769" y="311"/>
                </a:cubicBezTo>
                <a:cubicBezTo>
                  <a:pt x="770" y="310"/>
                  <a:pt x="770" y="310"/>
                  <a:pt x="770" y="310"/>
                </a:cubicBezTo>
                <a:cubicBezTo>
                  <a:pt x="770" y="310"/>
                  <a:pt x="772" y="310"/>
                  <a:pt x="773" y="310"/>
                </a:cubicBezTo>
                <a:cubicBezTo>
                  <a:pt x="777" y="310"/>
                  <a:pt x="777" y="311"/>
                  <a:pt x="780" y="312"/>
                </a:cubicBezTo>
                <a:cubicBezTo>
                  <a:pt x="781" y="312"/>
                  <a:pt x="783" y="314"/>
                  <a:pt x="784" y="315"/>
                </a:cubicBezTo>
                <a:cubicBezTo>
                  <a:pt x="786" y="317"/>
                  <a:pt x="788" y="316"/>
                  <a:pt x="790" y="318"/>
                </a:cubicBezTo>
                <a:cubicBezTo>
                  <a:pt x="790" y="319"/>
                  <a:pt x="788" y="320"/>
                  <a:pt x="788" y="320"/>
                </a:cubicBezTo>
                <a:cubicBezTo>
                  <a:pt x="784" y="319"/>
                  <a:pt x="784" y="319"/>
                  <a:pt x="784" y="319"/>
                </a:cubicBezTo>
                <a:cubicBezTo>
                  <a:pt x="784" y="319"/>
                  <a:pt x="779" y="318"/>
                  <a:pt x="778" y="318"/>
                </a:cubicBezTo>
                <a:close/>
                <a:moveTo>
                  <a:pt x="792" y="127"/>
                </a:moveTo>
                <a:cubicBezTo>
                  <a:pt x="797" y="125"/>
                  <a:pt x="794" y="126"/>
                  <a:pt x="799" y="127"/>
                </a:cubicBezTo>
                <a:cubicBezTo>
                  <a:pt x="799" y="127"/>
                  <a:pt x="800" y="126"/>
                  <a:pt x="800" y="127"/>
                </a:cubicBezTo>
                <a:cubicBezTo>
                  <a:pt x="800" y="129"/>
                  <a:pt x="802" y="129"/>
                  <a:pt x="800" y="129"/>
                </a:cubicBezTo>
                <a:cubicBezTo>
                  <a:pt x="795" y="130"/>
                  <a:pt x="797" y="130"/>
                  <a:pt x="793" y="130"/>
                </a:cubicBezTo>
                <a:cubicBezTo>
                  <a:pt x="792" y="130"/>
                  <a:pt x="790" y="128"/>
                  <a:pt x="790" y="128"/>
                </a:cubicBezTo>
                <a:lnTo>
                  <a:pt x="792" y="127"/>
                </a:lnTo>
                <a:close/>
                <a:moveTo>
                  <a:pt x="850" y="345"/>
                </a:moveTo>
                <a:cubicBezTo>
                  <a:pt x="851" y="344"/>
                  <a:pt x="852" y="342"/>
                  <a:pt x="852" y="341"/>
                </a:cubicBezTo>
                <a:cubicBezTo>
                  <a:pt x="851" y="340"/>
                  <a:pt x="850" y="343"/>
                  <a:pt x="849" y="343"/>
                </a:cubicBezTo>
                <a:cubicBezTo>
                  <a:pt x="848" y="344"/>
                  <a:pt x="847" y="344"/>
                  <a:pt x="846" y="344"/>
                </a:cubicBezTo>
                <a:cubicBezTo>
                  <a:pt x="846" y="344"/>
                  <a:pt x="847" y="343"/>
                  <a:pt x="847" y="342"/>
                </a:cubicBezTo>
                <a:cubicBezTo>
                  <a:pt x="847" y="341"/>
                  <a:pt x="849" y="339"/>
                  <a:pt x="849" y="339"/>
                </a:cubicBezTo>
                <a:cubicBezTo>
                  <a:pt x="849" y="336"/>
                  <a:pt x="851" y="334"/>
                  <a:pt x="850" y="332"/>
                </a:cubicBezTo>
                <a:cubicBezTo>
                  <a:pt x="849" y="331"/>
                  <a:pt x="847" y="336"/>
                  <a:pt x="846" y="337"/>
                </a:cubicBezTo>
                <a:cubicBezTo>
                  <a:pt x="845" y="337"/>
                  <a:pt x="844" y="337"/>
                  <a:pt x="843" y="337"/>
                </a:cubicBezTo>
                <a:cubicBezTo>
                  <a:pt x="840" y="338"/>
                  <a:pt x="840" y="340"/>
                  <a:pt x="838" y="342"/>
                </a:cubicBezTo>
                <a:cubicBezTo>
                  <a:pt x="836" y="344"/>
                  <a:pt x="836" y="343"/>
                  <a:pt x="833" y="343"/>
                </a:cubicBezTo>
                <a:cubicBezTo>
                  <a:pt x="833" y="343"/>
                  <a:pt x="831" y="344"/>
                  <a:pt x="831" y="343"/>
                </a:cubicBezTo>
                <a:cubicBezTo>
                  <a:pt x="830" y="343"/>
                  <a:pt x="831" y="342"/>
                  <a:pt x="831" y="342"/>
                </a:cubicBezTo>
                <a:cubicBezTo>
                  <a:pt x="832" y="341"/>
                  <a:pt x="837" y="341"/>
                  <a:pt x="838" y="339"/>
                </a:cubicBezTo>
                <a:cubicBezTo>
                  <a:pt x="838" y="339"/>
                  <a:pt x="839" y="338"/>
                  <a:pt x="839" y="337"/>
                </a:cubicBezTo>
                <a:cubicBezTo>
                  <a:pt x="839" y="337"/>
                  <a:pt x="841" y="336"/>
                  <a:pt x="842" y="336"/>
                </a:cubicBezTo>
                <a:cubicBezTo>
                  <a:pt x="843" y="336"/>
                  <a:pt x="842" y="334"/>
                  <a:pt x="842" y="334"/>
                </a:cubicBezTo>
                <a:cubicBezTo>
                  <a:pt x="840" y="335"/>
                  <a:pt x="841" y="335"/>
                  <a:pt x="839" y="335"/>
                </a:cubicBezTo>
                <a:cubicBezTo>
                  <a:pt x="837" y="335"/>
                  <a:pt x="837" y="337"/>
                  <a:pt x="836" y="337"/>
                </a:cubicBezTo>
                <a:cubicBezTo>
                  <a:pt x="835" y="337"/>
                  <a:pt x="833" y="337"/>
                  <a:pt x="832" y="336"/>
                </a:cubicBezTo>
                <a:cubicBezTo>
                  <a:pt x="832" y="336"/>
                  <a:pt x="833" y="336"/>
                  <a:pt x="834" y="335"/>
                </a:cubicBezTo>
                <a:cubicBezTo>
                  <a:pt x="835" y="335"/>
                  <a:pt x="836" y="334"/>
                  <a:pt x="836" y="332"/>
                </a:cubicBezTo>
                <a:cubicBezTo>
                  <a:pt x="836" y="332"/>
                  <a:pt x="835" y="334"/>
                  <a:pt x="834" y="334"/>
                </a:cubicBezTo>
                <a:cubicBezTo>
                  <a:pt x="833" y="335"/>
                  <a:pt x="831" y="335"/>
                  <a:pt x="830" y="335"/>
                </a:cubicBezTo>
                <a:cubicBezTo>
                  <a:pt x="829" y="335"/>
                  <a:pt x="828" y="336"/>
                  <a:pt x="827" y="336"/>
                </a:cubicBezTo>
                <a:cubicBezTo>
                  <a:pt x="825" y="336"/>
                  <a:pt x="821" y="336"/>
                  <a:pt x="819" y="336"/>
                </a:cubicBezTo>
                <a:cubicBezTo>
                  <a:pt x="818" y="336"/>
                  <a:pt x="817" y="335"/>
                  <a:pt x="816" y="335"/>
                </a:cubicBezTo>
                <a:cubicBezTo>
                  <a:pt x="813" y="335"/>
                  <a:pt x="809" y="336"/>
                  <a:pt x="808" y="336"/>
                </a:cubicBezTo>
                <a:cubicBezTo>
                  <a:pt x="803" y="335"/>
                  <a:pt x="805" y="335"/>
                  <a:pt x="805" y="332"/>
                </a:cubicBezTo>
                <a:cubicBezTo>
                  <a:pt x="805" y="332"/>
                  <a:pt x="807" y="331"/>
                  <a:pt x="807" y="331"/>
                </a:cubicBezTo>
                <a:cubicBezTo>
                  <a:pt x="808" y="330"/>
                  <a:pt x="810" y="329"/>
                  <a:pt x="810" y="329"/>
                </a:cubicBezTo>
                <a:cubicBezTo>
                  <a:pt x="811" y="329"/>
                  <a:pt x="812" y="328"/>
                  <a:pt x="813" y="327"/>
                </a:cubicBezTo>
                <a:cubicBezTo>
                  <a:pt x="813" y="326"/>
                  <a:pt x="816" y="326"/>
                  <a:pt x="815" y="326"/>
                </a:cubicBezTo>
                <a:cubicBezTo>
                  <a:pt x="813" y="325"/>
                  <a:pt x="812" y="325"/>
                  <a:pt x="810" y="326"/>
                </a:cubicBezTo>
                <a:cubicBezTo>
                  <a:pt x="809" y="326"/>
                  <a:pt x="808" y="327"/>
                  <a:pt x="808" y="326"/>
                </a:cubicBezTo>
                <a:cubicBezTo>
                  <a:pt x="807" y="325"/>
                  <a:pt x="811" y="323"/>
                  <a:pt x="812" y="323"/>
                </a:cubicBezTo>
                <a:cubicBezTo>
                  <a:pt x="812" y="323"/>
                  <a:pt x="811" y="324"/>
                  <a:pt x="812" y="324"/>
                </a:cubicBezTo>
                <a:cubicBezTo>
                  <a:pt x="813" y="324"/>
                  <a:pt x="813" y="324"/>
                  <a:pt x="813" y="324"/>
                </a:cubicBezTo>
                <a:cubicBezTo>
                  <a:pt x="815" y="322"/>
                  <a:pt x="816" y="319"/>
                  <a:pt x="817" y="319"/>
                </a:cubicBezTo>
                <a:cubicBezTo>
                  <a:pt x="818" y="318"/>
                  <a:pt x="818" y="319"/>
                  <a:pt x="819" y="319"/>
                </a:cubicBezTo>
                <a:cubicBezTo>
                  <a:pt x="819" y="320"/>
                  <a:pt x="820" y="319"/>
                  <a:pt x="820" y="319"/>
                </a:cubicBezTo>
                <a:cubicBezTo>
                  <a:pt x="821" y="319"/>
                  <a:pt x="822" y="319"/>
                  <a:pt x="822" y="319"/>
                </a:cubicBezTo>
                <a:cubicBezTo>
                  <a:pt x="821" y="318"/>
                  <a:pt x="819" y="318"/>
                  <a:pt x="819" y="317"/>
                </a:cubicBezTo>
                <a:cubicBezTo>
                  <a:pt x="819" y="316"/>
                  <a:pt x="821" y="315"/>
                  <a:pt x="822" y="315"/>
                </a:cubicBezTo>
                <a:cubicBezTo>
                  <a:pt x="822" y="315"/>
                  <a:pt x="823" y="316"/>
                  <a:pt x="823" y="315"/>
                </a:cubicBezTo>
                <a:cubicBezTo>
                  <a:pt x="824" y="315"/>
                  <a:pt x="823" y="314"/>
                  <a:pt x="823" y="313"/>
                </a:cubicBezTo>
                <a:cubicBezTo>
                  <a:pt x="824" y="312"/>
                  <a:pt x="825" y="311"/>
                  <a:pt x="826" y="310"/>
                </a:cubicBezTo>
                <a:cubicBezTo>
                  <a:pt x="827" y="309"/>
                  <a:pt x="828" y="307"/>
                  <a:pt x="829" y="306"/>
                </a:cubicBezTo>
                <a:cubicBezTo>
                  <a:pt x="832" y="304"/>
                  <a:pt x="832" y="304"/>
                  <a:pt x="832" y="304"/>
                </a:cubicBezTo>
                <a:cubicBezTo>
                  <a:pt x="832" y="302"/>
                  <a:pt x="832" y="302"/>
                  <a:pt x="832" y="302"/>
                </a:cubicBezTo>
                <a:cubicBezTo>
                  <a:pt x="836" y="301"/>
                  <a:pt x="836" y="301"/>
                  <a:pt x="836" y="301"/>
                </a:cubicBezTo>
                <a:cubicBezTo>
                  <a:pt x="838" y="300"/>
                  <a:pt x="838" y="300"/>
                  <a:pt x="838" y="300"/>
                </a:cubicBezTo>
                <a:cubicBezTo>
                  <a:pt x="841" y="295"/>
                  <a:pt x="841" y="295"/>
                  <a:pt x="841" y="295"/>
                </a:cubicBezTo>
                <a:cubicBezTo>
                  <a:pt x="842" y="294"/>
                  <a:pt x="844" y="295"/>
                  <a:pt x="845" y="294"/>
                </a:cubicBezTo>
                <a:cubicBezTo>
                  <a:pt x="847" y="293"/>
                  <a:pt x="847" y="293"/>
                  <a:pt x="847" y="293"/>
                </a:cubicBezTo>
                <a:cubicBezTo>
                  <a:pt x="849" y="294"/>
                  <a:pt x="849" y="294"/>
                  <a:pt x="849" y="294"/>
                </a:cubicBezTo>
                <a:cubicBezTo>
                  <a:pt x="851" y="293"/>
                  <a:pt x="850" y="293"/>
                  <a:pt x="853" y="293"/>
                </a:cubicBezTo>
                <a:cubicBezTo>
                  <a:pt x="852" y="295"/>
                  <a:pt x="852" y="295"/>
                  <a:pt x="852" y="295"/>
                </a:cubicBezTo>
                <a:cubicBezTo>
                  <a:pt x="847" y="295"/>
                  <a:pt x="847" y="295"/>
                  <a:pt x="847" y="295"/>
                </a:cubicBezTo>
                <a:cubicBezTo>
                  <a:pt x="847" y="297"/>
                  <a:pt x="847" y="297"/>
                  <a:pt x="847" y="297"/>
                </a:cubicBezTo>
                <a:cubicBezTo>
                  <a:pt x="848" y="298"/>
                  <a:pt x="848" y="298"/>
                  <a:pt x="848" y="298"/>
                </a:cubicBezTo>
                <a:cubicBezTo>
                  <a:pt x="847" y="299"/>
                  <a:pt x="847" y="299"/>
                  <a:pt x="847" y="299"/>
                </a:cubicBezTo>
                <a:cubicBezTo>
                  <a:pt x="844" y="301"/>
                  <a:pt x="844" y="301"/>
                  <a:pt x="844" y="301"/>
                </a:cubicBezTo>
                <a:cubicBezTo>
                  <a:pt x="843" y="303"/>
                  <a:pt x="843" y="303"/>
                  <a:pt x="843" y="303"/>
                </a:cubicBezTo>
                <a:cubicBezTo>
                  <a:pt x="839" y="307"/>
                  <a:pt x="839" y="307"/>
                  <a:pt x="839" y="307"/>
                </a:cubicBezTo>
                <a:cubicBezTo>
                  <a:pt x="835" y="309"/>
                  <a:pt x="835" y="309"/>
                  <a:pt x="835" y="309"/>
                </a:cubicBezTo>
                <a:cubicBezTo>
                  <a:pt x="835" y="310"/>
                  <a:pt x="832" y="313"/>
                  <a:pt x="832" y="314"/>
                </a:cubicBezTo>
                <a:cubicBezTo>
                  <a:pt x="833" y="314"/>
                  <a:pt x="833" y="314"/>
                  <a:pt x="834" y="313"/>
                </a:cubicBezTo>
                <a:cubicBezTo>
                  <a:pt x="834" y="313"/>
                  <a:pt x="835" y="312"/>
                  <a:pt x="835" y="312"/>
                </a:cubicBezTo>
                <a:cubicBezTo>
                  <a:pt x="836" y="312"/>
                  <a:pt x="837" y="311"/>
                  <a:pt x="838" y="311"/>
                </a:cubicBezTo>
                <a:cubicBezTo>
                  <a:pt x="838" y="310"/>
                  <a:pt x="839" y="309"/>
                  <a:pt x="839" y="309"/>
                </a:cubicBezTo>
                <a:cubicBezTo>
                  <a:pt x="841" y="308"/>
                  <a:pt x="841" y="308"/>
                  <a:pt x="841" y="308"/>
                </a:cubicBezTo>
                <a:cubicBezTo>
                  <a:pt x="840" y="311"/>
                  <a:pt x="840" y="310"/>
                  <a:pt x="842" y="310"/>
                </a:cubicBezTo>
                <a:cubicBezTo>
                  <a:pt x="843" y="310"/>
                  <a:pt x="846" y="309"/>
                  <a:pt x="846" y="310"/>
                </a:cubicBezTo>
                <a:cubicBezTo>
                  <a:pt x="847" y="311"/>
                  <a:pt x="845" y="311"/>
                  <a:pt x="845" y="312"/>
                </a:cubicBezTo>
                <a:cubicBezTo>
                  <a:pt x="844" y="312"/>
                  <a:pt x="842" y="312"/>
                  <a:pt x="842" y="312"/>
                </a:cubicBezTo>
                <a:cubicBezTo>
                  <a:pt x="840" y="314"/>
                  <a:pt x="841" y="316"/>
                  <a:pt x="844" y="316"/>
                </a:cubicBezTo>
                <a:cubicBezTo>
                  <a:pt x="845" y="316"/>
                  <a:pt x="845" y="315"/>
                  <a:pt x="846" y="315"/>
                </a:cubicBezTo>
                <a:cubicBezTo>
                  <a:pt x="846" y="315"/>
                  <a:pt x="847" y="315"/>
                  <a:pt x="847" y="316"/>
                </a:cubicBezTo>
                <a:cubicBezTo>
                  <a:pt x="846" y="317"/>
                  <a:pt x="844" y="318"/>
                  <a:pt x="844" y="320"/>
                </a:cubicBezTo>
                <a:cubicBezTo>
                  <a:pt x="843" y="321"/>
                  <a:pt x="844" y="319"/>
                  <a:pt x="845" y="319"/>
                </a:cubicBezTo>
                <a:cubicBezTo>
                  <a:pt x="848" y="316"/>
                  <a:pt x="848" y="318"/>
                  <a:pt x="849" y="317"/>
                </a:cubicBezTo>
                <a:cubicBezTo>
                  <a:pt x="850" y="317"/>
                  <a:pt x="851" y="316"/>
                  <a:pt x="851" y="316"/>
                </a:cubicBezTo>
                <a:cubicBezTo>
                  <a:pt x="851" y="315"/>
                  <a:pt x="850" y="316"/>
                  <a:pt x="849" y="316"/>
                </a:cubicBezTo>
                <a:cubicBezTo>
                  <a:pt x="849" y="316"/>
                  <a:pt x="849" y="315"/>
                  <a:pt x="849" y="315"/>
                </a:cubicBezTo>
                <a:cubicBezTo>
                  <a:pt x="850" y="314"/>
                  <a:pt x="851" y="314"/>
                  <a:pt x="852" y="314"/>
                </a:cubicBezTo>
                <a:cubicBezTo>
                  <a:pt x="853" y="315"/>
                  <a:pt x="852" y="316"/>
                  <a:pt x="852" y="317"/>
                </a:cubicBezTo>
                <a:cubicBezTo>
                  <a:pt x="852" y="317"/>
                  <a:pt x="854" y="316"/>
                  <a:pt x="854" y="316"/>
                </a:cubicBezTo>
                <a:cubicBezTo>
                  <a:pt x="855" y="314"/>
                  <a:pt x="859" y="317"/>
                  <a:pt x="859" y="317"/>
                </a:cubicBezTo>
                <a:cubicBezTo>
                  <a:pt x="859" y="317"/>
                  <a:pt x="860" y="320"/>
                  <a:pt x="860" y="320"/>
                </a:cubicBezTo>
                <a:cubicBezTo>
                  <a:pt x="859" y="320"/>
                  <a:pt x="856" y="321"/>
                  <a:pt x="855" y="321"/>
                </a:cubicBezTo>
                <a:cubicBezTo>
                  <a:pt x="854" y="321"/>
                  <a:pt x="855" y="323"/>
                  <a:pt x="855" y="323"/>
                </a:cubicBezTo>
                <a:cubicBezTo>
                  <a:pt x="854" y="324"/>
                  <a:pt x="853" y="326"/>
                  <a:pt x="854" y="326"/>
                </a:cubicBezTo>
                <a:cubicBezTo>
                  <a:pt x="855" y="327"/>
                  <a:pt x="855" y="325"/>
                  <a:pt x="856" y="324"/>
                </a:cubicBezTo>
                <a:cubicBezTo>
                  <a:pt x="857" y="324"/>
                  <a:pt x="858" y="325"/>
                  <a:pt x="860" y="325"/>
                </a:cubicBezTo>
                <a:cubicBezTo>
                  <a:pt x="863" y="325"/>
                  <a:pt x="862" y="323"/>
                  <a:pt x="862" y="327"/>
                </a:cubicBezTo>
                <a:cubicBezTo>
                  <a:pt x="862" y="328"/>
                  <a:pt x="858" y="328"/>
                  <a:pt x="857" y="328"/>
                </a:cubicBezTo>
                <a:cubicBezTo>
                  <a:pt x="857" y="329"/>
                  <a:pt x="857" y="329"/>
                  <a:pt x="856" y="330"/>
                </a:cubicBezTo>
                <a:cubicBezTo>
                  <a:pt x="856" y="330"/>
                  <a:pt x="854" y="333"/>
                  <a:pt x="853" y="333"/>
                </a:cubicBezTo>
                <a:cubicBezTo>
                  <a:pt x="853" y="333"/>
                  <a:pt x="852" y="336"/>
                  <a:pt x="852" y="336"/>
                </a:cubicBezTo>
                <a:cubicBezTo>
                  <a:pt x="852" y="336"/>
                  <a:pt x="853" y="336"/>
                  <a:pt x="854" y="336"/>
                </a:cubicBezTo>
                <a:cubicBezTo>
                  <a:pt x="854" y="336"/>
                  <a:pt x="855" y="333"/>
                  <a:pt x="855" y="333"/>
                </a:cubicBezTo>
                <a:cubicBezTo>
                  <a:pt x="856" y="333"/>
                  <a:pt x="857" y="332"/>
                  <a:pt x="858" y="331"/>
                </a:cubicBezTo>
                <a:cubicBezTo>
                  <a:pt x="859" y="331"/>
                  <a:pt x="860" y="329"/>
                  <a:pt x="861" y="330"/>
                </a:cubicBezTo>
                <a:cubicBezTo>
                  <a:pt x="862" y="331"/>
                  <a:pt x="860" y="332"/>
                  <a:pt x="860" y="333"/>
                </a:cubicBezTo>
                <a:cubicBezTo>
                  <a:pt x="860" y="333"/>
                  <a:pt x="858" y="335"/>
                  <a:pt x="857" y="336"/>
                </a:cubicBezTo>
                <a:cubicBezTo>
                  <a:pt x="856" y="336"/>
                  <a:pt x="856" y="338"/>
                  <a:pt x="856" y="338"/>
                </a:cubicBezTo>
                <a:cubicBezTo>
                  <a:pt x="857" y="337"/>
                  <a:pt x="858" y="337"/>
                  <a:pt x="859" y="336"/>
                </a:cubicBezTo>
                <a:cubicBezTo>
                  <a:pt x="860" y="335"/>
                  <a:pt x="860" y="332"/>
                  <a:pt x="861" y="333"/>
                </a:cubicBezTo>
                <a:cubicBezTo>
                  <a:pt x="863" y="333"/>
                  <a:pt x="862" y="336"/>
                  <a:pt x="861" y="337"/>
                </a:cubicBezTo>
                <a:cubicBezTo>
                  <a:pt x="861" y="339"/>
                  <a:pt x="859" y="340"/>
                  <a:pt x="858" y="342"/>
                </a:cubicBezTo>
                <a:cubicBezTo>
                  <a:pt x="856" y="343"/>
                  <a:pt x="856" y="345"/>
                  <a:pt x="854" y="346"/>
                </a:cubicBezTo>
                <a:cubicBezTo>
                  <a:pt x="854" y="347"/>
                  <a:pt x="853" y="346"/>
                  <a:pt x="852" y="347"/>
                </a:cubicBezTo>
                <a:cubicBezTo>
                  <a:pt x="852" y="347"/>
                  <a:pt x="850" y="346"/>
                  <a:pt x="850" y="345"/>
                </a:cubicBezTo>
                <a:close/>
                <a:moveTo>
                  <a:pt x="247" y="285"/>
                </a:moveTo>
                <a:cubicBezTo>
                  <a:pt x="248" y="285"/>
                  <a:pt x="248" y="287"/>
                  <a:pt x="247" y="287"/>
                </a:cubicBezTo>
                <a:cubicBezTo>
                  <a:pt x="245" y="288"/>
                  <a:pt x="247" y="289"/>
                  <a:pt x="245" y="289"/>
                </a:cubicBezTo>
                <a:cubicBezTo>
                  <a:pt x="245" y="290"/>
                  <a:pt x="244" y="291"/>
                  <a:pt x="244" y="292"/>
                </a:cubicBezTo>
                <a:cubicBezTo>
                  <a:pt x="243" y="292"/>
                  <a:pt x="243" y="292"/>
                  <a:pt x="242" y="292"/>
                </a:cubicBezTo>
                <a:cubicBezTo>
                  <a:pt x="243" y="290"/>
                  <a:pt x="243" y="290"/>
                  <a:pt x="243" y="290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87"/>
                  <a:pt x="246" y="285"/>
                  <a:pt x="247" y="285"/>
                </a:cubicBezTo>
                <a:close/>
                <a:moveTo>
                  <a:pt x="252" y="300"/>
                </a:moveTo>
                <a:cubicBezTo>
                  <a:pt x="250" y="301"/>
                  <a:pt x="250" y="301"/>
                  <a:pt x="248" y="300"/>
                </a:cubicBezTo>
                <a:cubicBezTo>
                  <a:pt x="249" y="299"/>
                  <a:pt x="249" y="300"/>
                  <a:pt x="251" y="299"/>
                </a:cubicBezTo>
                <a:cubicBezTo>
                  <a:pt x="251" y="298"/>
                  <a:pt x="253" y="299"/>
                  <a:pt x="252" y="300"/>
                </a:cubicBezTo>
                <a:close/>
                <a:moveTo>
                  <a:pt x="248" y="278"/>
                </a:moveTo>
                <a:cubicBezTo>
                  <a:pt x="248" y="278"/>
                  <a:pt x="248" y="278"/>
                  <a:pt x="247" y="278"/>
                </a:cubicBezTo>
                <a:cubicBezTo>
                  <a:pt x="246" y="280"/>
                  <a:pt x="246" y="280"/>
                  <a:pt x="245" y="279"/>
                </a:cubicBezTo>
                <a:cubicBezTo>
                  <a:pt x="245" y="278"/>
                  <a:pt x="246" y="277"/>
                  <a:pt x="246" y="277"/>
                </a:cubicBezTo>
                <a:cubicBezTo>
                  <a:pt x="246" y="277"/>
                  <a:pt x="247" y="277"/>
                  <a:pt x="247" y="277"/>
                </a:cubicBezTo>
                <a:cubicBezTo>
                  <a:pt x="248" y="276"/>
                  <a:pt x="249" y="275"/>
                  <a:pt x="249" y="275"/>
                </a:cubicBezTo>
                <a:cubicBezTo>
                  <a:pt x="249" y="275"/>
                  <a:pt x="250" y="276"/>
                  <a:pt x="250" y="276"/>
                </a:cubicBezTo>
                <a:cubicBezTo>
                  <a:pt x="249" y="277"/>
                  <a:pt x="249" y="277"/>
                  <a:pt x="248" y="278"/>
                </a:cubicBezTo>
                <a:close/>
                <a:moveTo>
                  <a:pt x="246" y="280"/>
                </a:moveTo>
                <a:cubicBezTo>
                  <a:pt x="247" y="280"/>
                  <a:pt x="248" y="279"/>
                  <a:pt x="248" y="280"/>
                </a:cubicBezTo>
                <a:cubicBezTo>
                  <a:pt x="248" y="282"/>
                  <a:pt x="246" y="282"/>
                  <a:pt x="246" y="280"/>
                </a:cubicBezTo>
                <a:close/>
                <a:moveTo>
                  <a:pt x="250" y="302"/>
                </a:moveTo>
                <a:cubicBezTo>
                  <a:pt x="250" y="302"/>
                  <a:pt x="252" y="301"/>
                  <a:pt x="252" y="301"/>
                </a:cubicBezTo>
                <a:cubicBezTo>
                  <a:pt x="253" y="301"/>
                  <a:pt x="254" y="302"/>
                  <a:pt x="253" y="303"/>
                </a:cubicBezTo>
                <a:cubicBezTo>
                  <a:pt x="251" y="303"/>
                  <a:pt x="251" y="302"/>
                  <a:pt x="250" y="302"/>
                </a:cubicBezTo>
                <a:close/>
                <a:moveTo>
                  <a:pt x="222" y="276"/>
                </a:moveTo>
                <a:cubicBezTo>
                  <a:pt x="221" y="276"/>
                  <a:pt x="222" y="276"/>
                  <a:pt x="221" y="276"/>
                </a:cubicBezTo>
                <a:cubicBezTo>
                  <a:pt x="220" y="276"/>
                  <a:pt x="220" y="276"/>
                  <a:pt x="220" y="276"/>
                </a:cubicBezTo>
                <a:cubicBezTo>
                  <a:pt x="220" y="274"/>
                  <a:pt x="221" y="274"/>
                  <a:pt x="221" y="274"/>
                </a:cubicBezTo>
                <a:cubicBezTo>
                  <a:pt x="221" y="273"/>
                  <a:pt x="220" y="273"/>
                  <a:pt x="221" y="273"/>
                </a:cubicBezTo>
                <a:cubicBezTo>
                  <a:pt x="221" y="272"/>
                  <a:pt x="222" y="273"/>
                  <a:pt x="222" y="272"/>
                </a:cubicBezTo>
                <a:cubicBezTo>
                  <a:pt x="222" y="272"/>
                  <a:pt x="223" y="272"/>
                  <a:pt x="222" y="271"/>
                </a:cubicBezTo>
                <a:cubicBezTo>
                  <a:pt x="221" y="271"/>
                  <a:pt x="221" y="270"/>
                  <a:pt x="221" y="270"/>
                </a:cubicBezTo>
                <a:cubicBezTo>
                  <a:pt x="222" y="268"/>
                  <a:pt x="222" y="268"/>
                  <a:pt x="222" y="268"/>
                </a:cubicBezTo>
                <a:cubicBezTo>
                  <a:pt x="222" y="268"/>
                  <a:pt x="221" y="267"/>
                  <a:pt x="222" y="267"/>
                </a:cubicBezTo>
                <a:cubicBezTo>
                  <a:pt x="223" y="266"/>
                  <a:pt x="223" y="266"/>
                  <a:pt x="224" y="265"/>
                </a:cubicBezTo>
                <a:cubicBezTo>
                  <a:pt x="224" y="265"/>
                  <a:pt x="225" y="263"/>
                  <a:pt x="227" y="264"/>
                </a:cubicBezTo>
                <a:cubicBezTo>
                  <a:pt x="227" y="264"/>
                  <a:pt x="228" y="264"/>
                  <a:pt x="228" y="265"/>
                </a:cubicBezTo>
                <a:cubicBezTo>
                  <a:pt x="227" y="266"/>
                  <a:pt x="227" y="266"/>
                  <a:pt x="227" y="266"/>
                </a:cubicBezTo>
                <a:cubicBezTo>
                  <a:pt x="227" y="266"/>
                  <a:pt x="229" y="266"/>
                  <a:pt x="229" y="266"/>
                </a:cubicBezTo>
                <a:cubicBezTo>
                  <a:pt x="229" y="266"/>
                  <a:pt x="229" y="265"/>
                  <a:pt x="230" y="265"/>
                </a:cubicBezTo>
                <a:cubicBezTo>
                  <a:pt x="231" y="265"/>
                  <a:pt x="231" y="265"/>
                  <a:pt x="231" y="266"/>
                </a:cubicBezTo>
                <a:cubicBezTo>
                  <a:pt x="230" y="266"/>
                  <a:pt x="228" y="268"/>
                  <a:pt x="228" y="268"/>
                </a:cubicBezTo>
                <a:cubicBezTo>
                  <a:pt x="228" y="268"/>
                  <a:pt x="225" y="268"/>
                  <a:pt x="225" y="268"/>
                </a:cubicBezTo>
                <a:cubicBezTo>
                  <a:pt x="224" y="269"/>
                  <a:pt x="225" y="269"/>
                  <a:pt x="225" y="269"/>
                </a:cubicBezTo>
                <a:cubicBezTo>
                  <a:pt x="228" y="269"/>
                  <a:pt x="228" y="269"/>
                  <a:pt x="228" y="269"/>
                </a:cubicBezTo>
                <a:cubicBezTo>
                  <a:pt x="229" y="269"/>
                  <a:pt x="231" y="266"/>
                  <a:pt x="232" y="266"/>
                </a:cubicBezTo>
                <a:cubicBezTo>
                  <a:pt x="232" y="266"/>
                  <a:pt x="235" y="266"/>
                  <a:pt x="235" y="266"/>
                </a:cubicBezTo>
                <a:cubicBezTo>
                  <a:pt x="235" y="265"/>
                  <a:pt x="236" y="264"/>
                  <a:pt x="236" y="265"/>
                </a:cubicBezTo>
                <a:cubicBezTo>
                  <a:pt x="236" y="265"/>
                  <a:pt x="235" y="267"/>
                  <a:pt x="234" y="267"/>
                </a:cubicBezTo>
                <a:cubicBezTo>
                  <a:pt x="234" y="268"/>
                  <a:pt x="232" y="268"/>
                  <a:pt x="232" y="268"/>
                </a:cubicBezTo>
                <a:cubicBezTo>
                  <a:pt x="231" y="268"/>
                  <a:pt x="229" y="270"/>
                  <a:pt x="228" y="271"/>
                </a:cubicBezTo>
                <a:cubicBezTo>
                  <a:pt x="227" y="272"/>
                  <a:pt x="228" y="272"/>
                  <a:pt x="226" y="273"/>
                </a:cubicBezTo>
                <a:cubicBezTo>
                  <a:pt x="227" y="274"/>
                  <a:pt x="227" y="274"/>
                  <a:pt x="227" y="274"/>
                </a:cubicBezTo>
                <a:cubicBezTo>
                  <a:pt x="227" y="276"/>
                  <a:pt x="224" y="275"/>
                  <a:pt x="225" y="276"/>
                </a:cubicBezTo>
                <a:cubicBezTo>
                  <a:pt x="226" y="276"/>
                  <a:pt x="225" y="277"/>
                  <a:pt x="225" y="277"/>
                </a:cubicBezTo>
                <a:cubicBezTo>
                  <a:pt x="224" y="277"/>
                  <a:pt x="223" y="277"/>
                  <a:pt x="223" y="277"/>
                </a:cubicBezTo>
                <a:cubicBezTo>
                  <a:pt x="223" y="277"/>
                  <a:pt x="223" y="278"/>
                  <a:pt x="224" y="278"/>
                </a:cubicBezTo>
                <a:cubicBezTo>
                  <a:pt x="224" y="278"/>
                  <a:pt x="225" y="278"/>
                  <a:pt x="224" y="278"/>
                </a:cubicBezTo>
                <a:cubicBezTo>
                  <a:pt x="222" y="280"/>
                  <a:pt x="222" y="278"/>
                  <a:pt x="223" y="281"/>
                </a:cubicBezTo>
                <a:cubicBezTo>
                  <a:pt x="224" y="281"/>
                  <a:pt x="224" y="284"/>
                  <a:pt x="223" y="285"/>
                </a:cubicBezTo>
                <a:cubicBezTo>
                  <a:pt x="223" y="285"/>
                  <a:pt x="223" y="285"/>
                  <a:pt x="222" y="285"/>
                </a:cubicBezTo>
                <a:cubicBezTo>
                  <a:pt x="221" y="285"/>
                  <a:pt x="220" y="284"/>
                  <a:pt x="220" y="283"/>
                </a:cubicBezTo>
                <a:cubicBezTo>
                  <a:pt x="220" y="283"/>
                  <a:pt x="221" y="283"/>
                  <a:pt x="221" y="283"/>
                </a:cubicBezTo>
                <a:cubicBezTo>
                  <a:pt x="221" y="281"/>
                  <a:pt x="220" y="281"/>
                  <a:pt x="220" y="280"/>
                </a:cubicBezTo>
                <a:cubicBezTo>
                  <a:pt x="220" y="279"/>
                  <a:pt x="219" y="280"/>
                  <a:pt x="219" y="279"/>
                </a:cubicBezTo>
                <a:cubicBezTo>
                  <a:pt x="220" y="277"/>
                  <a:pt x="220" y="277"/>
                  <a:pt x="220" y="277"/>
                </a:cubicBezTo>
                <a:cubicBezTo>
                  <a:pt x="220" y="277"/>
                  <a:pt x="222" y="277"/>
                  <a:pt x="222" y="276"/>
                </a:cubicBezTo>
                <a:close/>
                <a:moveTo>
                  <a:pt x="246" y="265"/>
                </a:moveTo>
                <a:cubicBezTo>
                  <a:pt x="244" y="266"/>
                  <a:pt x="244" y="266"/>
                  <a:pt x="244" y="266"/>
                </a:cubicBezTo>
                <a:cubicBezTo>
                  <a:pt x="245" y="267"/>
                  <a:pt x="244" y="268"/>
                  <a:pt x="244" y="269"/>
                </a:cubicBezTo>
                <a:cubicBezTo>
                  <a:pt x="244" y="270"/>
                  <a:pt x="243" y="270"/>
                  <a:pt x="242" y="270"/>
                </a:cubicBezTo>
                <a:cubicBezTo>
                  <a:pt x="243" y="273"/>
                  <a:pt x="244" y="270"/>
                  <a:pt x="244" y="271"/>
                </a:cubicBezTo>
                <a:cubicBezTo>
                  <a:pt x="244" y="274"/>
                  <a:pt x="243" y="275"/>
                  <a:pt x="242" y="274"/>
                </a:cubicBezTo>
                <a:cubicBezTo>
                  <a:pt x="241" y="273"/>
                  <a:pt x="239" y="271"/>
                  <a:pt x="240" y="270"/>
                </a:cubicBezTo>
                <a:cubicBezTo>
                  <a:pt x="243" y="269"/>
                  <a:pt x="243" y="269"/>
                  <a:pt x="244" y="267"/>
                </a:cubicBezTo>
                <a:cubicBezTo>
                  <a:pt x="243" y="267"/>
                  <a:pt x="243" y="267"/>
                  <a:pt x="243" y="267"/>
                </a:cubicBezTo>
                <a:cubicBezTo>
                  <a:pt x="243" y="267"/>
                  <a:pt x="241" y="268"/>
                  <a:pt x="241" y="267"/>
                </a:cubicBezTo>
                <a:cubicBezTo>
                  <a:pt x="241" y="267"/>
                  <a:pt x="243" y="266"/>
                  <a:pt x="243" y="266"/>
                </a:cubicBezTo>
                <a:cubicBezTo>
                  <a:pt x="246" y="265"/>
                  <a:pt x="246" y="265"/>
                  <a:pt x="246" y="265"/>
                </a:cubicBezTo>
                <a:close/>
                <a:moveTo>
                  <a:pt x="244" y="277"/>
                </a:moveTo>
                <a:cubicBezTo>
                  <a:pt x="245" y="279"/>
                  <a:pt x="245" y="279"/>
                  <a:pt x="244" y="281"/>
                </a:cubicBezTo>
                <a:cubicBezTo>
                  <a:pt x="244" y="282"/>
                  <a:pt x="243" y="281"/>
                  <a:pt x="243" y="281"/>
                </a:cubicBezTo>
                <a:cubicBezTo>
                  <a:pt x="242" y="280"/>
                  <a:pt x="243" y="279"/>
                  <a:pt x="243" y="279"/>
                </a:cubicBezTo>
                <a:cubicBezTo>
                  <a:pt x="243" y="279"/>
                  <a:pt x="244" y="277"/>
                  <a:pt x="244" y="277"/>
                </a:cubicBezTo>
                <a:close/>
                <a:moveTo>
                  <a:pt x="257" y="308"/>
                </a:moveTo>
                <a:cubicBezTo>
                  <a:pt x="256" y="308"/>
                  <a:pt x="255" y="308"/>
                  <a:pt x="254" y="307"/>
                </a:cubicBezTo>
                <a:cubicBezTo>
                  <a:pt x="254" y="307"/>
                  <a:pt x="254" y="305"/>
                  <a:pt x="254" y="305"/>
                </a:cubicBezTo>
                <a:cubicBezTo>
                  <a:pt x="256" y="305"/>
                  <a:pt x="254" y="304"/>
                  <a:pt x="257" y="305"/>
                </a:cubicBezTo>
                <a:cubicBezTo>
                  <a:pt x="258" y="306"/>
                  <a:pt x="258" y="307"/>
                  <a:pt x="257" y="308"/>
                </a:cubicBezTo>
                <a:close/>
                <a:moveTo>
                  <a:pt x="256" y="311"/>
                </a:moveTo>
                <a:cubicBezTo>
                  <a:pt x="260" y="311"/>
                  <a:pt x="259" y="312"/>
                  <a:pt x="260" y="313"/>
                </a:cubicBezTo>
                <a:cubicBezTo>
                  <a:pt x="260" y="314"/>
                  <a:pt x="259" y="315"/>
                  <a:pt x="259" y="313"/>
                </a:cubicBezTo>
                <a:cubicBezTo>
                  <a:pt x="258" y="313"/>
                  <a:pt x="258" y="313"/>
                  <a:pt x="258" y="313"/>
                </a:cubicBezTo>
                <a:cubicBezTo>
                  <a:pt x="257" y="313"/>
                  <a:pt x="256" y="311"/>
                  <a:pt x="256" y="311"/>
                </a:cubicBezTo>
                <a:close/>
                <a:moveTo>
                  <a:pt x="736" y="170"/>
                </a:moveTo>
                <a:cubicBezTo>
                  <a:pt x="738" y="171"/>
                  <a:pt x="738" y="170"/>
                  <a:pt x="739" y="172"/>
                </a:cubicBezTo>
                <a:cubicBezTo>
                  <a:pt x="738" y="174"/>
                  <a:pt x="737" y="174"/>
                  <a:pt x="735" y="175"/>
                </a:cubicBezTo>
                <a:cubicBezTo>
                  <a:pt x="734" y="173"/>
                  <a:pt x="733" y="173"/>
                  <a:pt x="732" y="171"/>
                </a:cubicBezTo>
                <a:lnTo>
                  <a:pt x="736" y="170"/>
                </a:lnTo>
                <a:close/>
                <a:moveTo>
                  <a:pt x="799" y="12"/>
                </a:moveTo>
                <a:cubicBezTo>
                  <a:pt x="799" y="11"/>
                  <a:pt x="809" y="10"/>
                  <a:pt x="810" y="10"/>
                </a:cubicBezTo>
                <a:cubicBezTo>
                  <a:pt x="814" y="11"/>
                  <a:pt x="814" y="11"/>
                  <a:pt x="814" y="11"/>
                </a:cubicBezTo>
                <a:cubicBezTo>
                  <a:pt x="816" y="10"/>
                  <a:pt x="816" y="10"/>
                  <a:pt x="816" y="10"/>
                </a:cubicBezTo>
                <a:cubicBezTo>
                  <a:pt x="823" y="8"/>
                  <a:pt x="823" y="8"/>
                  <a:pt x="823" y="8"/>
                </a:cubicBezTo>
                <a:cubicBezTo>
                  <a:pt x="824" y="8"/>
                  <a:pt x="831" y="10"/>
                  <a:pt x="831" y="10"/>
                </a:cubicBezTo>
                <a:cubicBezTo>
                  <a:pt x="831" y="10"/>
                  <a:pt x="832" y="9"/>
                  <a:pt x="832" y="9"/>
                </a:cubicBezTo>
                <a:cubicBezTo>
                  <a:pt x="833" y="6"/>
                  <a:pt x="833" y="10"/>
                  <a:pt x="842" y="8"/>
                </a:cubicBezTo>
                <a:cubicBezTo>
                  <a:pt x="843" y="8"/>
                  <a:pt x="844" y="6"/>
                  <a:pt x="844" y="6"/>
                </a:cubicBezTo>
                <a:cubicBezTo>
                  <a:pt x="847" y="6"/>
                  <a:pt x="847" y="6"/>
                  <a:pt x="850" y="7"/>
                </a:cubicBezTo>
                <a:cubicBezTo>
                  <a:pt x="850" y="7"/>
                  <a:pt x="854" y="8"/>
                  <a:pt x="854" y="8"/>
                </a:cubicBezTo>
                <a:cubicBezTo>
                  <a:pt x="856" y="9"/>
                  <a:pt x="856" y="9"/>
                  <a:pt x="856" y="9"/>
                </a:cubicBezTo>
                <a:cubicBezTo>
                  <a:pt x="859" y="8"/>
                  <a:pt x="859" y="8"/>
                  <a:pt x="859" y="8"/>
                </a:cubicBezTo>
                <a:cubicBezTo>
                  <a:pt x="861" y="6"/>
                  <a:pt x="861" y="6"/>
                  <a:pt x="861" y="6"/>
                </a:cubicBezTo>
                <a:cubicBezTo>
                  <a:pt x="861" y="6"/>
                  <a:pt x="864" y="5"/>
                  <a:pt x="865" y="5"/>
                </a:cubicBezTo>
                <a:cubicBezTo>
                  <a:pt x="866" y="5"/>
                  <a:pt x="868" y="6"/>
                  <a:pt x="869" y="6"/>
                </a:cubicBezTo>
                <a:cubicBezTo>
                  <a:pt x="870" y="6"/>
                  <a:pt x="873" y="6"/>
                  <a:pt x="873" y="6"/>
                </a:cubicBezTo>
                <a:cubicBezTo>
                  <a:pt x="873" y="6"/>
                  <a:pt x="869" y="4"/>
                  <a:pt x="871" y="4"/>
                </a:cubicBezTo>
                <a:cubicBezTo>
                  <a:pt x="875" y="4"/>
                  <a:pt x="874" y="4"/>
                  <a:pt x="878" y="5"/>
                </a:cubicBezTo>
                <a:cubicBezTo>
                  <a:pt x="878" y="4"/>
                  <a:pt x="878" y="4"/>
                  <a:pt x="878" y="4"/>
                </a:cubicBezTo>
                <a:cubicBezTo>
                  <a:pt x="878" y="4"/>
                  <a:pt x="881" y="3"/>
                  <a:pt x="882" y="3"/>
                </a:cubicBezTo>
                <a:cubicBezTo>
                  <a:pt x="882" y="3"/>
                  <a:pt x="889" y="4"/>
                  <a:pt x="889" y="4"/>
                </a:cubicBezTo>
                <a:cubicBezTo>
                  <a:pt x="889" y="4"/>
                  <a:pt x="893" y="4"/>
                  <a:pt x="894" y="4"/>
                </a:cubicBezTo>
                <a:cubicBezTo>
                  <a:pt x="895" y="4"/>
                  <a:pt x="898" y="6"/>
                  <a:pt x="898" y="6"/>
                </a:cubicBezTo>
                <a:cubicBezTo>
                  <a:pt x="902" y="4"/>
                  <a:pt x="899" y="4"/>
                  <a:pt x="896" y="3"/>
                </a:cubicBezTo>
                <a:cubicBezTo>
                  <a:pt x="896" y="3"/>
                  <a:pt x="899" y="3"/>
                  <a:pt x="900" y="3"/>
                </a:cubicBezTo>
                <a:cubicBezTo>
                  <a:pt x="900" y="3"/>
                  <a:pt x="912" y="3"/>
                  <a:pt x="912" y="3"/>
                </a:cubicBezTo>
                <a:cubicBezTo>
                  <a:pt x="912" y="3"/>
                  <a:pt x="914" y="4"/>
                  <a:pt x="914" y="4"/>
                </a:cubicBezTo>
                <a:cubicBezTo>
                  <a:pt x="915" y="4"/>
                  <a:pt x="918" y="4"/>
                  <a:pt x="918" y="4"/>
                </a:cubicBezTo>
                <a:cubicBezTo>
                  <a:pt x="918" y="4"/>
                  <a:pt x="917" y="3"/>
                  <a:pt x="918" y="3"/>
                </a:cubicBezTo>
                <a:cubicBezTo>
                  <a:pt x="919" y="3"/>
                  <a:pt x="921" y="2"/>
                  <a:pt x="922" y="2"/>
                </a:cubicBezTo>
                <a:cubicBezTo>
                  <a:pt x="923" y="2"/>
                  <a:pt x="928" y="3"/>
                  <a:pt x="928" y="3"/>
                </a:cubicBezTo>
                <a:cubicBezTo>
                  <a:pt x="934" y="2"/>
                  <a:pt x="934" y="2"/>
                  <a:pt x="934" y="2"/>
                </a:cubicBezTo>
                <a:cubicBezTo>
                  <a:pt x="946" y="3"/>
                  <a:pt x="946" y="3"/>
                  <a:pt x="946" y="3"/>
                </a:cubicBezTo>
                <a:cubicBezTo>
                  <a:pt x="953" y="4"/>
                  <a:pt x="953" y="4"/>
                  <a:pt x="953" y="4"/>
                </a:cubicBezTo>
                <a:cubicBezTo>
                  <a:pt x="957" y="3"/>
                  <a:pt x="957" y="3"/>
                  <a:pt x="957" y="3"/>
                </a:cubicBezTo>
                <a:cubicBezTo>
                  <a:pt x="957" y="3"/>
                  <a:pt x="960" y="2"/>
                  <a:pt x="961" y="2"/>
                </a:cubicBezTo>
                <a:cubicBezTo>
                  <a:pt x="962" y="3"/>
                  <a:pt x="966" y="4"/>
                  <a:pt x="966" y="4"/>
                </a:cubicBezTo>
                <a:cubicBezTo>
                  <a:pt x="973" y="4"/>
                  <a:pt x="973" y="4"/>
                  <a:pt x="973" y="4"/>
                </a:cubicBezTo>
                <a:cubicBezTo>
                  <a:pt x="973" y="4"/>
                  <a:pt x="974" y="5"/>
                  <a:pt x="975" y="5"/>
                </a:cubicBezTo>
                <a:cubicBezTo>
                  <a:pt x="981" y="5"/>
                  <a:pt x="980" y="5"/>
                  <a:pt x="985" y="6"/>
                </a:cubicBezTo>
                <a:cubicBezTo>
                  <a:pt x="980" y="8"/>
                  <a:pt x="980" y="8"/>
                  <a:pt x="980" y="8"/>
                </a:cubicBezTo>
                <a:cubicBezTo>
                  <a:pt x="974" y="8"/>
                  <a:pt x="974" y="8"/>
                  <a:pt x="974" y="8"/>
                </a:cubicBezTo>
                <a:cubicBezTo>
                  <a:pt x="974" y="8"/>
                  <a:pt x="972" y="10"/>
                  <a:pt x="969" y="10"/>
                </a:cubicBezTo>
                <a:cubicBezTo>
                  <a:pt x="966" y="10"/>
                  <a:pt x="961" y="11"/>
                  <a:pt x="960" y="11"/>
                </a:cubicBezTo>
                <a:cubicBezTo>
                  <a:pt x="953" y="11"/>
                  <a:pt x="946" y="12"/>
                  <a:pt x="940" y="12"/>
                </a:cubicBezTo>
                <a:cubicBezTo>
                  <a:pt x="940" y="13"/>
                  <a:pt x="940" y="13"/>
                  <a:pt x="940" y="13"/>
                </a:cubicBezTo>
                <a:cubicBezTo>
                  <a:pt x="946" y="13"/>
                  <a:pt x="946" y="13"/>
                  <a:pt x="946" y="13"/>
                </a:cubicBezTo>
                <a:cubicBezTo>
                  <a:pt x="956" y="12"/>
                  <a:pt x="956" y="12"/>
                  <a:pt x="956" y="12"/>
                </a:cubicBezTo>
                <a:cubicBezTo>
                  <a:pt x="956" y="12"/>
                  <a:pt x="959" y="12"/>
                  <a:pt x="957" y="12"/>
                </a:cubicBezTo>
                <a:cubicBezTo>
                  <a:pt x="956" y="13"/>
                  <a:pt x="955" y="15"/>
                  <a:pt x="954" y="15"/>
                </a:cubicBezTo>
                <a:cubicBezTo>
                  <a:pt x="945" y="15"/>
                  <a:pt x="946" y="15"/>
                  <a:pt x="937" y="17"/>
                </a:cubicBezTo>
                <a:cubicBezTo>
                  <a:pt x="935" y="17"/>
                  <a:pt x="929" y="19"/>
                  <a:pt x="928" y="20"/>
                </a:cubicBezTo>
                <a:cubicBezTo>
                  <a:pt x="925" y="20"/>
                  <a:pt x="917" y="21"/>
                  <a:pt x="914" y="21"/>
                </a:cubicBezTo>
                <a:cubicBezTo>
                  <a:pt x="914" y="22"/>
                  <a:pt x="914" y="22"/>
                  <a:pt x="914" y="22"/>
                </a:cubicBezTo>
                <a:cubicBezTo>
                  <a:pt x="914" y="22"/>
                  <a:pt x="912" y="23"/>
                  <a:pt x="911" y="24"/>
                </a:cubicBezTo>
                <a:cubicBezTo>
                  <a:pt x="909" y="24"/>
                  <a:pt x="908" y="25"/>
                  <a:pt x="907" y="25"/>
                </a:cubicBezTo>
                <a:cubicBezTo>
                  <a:pt x="902" y="25"/>
                  <a:pt x="903" y="26"/>
                  <a:pt x="898" y="26"/>
                </a:cubicBezTo>
                <a:cubicBezTo>
                  <a:pt x="894" y="26"/>
                  <a:pt x="895" y="26"/>
                  <a:pt x="892" y="25"/>
                </a:cubicBezTo>
                <a:cubicBezTo>
                  <a:pt x="892" y="27"/>
                  <a:pt x="889" y="27"/>
                  <a:pt x="887" y="27"/>
                </a:cubicBezTo>
                <a:cubicBezTo>
                  <a:pt x="877" y="29"/>
                  <a:pt x="877" y="29"/>
                  <a:pt x="877" y="29"/>
                </a:cubicBezTo>
                <a:cubicBezTo>
                  <a:pt x="870" y="29"/>
                  <a:pt x="870" y="29"/>
                  <a:pt x="870" y="29"/>
                </a:cubicBezTo>
                <a:cubicBezTo>
                  <a:pt x="865" y="28"/>
                  <a:pt x="865" y="28"/>
                  <a:pt x="865" y="28"/>
                </a:cubicBezTo>
                <a:cubicBezTo>
                  <a:pt x="863" y="29"/>
                  <a:pt x="863" y="29"/>
                  <a:pt x="863" y="29"/>
                </a:cubicBezTo>
                <a:cubicBezTo>
                  <a:pt x="861" y="29"/>
                  <a:pt x="861" y="29"/>
                  <a:pt x="861" y="29"/>
                </a:cubicBezTo>
                <a:cubicBezTo>
                  <a:pt x="861" y="29"/>
                  <a:pt x="861" y="29"/>
                  <a:pt x="861" y="29"/>
                </a:cubicBezTo>
                <a:cubicBezTo>
                  <a:pt x="861" y="29"/>
                  <a:pt x="862" y="30"/>
                  <a:pt x="864" y="30"/>
                </a:cubicBezTo>
                <a:cubicBezTo>
                  <a:pt x="864" y="30"/>
                  <a:pt x="857" y="32"/>
                  <a:pt x="857" y="32"/>
                </a:cubicBezTo>
                <a:cubicBezTo>
                  <a:pt x="857" y="32"/>
                  <a:pt x="857" y="32"/>
                  <a:pt x="858" y="32"/>
                </a:cubicBezTo>
                <a:cubicBezTo>
                  <a:pt x="860" y="32"/>
                  <a:pt x="865" y="30"/>
                  <a:pt x="865" y="30"/>
                </a:cubicBezTo>
                <a:cubicBezTo>
                  <a:pt x="868" y="30"/>
                  <a:pt x="869" y="30"/>
                  <a:pt x="872" y="30"/>
                </a:cubicBezTo>
                <a:cubicBezTo>
                  <a:pt x="872" y="30"/>
                  <a:pt x="880" y="29"/>
                  <a:pt x="880" y="30"/>
                </a:cubicBezTo>
                <a:cubicBezTo>
                  <a:pt x="880" y="30"/>
                  <a:pt x="880" y="31"/>
                  <a:pt x="879" y="31"/>
                </a:cubicBezTo>
                <a:cubicBezTo>
                  <a:pt x="875" y="32"/>
                  <a:pt x="876" y="31"/>
                  <a:pt x="874" y="31"/>
                </a:cubicBezTo>
                <a:cubicBezTo>
                  <a:pt x="873" y="31"/>
                  <a:pt x="869" y="31"/>
                  <a:pt x="869" y="31"/>
                </a:cubicBezTo>
                <a:cubicBezTo>
                  <a:pt x="869" y="31"/>
                  <a:pt x="872" y="32"/>
                  <a:pt x="872" y="32"/>
                </a:cubicBezTo>
                <a:cubicBezTo>
                  <a:pt x="872" y="32"/>
                  <a:pt x="875" y="33"/>
                  <a:pt x="875" y="33"/>
                </a:cubicBezTo>
                <a:cubicBezTo>
                  <a:pt x="875" y="33"/>
                  <a:pt x="874" y="35"/>
                  <a:pt x="873" y="35"/>
                </a:cubicBezTo>
                <a:cubicBezTo>
                  <a:pt x="872" y="35"/>
                  <a:pt x="870" y="35"/>
                  <a:pt x="870" y="36"/>
                </a:cubicBezTo>
                <a:cubicBezTo>
                  <a:pt x="862" y="36"/>
                  <a:pt x="862" y="36"/>
                  <a:pt x="862" y="36"/>
                </a:cubicBezTo>
                <a:cubicBezTo>
                  <a:pt x="862" y="36"/>
                  <a:pt x="863" y="36"/>
                  <a:pt x="864" y="36"/>
                </a:cubicBezTo>
                <a:cubicBezTo>
                  <a:pt x="868" y="36"/>
                  <a:pt x="868" y="36"/>
                  <a:pt x="868" y="36"/>
                </a:cubicBezTo>
                <a:cubicBezTo>
                  <a:pt x="868" y="36"/>
                  <a:pt x="869" y="37"/>
                  <a:pt x="868" y="38"/>
                </a:cubicBezTo>
                <a:cubicBezTo>
                  <a:pt x="867" y="38"/>
                  <a:pt x="862" y="38"/>
                  <a:pt x="862" y="38"/>
                </a:cubicBezTo>
                <a:cubicBezTo>
                  <a:pt x="862" y="38"/>
                  <a:pt x="860" y="37"/>
                  <a:pt x="859" y="37"/>
                </a:cubicBezTo>
                <a:cubicBezTo>
                  <a:pt x="857" y="37"/>
                  <a:pt x="857" y="37"/>
                  <a:pt x="857" y="38"/>
                </a:cubicBezTo>
                <a:cubicBezTo>
                  <a:pt x="856" y="38"/>
                  <a:pt x="856" y="38"/>
                  <a:pt x="857" y="38"/>
                </a:cubicBezTo>
                <a:cubicBezTo>
                  <a:pt x="858" y="38"/>
                  <a:pt x="860" y="39"/>
                  <a:pt x="861" y="39"/>
                </a:cubicBezTo>
                <a:cubicBezTo>
                  <a:pt x="861" y="39"/>
                  <a:pt x="864" y="39"/>
                  <a:pt x="863" y="39"/>
                </a:cubicBezTo>
                <a:cubicBezTo>
                  <a:pt x="862" y="40"/>
                  <a:pt x="854" y="41"/>
                  <a:pt x="853" y="41"/>
                </a:cubicBezTo>
                <a:cubicBezTo>
                  <a:pt x="852" y="41"/>
                  <a:pt x="845" y="39"/>
                  <a:pt x="845" y="40"/>
                </a:cubicBezTo>
                <a:cubicBezTo>
                  <a:pt x="845" y="41"/>
                  <a:pt x="846" y="43"/>
                  <a:pt x="844" y="43"/>
                </a:cubicBezTo>
                <a:cubicBezTo>
                  <a:pt x="843" y="44"/>
                  <a:pt x="836" y="46"/>
                  <a:pt x="835" y="45"/>
                </a:cubicBezTo>
                <a:cubicBezTo>
                  <a:pt x="833" y="45"/>
                  <a:pt x="832" y="45"/>
                  <a:pt x="832" y="46"/>
                </a:cubicBezTo>
                <a:cubicBezTo>
                  <a:pt x="831" y="47"/>
                  <a:pt x="831" y="47"/>
                  <a:pt x="831" y="47"/>
                </a:cubicBezTo>
                <a:cubicBezTo>
                  <a:pt x="831" y="47"/>
                  <a:pt x="830" y="47"/>
                  <a:pt x="831" y="48"/>
                </a:cubicBezTo>
                <a:cubicBezTo>
                  <a:pt x="831" y="49"/>
                  <a:pt x="833" y="49"/>
                  <a:pt x="834" y="49"/>
                </a:cubicBezTo>
                <a:cubicBezTo>
                  <a:pt x="835" y="49"/>
                  <a:pt x="835" y="48"/>
                  <a:pt x="836" y="48"/>
                </a:cubicBezTo>
                <a:cubicBezTo>
                  <a:pt x="837" y="47"/>
                  <a:pt x="838" y="47"/>
                  <a:pt x="838" y="48"/>
                </a:cubicBezTo>
                <a:cubicBezTo>
                  <a:pt x="839" y="49"/>
                  <a:pt x="840" y="48"/>
                  <a:pt x="839" y="49"/>
                </a:cubicBezTo>
                <a:cubicBezTo>
                  <a:pt x="838" y="50"/>
                  <a:pt x="838" y="51"/>
                  <a:pt x="835" y="52"/>
                </a:cubicBezTo>
                <a:cubicBezTo>
                  <a:pt x="832" y="52"/>
                  <a:pt x="833" y="52"/>
                  <a:pt x="830" y="52"/>
                </a:cubicBezTo>
                <a:cubicBezTo>
                  <a:pt x="827" y="52"/>
                  <a:pt x="826" y="53"/>
                  <a:pt x="826" y="53"/>
                </a:cubicBezTo>
                <a:cubicBezTo>
                  <a:pt x="824" y="53"/>
                  <a:pt x="819" y="54"/>
                  <a:pt x="818" y="54"/>
                </a:cubicBezTo>
                <a:cubicBezTo>
                  <a:pt x="817" y="54"/>
                  <a:pt x="815" y="55"/>
                  <a:pt x="815" y="55"/>
                </a:cubicBezTo>
                <a:cubicBezTo>
                  <a:pt x="815" y="55"/>
                  <a:pt x="813" y="55"/>
                  <a:pt x="812" y="55"/>
                </a:cubicBezTo>
                <a:cubicBezTo>
                  <a:pt x="811" y="55"/>
                  <a:pt x="811" y="55"/>
                  <a:pt x="811" y="55"/>
                </a:cubicBezTo>
                <a:cubicBezTo>
                  <a:pt x="811" y="55"/>
                  <a:pt x="812" y="53"/>
                  <a:pt x="813" y="53"/>
                </a:cubicBezTo>
                <a:cubicBezTo>
                  <a:pt x="814" y="53"/>
                  <a:pt x="816" y="53"/>
                  <a:pt x="816" y="53"/>
                </a:cubicBezTo>
                <a:cubicBezTo>
                  <a:pt x="815" y="52"/>
                  <a:pt x="815" y="51"/>
                  <a:pt x="814" y="51"/>
                </a:cubicBezTo>
                <a:cubicBezTo>
                  <a:pt x="812" y="51"/>
                  <a:pt x="809" y="51"/>
                  <a:pt x="808" y="52"/>
                </a:cubicBezTo>
                <a:cubicBezTo>
                  <a:pt x="807" y="52"/>
                  <a:pt x="805" y="52"/>
                  <a:pt x="805" y="52"/>
                </a:cubicBezTo>
                <a:cubicBezTo>
                  <a:pt x="803" y="52"/>
                  <a:pt x="802" y="53"/>
                  <a:pt x="801" y="50"/>
                </a:cubicBezTo>
                <a:cubicBezTo>
                  <a:pt x="801" y="51"/>
                  <a:pt x="801" y="51"/>
                  <a:pt x="801" y="51"/>
                </a:cubicBezTo>
                <a:cubicBezTo>
                  <a:pt x="800" y="52"/>
                  <a:pt x="800" y="52"/>
                  <a:pt x="800" y="52"/>
                </a:cubicBezTo>
                <a:cubicBezTo>
                  <a:pt x="797" y="52"/>
                  <a:pt x="797" y="52"/>
                  <a:pt x="797" y="52"/>
                </a:cubicBezTo>
                <a:cubicBezTo>
                  <a:pt x="796" y="51"/>
                  <a:pt x="796" y="51"/>
                  <a:pt x="796" y="51"/>
                </a:cubicBezTo>
                <a:cubicBezTo>
                  <a:pt x="796" y="51"/>
                  <a:pt x="796" y="50"/>
                  <a:pt x="795" y="50"/>
                </a:cubicBezTo>
                <a:cubicBezTo>
                  <a:pt x="795" y="51"/>
                  <a:pt x="795" y="52"/>
                  <a:pt x="793" y="52"/>
                </a:cubicBezTo>
                <a:cubicBezTo>
                  <a:pt x="792" y="52"/>
                  <a:pt x="791" y="51"/>
                  <a:pt x="791" y="51"/>
                </a:cubicBezTo>
                <a:cubicBezTo>
                  <a:pt x="790" y="51"/>
                  <a:pt x="790" y="51"/>
                  <a:pt x="790" y="51"/>
                </a:cubicBezTo>
                <a:cubicBezTo>
                  <a:pt x="790" y="52"/>
                  <a:pt x="791" y="53"/>
                  <a:pt x="791" y="53"/>
                </a:cubicBezTo>
                <a:cubicBezTo>
                  <a:pt x="791" y="53"/>
                  <a:pt x="793" y="54"/>
                  <a:pt x="790" y="54"/>
                </a:cubicBezTo>
                <a:cubicBezTo>
                  <a:pt x="788" y="54"/>
                  <a:pt x="786" y="53"/>
                  <a:pt x="785" y="53"/>
                </a:cubicBezTo>
                <a:cubicBezTo>
                  <a:pt x="784" y="53"/>
                  <a:pt x="781" y="53"/>
                  <a:pt x="781" y="53"/>
                </a:cubicBezTo>
                <a:cubicBezTo>
                  <a:pt x="779" y="53"/>
                  <a:pt x="779" y="52"/>
                  <a:pt x="778" y="52"/>
                </a:cubicBezTo>
                <a:cubicBezTo>
                  <a:pt x="777" y="53"/>
                  <a:pt x="777" y="53"/>
                  <a:pt x="775" y="53"/>
                </a:cubicBezTo>
                <a:cubicBezTo>
                  <a:pt x="774" y="52"/>
                  <a:pt x="774" y="51"/>
                  <a:pt x="774" y="51"/>
                </a:cubicBezTo>
                <a:cubicBezTo>
                  <a:pt x="774" y="51"/>
                  <a:pt x="773" y="52"/>
                  <a:pt x="772" y="52"/>
                </a:cubicBezTo>
                <a:cubicBezTo>
                  <a:pt x="772" y="54"/>
                  <a:pt x="767" y="53"/>
                  <a:pt x="766" y="53"/>
                </a:cubicBezTo>
                <a:cubicBezTo>
                  <a:pt x="764" y="52"/>
                  <a:pt x="763" y="53"/>
                  <a:pt x="762" y="52"/>
                </a:cubicBezTo>
                <a:cubicBezTo>
                  <a:pt x="761" y="50"/>
                  <a:pt x="761" y="50"/>
                  <a:pt x="762" y="50"/>
                </a:cubicBezTo>
                <a:cubicBezTo>
                  <a:pt x="762" y="49"/>
                  <a:pt x="763" y="49"/>
                  <a:pt x="764" y="49"/>
                </a:cubicBezTo>
                <a:cubicBezTo>
                  <a:pt x="765" y="49"/>
                  <a:pt x="765" y="48"/>
                  <a:pt x="766" y="48"/>
                </a:cubicBezTo>
                <a:cubicBezTo>
                  <a:pt x="769" y="47"/>
                  <a:pt x="774" y="48"/>
                  <a:pt x="775" y="47"/>
                </a:cubicBezTo>
                <a:cubicBezTo>
                  <a:pt x="776" y="47"/>
                  <a:pt x="777" y="46"/>
                  <a:pt x="777" y="46"/>
                </a:cubicBezTo>
                <a:cubicBezTo>
                  <a:pt x="777" y="46"/>
                  <a:pt x="780" y="46"/>
                  <a:pt x="781" y="46"/>
                </a:cubicBezTo>
                <a:cubicBezTo>
                  <a:pt x="782" y="46"/>
                  <a:pt x="783" y="47"/>
                  <a:pt x="782" y="46"/>
                </a:cubicBezTo>
                <a:cubicBezTo>
                  <a:pt x="781" y="45"/>
                  <a:pt x="779" y="43"/>
                  <a:pt x="780" y="42"/>
                </a:cubicBezTo>
                <a:cubicBezTo>
                  <a:pt x="781" y="42"/>
                  <a:pt x="781" y="41"/>
                  <a:pt x="782" y="41"/>
                </a:cubicBezTo>
                <a:cubicBezTo>
                  <a:pt x="785" y="40"/>
                  <a:pt x="788" y="41"/>
                  <a:pt x="791" y="41"/>
                </a:cubicBezTo>
                <a:cubicBezTo>
                  <a:pt x="792" y="41"/>
                  <a:pt x="795" y="42"/>
                  <a:pt x="795" y="42"/>
                </a:cubicBezTo>
                <a:cubicBezTo>
                  <a:pt x="796" y="46"/>
                  <a:pt x="797" y="44"/>
                  <a:pt x="799" y="44"/>
                </a:cubicBezTo>
                <a:cubicBezTo>
                  <a:pt x="801" y="44"/>
                  <a:pt x="807" y="46"/>
                  <a:pt x="807" y="45"/>
                </a:cubicBezTo>
                <a:cubicBezTo>
                  <a:pt x="806" y="43"/>
                  <a:pt x="800" y="43"/>
                  <a:pt x="800" y="43"/>
                </a:cubicBezTo>
                <a:cubicBezTo>
                  <a:pt x="800" y="42"/>
                  <a:pt x="798" y="41"/>
                  <a:pt x="799" y="41"/>
                </a:cubicBezTo>
                <a:cubicBezTo>
                  <a:pt x="799" y="41"/>
                  <a:pt x="799" y="40"/>
                  <a:pt x="799" y="40"/>
                </a:cubicBezTo>
                <a:cubicBezTo>
                  <a:pt x="800" y="40"/>
                  <a:pt x="802" y="40"/>
                  <a:pt x="800" y="38"/>
                </a:cubicBezTo>
                <a:cubicBezTo>
                  <a:pt x="800" y="38"/>
                  <a:pt x="799" y="39"/>
                  <a:pt x="798" y="39"/>
                </a:cubicBezTo>
                <a:cubicBezTo>
                  <a:pt x="794" y="39"/>
                  <a:pt x="793" y="38"/>
                  <a:pt x="790" y="38"/>
                </a:cubicBezTo>
                <a:cubicBezTo>
                  <a:pt x="794" y="35"/>
                  <a:pt x="792" y="37"/>
                  <a:pt x="796" y="35"/>
                </a:cubicBezTo>
                <a:cubicBezTo>
                  <a:pt x="798" y="34"/>
                  <a:pt x="799" y="33"/>
                  <a:pt x="799" y="33"/>
                </a:cubicBezTo>
                <a:cubicBezTo>
                  <a:pt x="800" y="33"/>
                  <a:pt x="805" y="32"/>
                  <a:pt x="806" y="32"/>
                </a:cubicBezTo>
                <a:cubicBezTo>
                  <a:pt x="806" y="32"/>
                  <a:pt x="811" y="33"/>
                  <a:pt x="811" y="33"/>
                </a:cubicBezTo>
                <a:cubicBezTo>
                  <a:pt x="812" y="33"/>
                  <a:pt x="816" y="31"/>
                  <a:pt x="818" y="33"/>
                </a:cubicBezTo>
                <a:cubicBezTo>
                  <a:pt x="824" y="34"/>
                  <a:pt x="824" y="34"/>
                  <a:pt x="824" y="34"/>
                </a:cubicBezTo>
                <a:cubicBezTo>
                  <a:pt x="826" y="33"/>
                  <a:pt x="826" y="33"/>
                  <a:pt x="826" y="33"/>
                </a:cubicBezTo>
                <a:cubicBezTo>
                  <a:pt x="829" y="33"/>
                  <a:pt x="829" y="33"/>
                  <a:pt x="829" y="33"/>
                </a:cubicBezTo>
                <a:cubicBezTo>
                  <a:pt x="831" y="32"/>
                  <a:pt x="831" y="32"/>
                  <a:pt x="831" y="32"/>
                </a:cubicBezTo>
                <a:cubicBezTo>
                  <a:pt x="833" y="32"/>
                  <a:pt x="832" y="33"/>
                  <a:pt x="835" y="31"/>
                </a:cubicBezTo>
                <a:cubicBezTo>
                  <a:pt x="833" y="31"/>
                  <a:pt x="833" y="31"/>
                  <a:pt x="833" y="31"/>
                </a:cubicBezTo>
                <a:cubicBezTo>
                  <a:pt x="833" y="32"/>
                  <a:pt x="833" y="32"/>
                  <a:pt x="833" y="32"/>
                </a:cubicBezTo>
                <a:cubicBezTo>
                  <a:pt x="830" y="32"/>
                  <a:pt x="830" y="32"/>
                  <a:pt x="830" y="32"/>
                </a:cubicBezTo>
                <a:cubicBezTo>
                  <a:pt x="828" y="32"/>
                  <a:pt x="829" y="33"/>
                  <a:pt x="826" y="32"/>
                </a:cubicBezTo>
                <a:cubicBezTo>
                  <a:pt x="821" y="32"/>
                  <a:pt x="822" y="30"/>
                  <a:pt x="819" y="28"/>
                </a:cubicBezTo>
                <a:cubicBezTo>
                  <a:pt x="818" y="26"/>
                  <a:pt x="818" y="26"/>
                  <a:pt x="816" y="27"/>
                </a:cubicBezTo>
                <a:cubicBezTo>
                  <a:pt x="814" y="25"/>
                  <a:pt x="814" y="25"/>
                  <a:pt x="814" y="25"/>
                </a:cubicBezTo>
                <a:cubicBezTo>
                  <a:pt x="814" y="25"/>
                  <a:pt x="814" y="23"/>
                  <a:pt x="815" y="23"/>
                </a:cubicBezTo>
                <a:cubicBezTo>
                  <a:pt x="815" y="23"/>
                  <a:pt x="818" y="22"/>
                  <a:pt x="818" y="22"/>
                </a:cubicBezTo>
                <a:cubicBezTo>
                  <a:pt x="818" y="22"/>
                  <a:pt x="822" y="23"/>
                  <a:pt x="823" y="23"/>
                </a:cubicBezTo>
                <a:cubicBezTo>
                  <a:pt x="824" y="23"/>
                  <a:pt x="827" y="22"/>
                  <a:pt x="827" y="22"/>
                </a:cubicBezTo>
                <a:cubicBezTo>
                  <a:pt x="828" y="22"/>
                  <a:pt x="828" y="21"/>
                  <a:pt x="830" y="22"/>
                </a:cubicBezTo>
                <a:cubicBezTo>
                  <a:pt x="832" y="23"/>
                  <a:pt x="833" y="23"/>
                  <a:pt x="833" y="23"/>
                </a:cubicBezTo>
                <a:cubicBezTo>
                  <a:pt x="834" y="24"/>
                  <a:pt x="835" y="23"/>
                  <a:pt x="836" y="23"/>
                </a:cubicBezTo>
                <a:cubicBezTo>
                  <a:pt x="839" y="26"/>
                  <a:pt x="841" y="26"/>
                  <a:pt x="844" y="26"/>
                </a:cubicBezTo>
                <a:cubicBezTo>
                  <a:pt x="849" y="27"/>
                  <a:pt x="848" y="27"/>
                  <a:pt x="852" y="25"/>
                </a:cubicBezTo>
                <a:cubicBezTo>
                  <a:pt x="851" y="25"/>
                  <a:pt x="851" y="25"/>
                  <a:pt x="851" y="25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6" y="26"/>
                  <a:pt x="843" y="25"/>
                  <a:pt x="841" y="25"/>
                </a:cubicBezTo>
                <a:cubicBezTo>
                  <a:pt x="841" y="24"/>
                  <a:pt x="838" y="22"/>
                  <a:pt x="838" y="22"/>
                </a:cubicBezTo>
                <a:cubicBezTo>
                  <a:pt x="838" y="22"/>
                  <a:pt x="839" y="21"/>
                  <a:pt x="840" y="21"/>
                </a:cubicBezTo>
                <a:cubicBezTo>
                  <a:pt x="841" y="21"/>
                  <a:pt x="842" y="21"/>
                  <a:pt x="842" y="21"/>
                </a:cubicBezTo>
                <a:cubicBezTo>
                  <a:pt x="853" y="21"/>
                  <a:pt x="853" y="21"/>
                  <a:pt x="853" y="21"/>
                </a:cubicBezTo>
                <a:cubicBezTo>
                  <a:pt x="858" y="21"/>
                  <a:pt x="858" y="21"/>
                  <a:pt x="858" y="21"/>
                </a:cubicBezTo>
                <a:cubicBezTo>
                  <a:pt x="865" y="19"/>
                  <a:pt x="865" y="19"/>
                  <a:pt x="865" y="19"/>
                </a:cubicBezTo>
                <a:cubicBezTo>
                  <a:pt x="867" y="18"/>
                  <a:pt x="867" y="18"/>
                  <a:pt x="867" y="18"/>
                </a:cubicBezTo>
                <a:cubicBezTo>
                  <a:pt x="878" y="18"/>
                  <a:pt x="878" y="18"/>
                  <a:pt x="878" y="18"/>
                </a:cubicBezTo>
                <a:cubicBezTo>
                  <a:pt x="879" y="17"/>
                  <a:pt x="879" y="17"/>
                  <a:pt x="879" y="17"/>
                </a:cubicBezTo>
                <a:cubicBezTo>
                  <a:pt x="869" y="17"/>
                  <a:pt x="869" y="17"/>
                  <a:pt x="869" y="17"/>
                </a:cubicBezTo>
                <a:cubicBezTo>
                  <a:pt x="873" y="16"/>
                  <a:pt x="872" y="17"/>
                  <a:pt x="876" y="14"/>
                </a:cubicBezTo>
                <a:cubicBezTo>
                  <a:pt x="875" y="14"/>
                  <a:pt x="875" y="14"/>
                  <a:pt x="875" y="14"/>
                </a:cubicBezTo>
                <a:cubicBezTo>
                  <a:pt x="872" y="16"/>
                  <a:pt x="872" y="16"/>
                  <a:pt x="872" y="16"/>
                </a:cubicBezTo>
                <a:cubicBezTo>
                  <a:pt x="872" y="16"/>
                  <a:pt x="870" y="16"/>
                  <a:pt x="868" y="16"/>
                </a:cubicBezTo>
                <a:cubicBezTo>
                  <a:pt x="864" y="17"/>
                  <a:pt x="866" y="18"/>
                  <a:pt x="863" y="18"/>
                </a:cubicBezTo>
                <a:cubicBezTo>
                  <a:pt x="860" y="19"/>
                  <a:pt x="858" y="19"/>
                  <a:pt x="855" y="19"/>
                </a:cubicBezTo>
                <a:cubicBezTo>
                  <a:pt x="849" y="19"/>
                  <a:pt x="845" y="19"/>
                  <a:pt x="840" y="20"/>
                </a:cubicBezTo>
                <a:cubicBezTo>
                  <a:pt x="840" y="20"/>
                  <a:pt x="840" y="19"/>
                  <a:pt x="839" y="19"/>
                </a:cubicBezTo>
                <a:cubicBezTo>
                  <a:pt x="838" y="19"/>
                  <a:pt x="836" y="19"/>
                  <a:pt x="836" y="19"/>
                </a:cubicBezTo>
                <a:cubicBezTo>
                  <a:pt x="834" y="21"/>
                  <a:pt x="834" y="20"/>
                  <a:pt x="831" y="20"/>
                </a:cubicBezTo>
                <a:cubicBezTo>
                  <a:pt x="829" y="20"/>
                  <a:pt x="821" y="20"/>
                  <a:pt x="819" y="20"/>
                </a:cubicBezTo>
                <a:cubicBezTo>
                  <a:pt x="819" y="20"/>
                  <a:pt x="818" y="20"/>
                  <a:pt x="818" y="20"/>
                </a:cubicBezTo>
                <a:cubicBezTo>
                  <a:pt x="821" y="17"/>
                  <a:pt x="818" y="18"/>
                  <a:pt x="824" y="17"/>
                </a:cubicBezTo>
                <a:cubicBezTo>
                  <a:pt x="820" y="17"/>
                  <a:pt x="821" y="17"/>
                  <a:pt x="818" y="18"/>
                </a:cubicBezTo>
                <a:cubicBezTo>
                  <a:pt x="814" y="19"/>
                  <a:pt x="815" y="19"/>
                  <a:pt x="812" y="19"/>
                </a:cubicBezTo>
                <a:cubicBezTo>
                  <a:pt x="812" y="19"/>
                  <a:pt x="808" y="18"/>
                  <a:pt x="808" y="18"/>
                </a:cubicBezTo>
                <a:cubicBezTo>
                  <a:pt x="808" y="18"/>
                  <a:pt x="804" y="16"/>
                  <a:pt x="804" y="16"/>
                </a:cubicBezTo>
                <a:cubicBezTo>
                  <a:pt x="806" y="15"/>
                  <a:pt x="806" y="15"/>
                  <a:pt x="806" y="15"/>
                </a:cubicBezTo>
                <a:cubicBezTo>
                  <a:pt x="803" y="15"/>
                  <a:pt x="803" y="15"/>
                  <a:pt x="803" y="15"/>
                </a:cubicBezTo>
                <a:cubicBezTo>
                  <a:pt x="803" y="13"/>
                  <a:pt x="803" y="13"/>
                  <a:pt x="803" y="13"/>
                </a:cubicBezTo>
                <a:cubicBezTo>
                  <a:pt x="802" y="13"/>
                  <a:pt x="799" y="12"/>
                  <a:pt x="799" y="12"/>
                </a:cubicBezTo>
                <a:close/>
                <a:moveTo>
                  <a:pt x="780" y="111"/>
                </a:moveTo>
                <a:cubicBezTo>
                  <a:pt x="781" y="111"/>
                  <a:pt x="779" y="113"/>
                  <a:pt x="779" y="113"/>
                </a:cubicBezTo>
                <a:cubicBezTo>
                  <a:pt x="773" y="114"/>
                  <a:pt x="773" y="114"/>
                  <a:pt x="773" y="114"/>
                </a:cubicBezTo>
                <a:cubicBezTo>
                  <a:pt x="772" y="114"/>
                  <a:pt x="772" y="114"/>
                  <a:pt x="772" y="114"/>
                </a:cubicBezTo>
                <a:cubicBezTo>
                  <a:pt x="777" y="112"/>
                  <a:pt x="774" y="113"/>
                  <a:pt x="777" y="111"/>
                </a:cubicBezTo>
                <a:cubicBezTo>
                  <a:pt x="778" y="110"/>
                  <a:pt x="780" y="111"/>
                  <a:pt x="780" y="111"/>
                </a:cubicBezTo>
                <a:close/>
                <a:moveTo>
                  <a:pt x="782" y="116"/>
                </a:moveTo>
                <a:cubicBezTo>
                  <a:pt x="782" y="116"/>
                  <a:pt x="783" y="114"/>
                  <a:pt x="784" y="114"/>
                </a:cubicBezTo>
                <a:cubicBezTo>
                  <a:pt x="784" y="114"/>
                  <a:pt x="785" y="114"/>
                  <a:pt x="786" y="114"/>
                </a:cubicBezTo>
                <a:cubicBezTo>
                  <a:pt x="786" y="114"/>
                  <a:pt x="788" y="114"/>
                  <a:pt x="787" y="115"/>
                </a:cubicBezTo>
                <a:cubicBezTo>
                  <a:pt x="783" y="117"/>
                  <a:pt x="783" y="117"/>
                  <a:pt x="782" y="116"/>
                </a:cubicBezTo>
                <a:close/>
                <a:moveTo>
                  <a:pt x="795" y="121"/>
                </a:moveTo>
                <a:cubicBezTo>
                  <a:pt x="795" y="122"/>
                  <a:pt x="796" y="123"/>
                  <a:pt x="795" y="123"/>
                </a:cubicBezTo>
                <a:cubicBezTo>
                  <a:pt x="793" y="123"/>
                  <a:pt x="794" y="124"/>
                  <a:pt x="793" y="123"/>
                </a:cubicBezTo>
                <a:cubicBezTo>
                  <a:pt x="791" y="123"/>
                  <a:pt x="791" y="123"/>
                  <a:pt x="790" y="122"/>
                </a:cubicBezTo>
                <a:cubicBezTo>
                  <a:pt x="790" y="122"/>
                  <a:pt x="792" y="120"/>
                  <a:pt x="793" y="120"/>
                </a:cubicBezTo>
                <a:cubicBezTo>
                  <a:pt x="794" y="120"/>
                  <a:pt x="795" y="121"/>
                  <a:pt x="795" y="121"/>
                </a:cubicBezTo>
                <a:close/>
                <a:moveTo>
                  <a:pt x="780" y="124"/>
                </a:moveTo>
                <a:cubicBezTo>
                  <a:pt x="781" y="124"/>
                  <a:pt x="788" y="124"/>
                  <a:pt x="789" y="125"/>
                </a:cubicBezTo>
                <a:cubicBezTo>
                  <a:pt x="790" y="126"/>
                  <a:pt x="790" y="126"/>
                  <a:pt x="790" y="126"/>
                </a:cubicBezTo>
                <a:cubicBezTo>
                  <a:pt x="789" y="127"/>
                  <a:pt x="789" y="127"/>
                  <a:pt x="789" y="127"/>
                </a:cubicBezTo>
                <a:cubicBezTo>
                  <a:pt x="785" y="131"/>
                  <a:pt x="785" y="131"/>
                  <a:pt x="785" y="131"/>
                </a:cubicBezTo>
                <a:cubicBezTo>
                  <a:pt x="785" y="131"/>
                  <a:pt x="784" y="133"/>
                  <a:pt x="782" y="133"/>
                </a:cubicBezTo>
                <a:cubicBezTo>
                  <a:pt x="780" y="133"/>
                  <a:pt x="775" y="134"/>
                  <a:pt x="774" y="134"/>
                </a:cubicBezTo>
                <a:cubicBezTo>
                  <a:pt x="773" y="134"/>
                  <a:pt x="769" y="136"/>
                  <a:pt x="769" y="135"/>
                </a:cubicBezTo>
                <a:cubicBezTo>
                  <a:pt x="768" y="133"/>
                  <a:pt x="768" y="133"/>
                  <a:pt x="769" y="132"/>
                </a:cubicBezTo>
                <a:cubicBezTo>
                  <a:pt x="770" y="130"/>
                  <a:pt x="772" y="128"/>
                  <a:pt x="774" y="126"/>
                </a:cubicBezTo>
                <a:cubicBezTo>
                  <a:pt x="774" y="126"/>
                  <a:pt x="779" y="124"/>
                  <a:pt x="780" y="124"/>
                </a:cubicBezTo>
                <a:close/>
                <a:moveTo>
                  <a:pt x="770" y="116"/>
                </a:moveTo>
                <a:cubicBezTo>
                  <a:pt x="774" y="114"/>
                  <a:pt x="774" y="114"/>
                  <a:pt x="774" y="114"/>
                </a:cubicBezTo>
                <a:cubicBezTo>
                  <a:pt x="776" y="114"/>
                  <a:pt x="776" y="114"/>
                  <a:pt x="776" y="114"/>
                </a:cubicBezTo>
                <a:cubicBezTo>
                  <a:pt x="776" y="115"/>
                  <a:pt x="776" y="116"/>
                  <a:pt x="775" y="117"/>
                </a:cubicBezTo>
                <a:cubicBezTo>
                  <a:pt x="774" y="117"/>
                  <a:pt x="771" y="117"/>
                  <a:pt x="770" y="118"/>
                </a:cubicBezTo>
                <a:cubicBezTo>
                  <a:pt x="769" y="118"/>
                  <a:pt x="769" y="118"/>
                  <a:pt x="769" y="118"/>
                </a:cubicBezTo>
                <a:cubicBezTo>
                  <a:pt x="769" y="118"/>
                  <a:pt x="765" y="119"/>
                  <a:pt x="764" y="119"/>
                </a:cubicBezTo>
                <a:cubicBezTo>
                  <a:pt x="764" y="118"/>
                  <a:pt x="767" y="117"/>
                  <a:pt x="767" y="117"/>
                </a:cubicBezTo>
                <a:lnTo>
                  <a:pt x="770" y="116"/>
                </a:lnTo>
                <a:close/>
                <a:moveTo>
                  <a:pt x="747" y="172"/>
                </a:moveTo>
                <a:cubicBezTo>
                  <a:pt x="745" y="171"/>
                  <a:pt x="744" y="171"/>
                  <a:pt x="742" y="169"/>
                </a:cubicBezTo>
                <a:cubicBezTo>
                  <a:pt x="744" y="168"/>
                  <a:pt x="744" y="168"/>
                  <a:pt x="746" y="168"/>
                </a:cubicBezTo>
                <a:cubicBezTo>
                  <a:pt x="746" y="168"/>
                  <a:pt x="748" y="170"/>
                  <a:pt x="748" y="170"/>
                </a:cubicBezTo>
                <a:lnTo>
                  <a:pt x="747" y="172"/>
                </a:lnTo>
                <a:close/>
                <a:moveTo>
                  <a:pt x="826" y="187"/>
                </a:moveTo>
                <a:cubicBezTo>
                  <a:pt x="826" y="188"/>
                  <a:pt x="826" y="189"/>
                  <a:pt x="826" y="190"/>
                </a:cubicBezTo>
                <a:cubicBezTo>
                  <a:pt x="826" y="191"/>
                  <a:pt x="824" y="192"/>
                  <a:pt x="823" y="192"/>
                </a:cubicBezTo>
                <a:cubicBezTo>
                  <a:pt x="822" y="192"/>
                  <a:pt x="821" y="191"/>
                  <a:pt x="821" y="191"/>
                </a:cubicBezTo>
                <a:cubicBezTo>
                  <a:pt x="821" y="190"/>
                  <a:pt x="821" y="189"/>
                  <a:pt x="821" y="189"/>
                </a:cubicBezTo>
                <a:cubicBezTo>
                  <a:pt x="821" y="189"/>
                  <a:pt x="823" y="188"/>
                  <a:pt x="823" y="188"/>
                </a:cubicBezTo>
                <a:cubicBezTo>
                  <a:pt x="823" y="188"/>
                  <a:pt x="823" y="189"/>
                  <a:pt x="824" y="188"/>
                </a:cubicBezTo>
                <a:cubicBezTo>
                  <a:pt x="824" y="187"/>
                  <a:pt x="824" y="185"/>
                  <a:pt x="824" y="185"/>
                </a:cubicBezTo>
                <a:cubicBezTo>
                  <a:pt x="826" y="185"/>
                  <a:pt x="826" y="186"/>
                  <a:pt x="826" y="187"/>
                </a:cubicBezTo>
                <a:close/>
                <a:moveTo>
                  <a:pt x="795" y="202"/>
                </a:moveTo>
                <a:cubicBezTo>
                  <a:pt x="795" y="202"/>
                  <a:pt x="794" y="203"/>
                  <a:pt x="793" y="203"/>
                </a:cubicBezTo>
                <a:cubicBezTo>
                  <a:pt x="792" y="204"/>
                  <a:pt x="793" y="204"/>
                  <a:pt x="792" y="203"/>
                </a:cubicBezTo>
                <a:cubicBezTo>
                  <a:pt x="791" y="203"/>
                  <a:pt x="791" y="201"/>
                  <a:pt x="791" y="201"/>
                </a:cubicBezTo>
                <a:cubicBezTo>
                  <a:pt x="792" y="201"/>
                  <a:pt x="791" y="202"/>
                  <a:pt x="793" y="200"/>
                </a:cubicBezTo>
                <a:cubicBezTo>
                  <a:pt x="796" y="198"/>
                  <a:pt x="798" y="199"/>
                  <a:pt x="795" y="202"/>
                </a:cubicBezTo>
                <a:close/>
                <a:moveTo>
                  <a:pt x="742" y="167"/>
                </a:moveTo>
                <a:cubicBezTo>
                  <a:pt x="740" y="166"/>
                  <a:pt x="740" y="166"/>
                  <a:pt x="740" y="166"/>
                </a:cubicBezTo>
                <a:cubicBezTo>
                  <a:pt x="744" y="165"/>
                  <a:pt x="744" y="165"/>
                  <a:pt x="744" y="165"/>
                </a:cubicBezTo>
                <a:cubicBezTo>
                  <a:pt x="744" y="166"/>
                  <a:pt x="744" y="166"/>
                  <a:pt x="742" y="167"/>
                </a:cubicBezTo>
                <a:close/>
                <a:moveTo>
                  <a:pt x="830" y="177"/>
                </a:moveTo>
                <a:cubicBezTo>
                  <a:pt x="831" y="178"/>
                  <a:pt x="831" y="178"/>
                  <a:pt x="831" y="178"/>
                </a:cubicBezTo>
                <a:cubicBezTo>
                  <a:pt x="831" y="178"/>
                  <a:pt x="829" y="180"/>
                  <a:pt x="828" y="180"/>
                </a:cubicBezTo>
                <a:cubicBezTo>
                  <a:pt x="827" y="179"/>
                  <a:pt x="827" y="179"/>
                  <a:pt x="827" y="179"/>
                </a:cubicBezTo>
                <a:lnTo>
                  <a:pt x="830" y="177"/>
                </a:lnTo>
                <a:close/>
                <a:moveTo>
                  <a:pt x="832" y="182"/>
                </a:moveTo>
                <a:cubicBezTo>
                  <a:pt x="830" y="181"/>
                  <a:pt x="830" y="181"/>
                  <a:pt x="830" y="181"/>
                </a:cubicBezTo>
                <a:cubicBezTo>
                  <a:pt x="832" y="180"/>
                  <a:pt x="832" y="180"/>
                  <a:pt x="832" y="180"/>
                </a:cubicBezTo>
                <a:cubicBezTo>
                  <a:pt x="832" y="180"/>
                  <a:pt x="834" y="180"/>
                  <a:pt x="834" y="180"/>
                </a:cubicBezTo>
                <a:cubicBezTo>
                  <a:pt x="834" y="180"/>
                  <a:pt x="832" y="182"/>
                  <a:pt x="832" y="182"/>
                </a:cubicBezTo>
                <a:close/>
                <a:moveTo>
                  <a:pt x="548" y="627"/>
                </a:moveTo>
                <a:cubicBezTo>
                  <a:pt x="548" y="627"/>
                  <a:pt x="548" y="628"/>
                  <a:pt x="547" y="628"/>
                </a:cubicBezTo>
                <a:cubicBezTo>
                  <a:pt x="547" y="628"/>
                  <a:pt x="545" y="627"/>
                  <a:pt x="546" y="627"/>
                </a:cubicBezTo>
                <a:cubicBezTo>
                  <a:pt x="546" y="626"/>
                  <a:pt x="547" y="626"/>
                  <a:pt x="548" y="627"/>
                </a:cubicBezTo>
                <a:close/>
                <a:moveTo>
                  <a:pt x="528" y="620"/>
                </a:moveTo>
                <a:cubicBezTo>
                  <a:pt x="528" y="620"/>
                  <a:pt x="527" y="622"/>
                  <a:pt x="526" y="621"/>
                </a:cubicBezTo>
                <a:cubicBezTo>
                  <a:pt x="526" y="620"/>
                  <a:pt x="528" y="619"/>
                  <a:pt x="528" y="620"/>
                </a:cubicBezTo>
                <a:close/>
                <a:moveTo>
                  <a:pt x="550" y="630"/>
                </a:moveTo>
                <a:cubicBezTo>
                  <a:pt x="549" y="631"/>
                  <a:pt x="548" y="629"/>
                  <a:pt x="548" y="628"/>
                </a:cubicBezTo>
                <a:cubicBezTo>
                  <a:pt x="549" y="628"/>
                  <a:pt x="551" y="630"/>
                  <a:pt x="550" y="630"/>
                </a:cubicBezTo>
                <a:close/>
                <a:moveTo>
                  <a:pt x="585" y="639"/>
                </a:moveTo>
                <a:cubicBezTo>
                  <a:pt x="585" y="639"/>
                  <a:pt x="585" y="640"/>
                  <a:pt x="584" y="640"/>
                </a:cubicBezTo>
                <a:cubicBezTo>
                  <a:pt x="583" y="640"/>
                  <a:pt x="581" y="639"/>
                  <a:pt x="580" y="639"/>
                </a:cubicBezTo>
                <a:cubicBezTo>
                  <a:pt x="577" y="639"/>
                  <a:pt x="574" y="640"/>
                  <a:pt x="570" y="640"/>
                </a:cubicBezTo>
                <a:cubicBezTo>
                  <a:pt x="569" y="640"/>
                  <a:pt x="567" y="640"/>
                  <a:pt x="566" y="640"/>
                </a:cubicBezTo>
                <a:cubicBezTo>
                  <a:pt x="564" y="641"/>
                  <a:pt x="562" y="641"/>
                  <a:pt x="561" y="641"/>
                </a:cubicBezTo>
                <a:cubicBezTo>
                  <a:pt x="560" y="641"/>
                  <a:pt x="560" y="640"/>
                  <a:pt x="561" y="639"/>
                </a:cubicBezTo>
                <a:cubicBezTo>
                  <a:pt x="562" y="638"/>
                  <a:pt x="563" y="638"/>
                  <a:pt x="564" y="637"/>
                </a:cubicBezTo>
                <a:cubicBezTo>
                  <a:pt x="568" y="635"/>
                  <a:pt x="566" y="633"/>
                  <a:pt x="565" y="631"/>
                </a:cubicBezTo>
                <a:cubicBezTo>
                  <a:pt x="559" y="631"/>
                  <a:pt x="559" y="631"/>
                  <a:pt x="559" y="631"/>
                </a:cubicBezTo>
                <a:cubicBezTo>
                  <a:pt x="558" y="631"/>
                  <a:pt x="555" y="628"/>
                  <a:pt x="555" y="627"/>
                </a:cubicBezTo>
                <a:cubicBezTo>
                  <a:pt x="555" y="626"/>
                  <a:pt x="558" y="623"/>
                  <a:pt x="553" y="621"/>
                </a:cubicBezTo>
                <a:cubicBezTo>
                  <a:pt x="552" y="621"/>
                  <a:pt x="550" y="622"/>
                  <a:pt x="547" y="621"/>
                </a:cubicBezTo>
                <a:cubicBezTo>
                  <a:pt x="538" y="618"/>
                  <a:pt x="540" y="616"/>
                  <a:pt x="537" y="615"/>
                </a:cubicBezTo>
                <a:cubicBezTo>
                  <a:pt x="537" y="615"/>
                  <a:pt x="537" y="616"/>
                  <a:pt x="536" y="616"/>
                </a:cubicBezTo>
                <a:cubicBezTo>
                  <a:pt x="536" y="616"/>
                  <a:pt x="535" y="616"/>
                  <a:pt x="534" y="616"/>
                </a:cubicBezTo>
                <a:cubicBezTo>
                  <a:pt x="534" y="616"/>
                  <a:pt x="532" y="616"/>
                  <a:pt x="532" y="616"/>
                </a:cubicBezTo>
                <a:cubicBezTo>
                  <a:pt x="531" y="616"/>
                  <a:pt x="531" y="614"/>
                  <a:pt x="531" y="614"/>
                </a:cubicBezTo>
                <a:cubicBezTo>
                  <a:pt x="530" y="614"/>
                  <a:pt x="530" y="615"/>
                  <a:pt x="529" y="615"/>
                </a:cubicBezTo>
                <a:cubicBezTo>
                  <a:pt x="528" y="616"/>
                  <a:pt x="527" y="615"/>
                  <a:pt x="525" y="615"/>
                </a:cubicBezTo>
                <a:cubicBezTo>
                  <a:pt x="525" y="615"/>
                  <a:pt x="524" y="615"/>
                  <a:pt x="523" y="615"/>
                </a:cubicBezTo>
                <a:cubicBezTo>
                  <a:pt x="522" y="614"/>
                  <a:pt x="522" y="613"/>
                  <a:pt x="522" y="613"/>
                </a:cubicBezTo>
                <a:cubicBezTo>
                  <a:pt x="522" y="612"/>
                  <a:pt x="526" y="612"/>
                  <a:pt x="527" y="611"/>
                </a:cubicBezTo>
                <a:cubicBezTo>
                  <a:pt x="527" y="611"/>
                  <a:pt x="527" y="610"/>
                  <a:pt x="527" y="610"/>
                </a:cubicBezTo>
                <a:cubicBezTo>
                  <a:pt x="525" y="609"/>
                  <a:pt x="518" y="609"/>
                  <a:pt x="516" y="610"/>
                </a:cubicBezTo>
                <a:cubicBezTo>
                  <a:pt x="513" y="610"/>
                  <a:pt x="511" y="614"/>
                  <a:pt x="510" y="614"/>
                </a:cubicBezTo>
                <a:cubicBezTo>
                  <a:pt x="509" y="615"/>
                  <a:pt x="507" y="614"/>
                  <a:pt x="506" y="615"/>
                </a:cubicBezTo>
                <a:cubicBezTo>
                  <a:pt x="504" y="615"/>
                  <a:pt x="504" y="618"/>
                  <a:pt x="502" y="618"/>
                </a:cubicBezTo>
                <a:cubicBezTo>
                  <a:pt x="496" y="619"/>
                  <a:pt x="499" y="618"/>
                  <a:pt x="499" y="617"/>
                </a:cubicBezTo>
                <a:cubicBezTo>
                  <a:pt x="499" y="616"/>
                  <a:pt x="495" y="620"/>
                  <a:pt x="494" y="619"/>
                </a:cubicBezTo>
                <a:cubicBezTo>
                  <a:pt x="493" y="619"/>
                  <a:pt x="494" y="618"/>
                  <a:pt x="494" y="618"/>
                </a:cubicBezTo>
                <a:cubicBezTo>
                  <a:pt x="495" y="617"/>
                  <a:pt x="495" y="618"/>
                  <a:pt x="496" y="617"/>
                </a:cubicBezTo>
                <a:cubicBezTo>
                  <a:pt x="497" y="617"/>
                  <a:pt x="497" y="617"/>
                  <a:pt x="498" y="616"/>
                </a:cubicBezTo>
                <a:cubicBezTo>
                  <a:pt x="498" y="616"/>
                  <a:pt x="501" y="616"/>
                  <a:pt x="500" y="616"/>
                </a:cubicBezTo>
                <a:cubicBezTo>
                  <a:pt x="500" y="615"/>
                  <a:pt x="499" y="615"/>
                  <a:pt x="500" y="614"/>
                </a:cubicBezTo>
                <a:cubicBezTo>
                  <a:pt x="500" y="613"/>
                  <a:pt x="504" y="610"/>
                  <a:pt x="505" y="609"/>
                </a:cubicBezTo>
                <a:cubicBezTo>
                  <a:pt x="513" y="604"/>
                  <a:pt x="512" y="607"/>
                  <a:pt x="517" y="606"/>
                </a:cubicBezTo>
                <a:cubicBezTo>
                  <a:pt x="518" y="606"/>
                  <a:pt x="520" y="605"/>
                  <a:pt x="521" y="604"/>
                </a:cubicBezTo>
                <a:cubicBezTo>
                  <a:pt x="522" y="604"/>
                  <a:pt x="522" y="605"/>
                  <a:pt x="523" y="604"/>
                </a:cubicBezTo>
                <a:cubicBezTo>
                  <a:pt x="523" y="604"/>
                  <a:pt x="525" y="604"/>
                  <a:pt x="525" y="604"/>
                </a:cubicBezTo>
                <a:cubicBezTo>
                  <a:pt x="526" y="604"/>
                  <a:pt x="528" y="604"/>
                  <a:pt x="528" y="604"/>
                </a:cubicBezTo>
                <a:cubicBezTo>
                  <a:pt x="528" y="604"/>
                  <a:pt x="528" y="605"/>
                  <a:pt x="529" y="605"/>
                </a:cubicBezTo>
                <a:cubicBezTo>
                  <a:pt x="529" y="605"/>
                  <a:pt x="530" y="604"/>
                  <a:pt x="530" y="604"/>
                </a:cubicBezTo>
                <a:cubicBezTo>
                  <a:pt x="531" y="604"/>
                  <a:pt x="532" y="605"/>
                  <a:pt x="533" y="605"/>
                </a:cubicBezTo>
                <a:cubicBezTo>
                  <a:pt x="535" y="605"/>
                  <a:pt x="536" y="604"/>
                  <a:pt x="537" y="604"/>
                </a:cubicBezTo>
                <a:cubicBezTo>
                  <a:pt x="538" y="605"/>
                  <a:pt x="538" y="606"/>
                  <a:pt x="539" y="606"/>
                </a:cubicBezTo>
                <a:cubicBezTo>
                  <a:pt x="540" y="606"/>
                  <a:pt x="541" y="606"/>
                  <a:pt x="542" y="606"/>
                </a:cubicBezTo>
                <a:cubicBezTo>
                  <a:pt x="542" y="606"/>
                  <a:pt x="542" y="606"/>
                  <a:pt x="543" y="607"/>
                </a:cubicBezTo>
                <a:cubicBezTo>
                  <a:pt x="545" y="607"/>
                  <a:pt x="545" y="607"/>
                  <a:pt x="545" y="607"/>
                </a:cubicBezTo>
                <a:cubicBezTo>
                  <a:pt x="545" y="607"/>
                  <a:pt x="545" y="607"/>
                  <a:pt x="545" y="607"/>
                </a:cubicBezTo>
                <a:cubicBezTo>
                  <a:pt x="545" y="608"/>
                  <a:pt x="544" y="608"/>
                  <a:pt x="545" y="608"/>
                </a:cubicBezTo>
                <a:cubicBezTo>
                  <a:pt x="545" y="608"/>
                  <a:pt x="546" y="608"/>
                  <a:pt x="546" y="609"/>
                </a:cubicBezTo>
                <a:cubicBezTo>
                  <a:pt x="547" y="610"/>
                  <a:pt x="548" y="612"/>
                  <a:pt x="549" y="613"/>
                </a:cubicBezTo>
                <a:cubicBezTo>
                  <a:pt x="550" y="614"/>
                  <a:pt x="553" y="612"/>
                  <a:pt x="555" y="612"/>
                </a:cubicBezTo>
                <a:cubicBezTo>
                  <a:pt x="557" y="613"/>
                  <a:pt x="558" y="615"/>
                  <a:pt x="560" y="616"/>
                </a:cubicBezTo>
                <a:cubicBezTo>
                  <a:pt x="560" y="617"/>
                  <a:pt x="561" y="618"/>
                  <a:pt x="561" y="618"/>
                </a:cubicBezTo>
                <a:cubicBezTo>
                  <a:pt x="563" y="619"/>
                  <a:pt x="564" y="620"/>
                  <a:pt x="566" y="621"/>
                </a:cubicBezTo>
                <a:cubicBezTo>
                  <a:pt x="567" y="622"/>
                  <a:pt x="565" y="619"/>
                  <a:pt x="565" y="619"/>
                </a:cubicBezTo>
                <a:cubicBezTo>
                  <a:pt x="565" y="619"/>
                  <a:pt x="565" y="617"/>
                  <a:pt x="566" y="618"/>
                </a:cubicBezTo>
                <a:cubicBezTo>
                  <a:pt x="568" y="619"/>
                  <a:pt x="568" y="619"/>
                  <a:pt x="569" y="621"/>
                </a:cubicBezTo>
                <a:cubicBezTo>
                  <a:pt x="569" y="621"/>
                  <a:pt x="569" y="621"/>
                  <a:pt x="569" y="622"/>
                </a:cubicBezTo>
                <a:cubicBezTo>
                  <a:pt x="569" y="622"/>
                  <a:pt x="570" y="624"/>
                  <a:pt x="571" y="624"/>
                </a:cubicBezTo>
                <a:cubicBezTo>
                  <a:pt x="571" y="625"/>
                  <a:pt x="573" y="625"/>
                  <a:pt x="574" y="625"/>
                </a:cubicBezTo>
                <a:cubicBezTo>
                  <a:pt x="574" y="625"/>
                  <a:pt x="575" y="625"/>
                  <a:pt x="575" y="625"/>
                </a:cubicBezTo>
                <a:cubicBezTo>
                  <a:pt x="576" y="625"/>
                  <a:pt x="576" y="627"/>
                  <a:pt x="577" y="627"/>
                </a:cubicBezTo>
                <a:cubicBezTo>
                  <a:pt x="579" y="628"/>
                  <a:pt x="582" y="626"/>
                  <a:pt x="582" y="629"/>
                </a:cubicBezTo>
                <a:cubicBezTo>
                  <a:pt x="582" y="629"/>
                  <a:pt x="581" y="629"/>
                  <a:pt x="581" y="630"/>
                </a:cubicBezTo>
                <a:cubicBezTo>
                  <a:pt x="581" y="632"/>
                  <a:pt x="583" y="631"/>
                  <a:pt x="584" y="631"/>
                </a:cubicBezTo>
                <a:cubicBezTo>
                  <a:pt x="585" y="631"/>
                  <a:pt x="590" y="632"/>
                  <a:pt x="591" y="632"/>
                </a:cubicBezTo>
                <a:cubicBezTo>
                  <a:pt x="591" y="633"/>
                  <a:pt x="591" y="635"/>
                  <a:pt x="592" y="636"/>
                </a:cubicBezTo>
                <a:cubicBezTo>
                  <a:pt x="593" y="636"/>
                  <a:pt x="595" y="635"/>
                  <a:pt x="595" y="636"/>
                </a:cubicBezTo>
                <a:cubicBezTo>
                  <a:pt x="596" y="637"/>
                  <a:pt x="596" y="638"/>
                  <a:pt x="595" y="638"/>
                </a:cubicBezTo>
                <a:cubicBezTo>
                  <a:pt x="595" y="639"/>
                  <a:pt x="594" y="638"/>
                  <a:pt x="593" y="638"/>
                </a:cubicBezTo>
                <a:cubicBezTo>
                  <a:pt x="592" y="638"/>
                  <a:pt x="590" y="639"/>
                  <a:pt x="589" y="639"/>
                </a:cubicBezTo>
                <a:cubicBezTo>
                  <a:pt x="585" y="640"/>
                  <a:pt x="585" y="639"/>
                  <a:pt x="585" y="639"/>
                </a:cubicBezTo>
                <a:close/>
                <a:moveTo>
                  <a:pt x="552" y="631"/>
                </a:moveTo>
                <a:cubicBezTo>
                  <a:pt x="552" y="632"/>
                  <a:pt x="551" y="631"/>
                  <a:pt x="551" y="631"/>
                </a:cubicBezTo>
                <a:cubicBezTo>
                  <a:pt x="551" y="630"/>
                  <a:pt x="552" y="629"/>
                  <a:pt x="552" y="631"/>
                </a:cubicBezTo>
                <a:close/>
                <a:moveTo>
                  <a:pt x="558" y="612"/>
                </a:moveTo>
                <a:cubicBezTo>
                  <a:pt x="558" y="612"/>
                  <a:pt x="559" y="611"/>
                  <a:pt x="560" y="611"/>
                </a:cubicBezTo>
                <a:cubicBezTo>
                  <a:pt x="562" y="612"/>
                  <a:pt x="560" y="615"/>
                  <a:pt x="558" y="612"/>
                </a:cubicBezTo>
                <a:close/>
                <a:moveTo>
                  <a:pt x="551" y="609"/>
                </a:moveTo>
                <a:cubicBezTo>
                  <a:pt x="552" y="609"/>
                  <a:pt x="555" y="609"/>
                  <a:pt x="553" y="610"/>
                </a:cubicBezTo>
                <a:cubicBezTo>
                  <a:pt x="552" y="610"/>
                  <a:pt x="551" y="609"/>
                  <a:pt x="551" y="609"/>
                </a:cubicBezTo>
                <a:close/>
                <a:moveTo>
                  <a:pt x="561" y="614"/>
                </a:moveTo>
                <a:cubicBezTo>
                  <a:pt x="563" y="615"/>
                  <a:pt x="563" y="616"/>
                  <a:pt x="564" y="618"/>
                </a:cubicBezTo>
                <a:cubicBezTo>
                  <a:pt x="564" y="618"/>
                  <a:pt x="564" y="618"/>
                  <a:pt x="564" y="618"/>
                </a:cubicBezTo>
                <a:cubicBezTo>
                  <a:pt x="562" y="618"/>
                  <a:pt x="562" y="617"/>
                  <a:pt x="561" y="615"/>
                </a:cubicBezTo>
                <a:cubicBezTo>
                  <a:pt x="561" y="614"/>
                  <a:pt x="561" y="613"/>
                  <a:pt x="561" y="614"/>
                </a:cubicBezTo>
                <a:close/>
                <a:moveTo>
                  <a:pt x="556" y="612"/>
                </a:moveTo>
                <a:cubicBezTo>
                  <a:pt x="555" y="611"/>
                  <a:pt x="554" y="611"/>
                  <a:pt x="555" y="610"/>
                </a:cubicBezTo>
                <a:cubicBezTo>
                  <a:pt x="555" y="609"/>
                  <a:pt x="557" y="610"/>
                  <a:pt x="558" y="610"/>
                </a:cubicBezTo>
                <a:cubicBezTo>
                  <a:pt x="558" y="612"/>
                  <a:pt x="557" y="611"/>
                  <a:pt x="556" y="612"/>
                </a:cubicBezTo>
                <a:close/>
                <a:moveTo>
                  <a:pt x="513" y="621"/>
                </a:moveTo>
                <a:cubicBezTo>
                  <a:pt x="513" y="620"/>
                  <a:pt x="511" y="619"/>
                  <a:pt x="512" y="618"/>
                </a:cubicBezTo>
                <a:cubicBezTo>
                  <a:pt x="514" y="616"/>
                  <a:pt x="519" y="619"/>
                  <a:pt x="516" y="622"/>
                </a:cubicBezTo>
                <a:cubicBezTo>
                  <a:pt x="516" y="622"/>
                  <a:pt x="513" y="623"/>
                  <a:pt x="513" y="623"/>
                </a:cubicBezTo>
                <a:cubicBezTo>
                  <a:pt x="512" y="623"/>
                  <a:pt x="511" y="623"/>
                  <a:pt x="511" y="622"/>
                </a:cubicBezTo>
                <a:cubicBezTo>
                  <a:pt x="511" y="621"/>
                  <a:pt x="513" y="622"/>
                  <a:pt x="513" y="621"/>
                </a:cubicBezTo>
                <a:close/>
                <a:moveTo>
                  <a:pt x="548" y="610"/>
                </a:moveTo>
                <a:cubicBezTo>
                  <a:pt x="546" y="608"/>
                  <a:pt x="546" y="608"/>
                  <a:pt x="546" y="608"/>
                </a:cubicBezTo>
                <a:cubicBezTo>
                  <a:pt x="548" y="607"/>
                  <a:pt x="547" y="608"/>
                  <a:pt x="549" y="609"/>
                </a:cubicBezTo>
                <a:cubicBezTo>
                  <a:pt x="549" y="610"/>
                  <a:pt x="548" y="610"/>
                  <a:pt x="548" y="610"/>
                </a:cubicBezTo>
                <a:close/>
                <a:moveTo>
                  <a:pt x="510" y="777"/>
                </a:moveTo>
                <a:cubicBezTo>
                  <a:pt x="510" y="780"/>
                  <a:pt x="510" y="780"/>
                  <a:pt x="510" y="780"/>
                </a:cubicBezTo>
                <a:cubicBezTo>
                  <a:pt x="509" y="780"/>
                  <a:pt x="509" y="780"/>
                  <a:pt x="509" y="780"/>
                </a:cubicBezTo>
                <a:cubicBezTo>
                  <a:pt x="508" y="777"/>
                  <a:pt x="508" y="777"/>
                  <a:pt x="508" y="777"/>
                </a:cubicBezTo>
                <a:cubicBezTo>
                  <a:pt x="509" y="776"/>
                  <a:pt x="509" y="776"/>
                  <a:pt x="509" y="776"/>
                </a:cubicBezTo>
                <a:lnTo>
                  <a:pt x="510" y="777"/>
                </a:lnTo>
                <a:close/>
                <a:moveTo>
                  <a:pt x="621" y="620"/>
                </a:moveTo>
                <a:cubicBezTo>
                  <a:pt x="620" y="620"/>
                  <a:pt x="619" y="619"/>
                  <a:pt x="618" y="618"/>
                </a:cubicBezTo>
                <a:cubicBezTo>
                  <a:pt x="617" y="618"/>
                  <a:pt x="618" y="617"/>
                  <a:pt x="618" y="617"/>
                </a:cubicBezTo>
                <a:cubicBezTo>
                  <a:pt x="619" y="617"/>
                  <a:pt x="619" y="618"/>
                  <a:pt x="620" y="618"/>
                </a:cubicBezTo>
                <a:cubicBezTo>
                  <a:pt x="622" y="619"/>
                  <a:pt x="623" y="618"/>
                  <a:pt x="623" y="620"/>
                </a:cubicBezTo>
                <a:cubicBezTo>
                  <a:pt x="622" y="620"/>
                  <a:pt x="621" y="620"/>
                  <a:pt x="621" y="620"/>
                </a:cubicBezTo>
                <a:close/>
                <a:moveTo>
                  <a:pt x="615" y="620"/>
                </a:moveTo>
                <a:cubicBezTo>
                  <a:pt x="615" y="620"/>
                  <a:pt x="614" y="619"/>
                  <a:pt x="614" y="619"/>
                </a:cubicBezTo>
                <a:cubicBezTo>
                  <a:pt x="614" y="619"/>
                  <a:pt x="616" y="619"/>
                  <a:pt x="616" y="619"/>
                </a:cubicBezTo>
                <a:cubicBezTo>
                  <a:pt x="616" y="619"/>
                  <a:pt x="617" y="619"/>
                  <a:pt x="617" y="619"/>
                </a:cubicBezTo>
                <a:cubicBezTo>
                  <a:pt x="617" y="620"/>
                  <a:pt x="615" y="620"/>
                  <a:pt x="615" y="620"/>
                </a:cubicBezTo>
                <a:close/>
                <a:moveTo>
                  <a:pt x="608" y="613"/>
                </a:moveTo>
                <a:cubicBezTo>
                  <a:pt x="607" y="612"/>
                  <a:pt x="607" y="611"/>
                  <a:pt x="608" y="611"/>
                </a:cubicBezTo>
                <a:cubicBezTo>
                  <a:pt x="609" y="611"/>
                  <a:pt x="613" y="611"/>
                  <a:pt x="611" y="613"/>
                </a:cubicBezTo>
                <a:cubicBezTo>
                  <a:pt x="611" y="614"/>
                  <a:pt x="610" y="613"/>
                  <a:pt x="610" y="613"/>
                </a:cubicBezTo>
                <a:cubicBezTo>
                  <a:pt x="610" y="613"/>
                  <a:pt x="608" y="613"/>
                  <a:pt x="608" y="613"/>
                </a:cubicBezTo>
                <a:close/>
                <a:moveTo>
                  <a:pt x="591" y="604"/>
                </a:moveTo>
                <a:cubicBezTo>
                  <a:pt x="591" y="604"/>
                  <a:pt x="592" y="605"/>
                  <a:pt x="593" y="606"/>
                </a:cubicBezTo>
                <a:cubicBezTo>
                  <a:pt x="593" y="606"/>
                  <a:pt x="593" y="607"/>
                  <a:pt x="593" y="607"/>
                </a:cubicBezTo>
                <a:cubicBezTo>
                  <a:pt x="592" y="608"/>
                  <a:pt x="592" y="608"/>
                  <a:pt x="592" y="608"/>
                </a:cubicBezTo>
                <a:cubicBezTo>
                  <a:pt x="592" y="607"/>
                  <a:pt x="591" y="607"/>
                  <a:pt x="591" y="606"/>
                </a:cubicBezTo>
                <a:cubicBezTo>
                  <a:pt x="591" y="606"/>
                  <a:pt x="590" y="605"/>
                  <a:pt x="590" y="605"/>
                </a:cubicBezTo>
                <a:cubicBezTo>
                  <a:pt x="588" y="604"/>
                  <a:pt x="589" y="605"/>
                  <a:pt x="589" y="603"/>
                </a:cubicBezTo>
                <a:cubicBezTo>
                  <a:pt x="590" y="600"/>
                  <a:pt x="589" y="601"/>
                  <a:pt x="588" y="599"/>
                </a:cubicBezTo>
                <a:cubicBezTo>
                  <a:pt x="588" y="599"/>
                  <a:pt x="588" y="598"/>
                  <a:pt x="589" y="598"/>
                </a:cubicBezTo>
                <a:cubicBezTo>
                  <a:pt x="590" y="599"/>
                  <a:pt x="590" y="599"/>
                  <a:pt x="591" y="600"/>
                </a:cubicBezTo>
                <a:cubicBezTo>
                  <a:pt x="591" y="600"/>
                  <a:pt x="591" y="604"/>
                  <a:pt x="591" y="604"/>
                </a:cubicBezTo>
                <a:close/>
                <a:moveTo>
                  <a:pt x="592" y="598"/>
                </a:moveTo>
                <a:cubicBezTo>
                  <a:pt x="592" y="597"/>
                  <a:pt x="594" y="597"/>
                  <a:pt x="595" y="598"/>
                </a:cubicBezTo>
                <a:cubicBezTo>
                  <a:pt x="595" y="599"/>
                  <a:pt x="593" y="600"/>
                  <a:pt x="592" y="598"/>
                </a:cubicBezTo>
                <a:close/>
                <a:moveTo>
                  <a:pt x="586" y="601"/>
                </a:moveTo>
                <a:cubicBezTo>
                  <a:pt x="585" y="602"/>
                  <a:pt x="582" y="600"/>
                  <a:pt x="582" y="598"/>
                </a:cubicBezTo>
                <a:cubicBezTo>
                  <a:pt x="583" y="597"/>
                  <a:pt x="586" y="600"/>
                  <a:pt x="586" y="601"/>
                </a:cubicBezTo>
                <a:close/>
                <a:moveTo>
                  <a:pt x="590" y="591"/>
                </a:moveTo>
                <a:cubicBezTo>
                  <a:pt x="591" y="594"/>
                  <a:pt x="587" y="594"/>
                  <a:pt x="587" y="593"/>
                </a:cubicBezTo>
                <a:cubicBezTo>
                  <a:pt x="587" y="592"/>
                  <a:pt x="588" y="592"/>
                  <a:pt x="588" y="592"/>
                </a:cubicBezTo>
                <a:cubicBezTo>
                  <a:pt x="589" y="590"/>
                  <a:pt x="588" y="591"/>
                  <a:pt x="587" y="590"/>
                </a:cubicBezTo>
                <a:cubicBezTo>
                  <a:pt x="587" y="590"/>
                  <a:pt x="587" y="588"/>
                  <a:pt x="587" y="588"/>
                </a:cubicBezTo>
                <a:cubicBezTo>
                  <a:pt x="587" y="587"/>
                  <a:pt x="587" y="587"/>
                  <a:pt x="588" y="588"/>
                </a:cubicBezTo>
                <a:lnTo>
                  <a:pt x="590" y="591"/>
                </a:lnTo>
                <a:close/>
                <a:moveTo>
                  <a:pt x="581" y="585"/>
                </a:moveTo>
                <a:cubicBezTo>
                  <a:pt x="585" y="581"/>
                  <a:pt x="581" y="582"/>
                  <a:pt x="582" y="580"/>
                </a:cubicBezTo>
                <a:cubicBezTo>
                  <a:pt x="582" y="579"/>
                  <a:pt x="583" y="580"/>
                  <a:pt x="584" y="580"/>
                </a:cubicBezTo>
                <a:cubicBezTo>
                  <a:pt x="586" y="583"/>
                  <a:pt x="584" y="584"/>
                  <a:pt x="583" y="585"/>
                </a:cubicBezTo>
                <a:cubicBezTo>
                  <a:pt x="583" y="586"/>
                  <a:pt x="583" y="588"/>
                  <a:pt x="581" y="587"/>
                </a:cubicBezTo>
                <a:cubicBezTo>
                  <a:pt x="580" y="586"/>
                  <a:pt x="581" y="586"/>
                  <a:pt x="581" y="585"/>
                </a:cubicBezTo>
                <a:close/>
                <a:moveTo>
                  <a:pt x="597" y="609"/>
                </a:moveTo>
                <a:cubicBezTo>
                  <a:pt x="597" y="608"/>
                  <a:pt x="596" y="607"/>
                  <a:pt x="597" y="607"/>
                </a:cubicBezTo>
                <a:cubicBezTo>
                  <a:pt x="598" y="607"/>
                  <a:pt x="599" y="607"/>
                  <a:pt x="599" y="607"/>
                </a:cubicBezTo>
                <a:cubicBezTo>
                  <a:pt x="600" y="608"/>
                  <a:pt x="602" y="610"/>
                  <a:pt x="602" y="611"/>
                </a:cubicBezTo>
                <a:cubicBezTo>
                  <a:pt x="601" y="611"/>
                  <a:pt x="598" y="614"/>
                  <a:pt x="598" y="614"/>
                </a:cubicBezTo>
                <a:cubicBezTo>
                  <a:pt x="597" y="614"/>
                  <a:pt x="597" y="614"/>
                  <a:pt x="598" y="613"/>
                </a:cubicBezTo>
                <a:cubicBezTo>
                  <a:pt x="598" y="613"/>
                  <a:pt x="602" y="611"/>
                  <a:pt x="599" y="609"/>
                </a:cubicBezTo>
                <a:cubicBezTo>
                  <a:pt x="599" y="609"/>
                  <a:pt x="598" y="610"/>
                  <a:pt x="598" y="610"/>
                </a:cubicBezTo>
                <a:cubicBezTo>
                  <a:pt x="598" y="610"/>
                  <a:pt x="596" y="611"/>
                  <a:pt x="596" y="611"/>
                </a:cubicBezTo>
                <a:cubicBezTo>
                  <a:pt x="596" y="611"/>
                  <a:pt x="596" y="610"/>
                  <a:pt x="596" y="610"/>
                </a:cubicBezTo>
                <a:cubicBezTo>
                  <a:pt x="596" y="610"/>
                  <a:pt x="597" y="609"/>
                  <a:pt x="597" y="609"/>
                </a:cubicBezTo>
                <a:close/>
                <a:moveTo>
                  <a:pt x="599" y="628"/>
                </a:moveTo>
                <a:cubicBezTo>
                  <a:pt x="600" y="627"/>
                  <a:pt x="603" y="625"/>
                  <a:pt x="604" y="626"/>
                </a:cubicBezTo>
                <a:cubicBezTo>
                  <a:pt x="604" y="626"/>
                  <a:pt x="606" y="625"/>
                  <a:pt x="606" y="625"/>
                </a:cubicBezTo>
                <a:cubicBezTo>
                  <a:pt x="607" y="625"/>
                  <a:pt x="607" y="625"/>
                  <a:pt x="607" y="624"/>
                </a:cubicBezTo>
                <a:cubicBezTo>
                  <a:pt x="607" y="624"/>
                  <a:pt x="608" y="627"/>
                  <a:pt x="607" y="627"/>
                </a:cubicBezTo>
                <a:cubicBezTo>
                  <a:pt x="607" y="627"/>
                  <a:pt x="605" y="628"/>
                  <a:pt x="604" y="628"/>
                </a:cubicBezTo>
                <a:cubicBezTo>
                  <a:pt x="604" y="628"/>
                  <a:pt x="601" y="628"/>
                  <a:pt x="601" y="628"/>
                </a:cubicBezTo>
                <a:cubicBezTo>
                  <a:pt x="601" y="629"/>
                  <a:pt x="600" y="629"/>
                  <a:pt x="600" y="629"/>
                </a:cubicBezTo>
                <a:cubicBezTo>
                  <a:pt x="600" y="629"/>
                  <a:pt x="599" y="628"/>
                  <a:pt x="599" y="628"/>
                </a:cubicBezTo>
                <a:close/>
                <a:moveTo>
                  <a:pt x="596" y="595"/>
                </a:moveTo>
                <a:cubicBezTo>
                  <a:pt x="597" y="594"/>
                  <a:pt x="597" y="593"/>
                  <a:pt x="598" y="593"/>
                </a:cubicBezTo>
                <a:cubicBezTo>
                  <a:pt x="598" y="593"/>
                  <a:pt x="599" y="594"/>
                  <a:pt x="599" y="594"/>
                </a:cubicBezTo>
                <a:cubicBezTo>
                  <a:pt x="598" y="595"/>
                  <a:pt x="598" y="595"/>
                  <a:pt x="597" y="596"/>
                </a:cubicBezTo>
                <a:cubicBezTo>
                  <a:pt x="597" y="596"/>
                  <a:pt x="596" y="595"/>
                  <a:pt x="596" y="595"/>
                </a:cubicBezTo>
                <a:close/>
                <a:moveTo>
                  <a:pt x="604" y="605"/>
                </a:moveTo>
                <a:cubicBezTo>
                  <a:pt x="603" y="606"/>
                  <a:pt x="603" y="606"/>
                  <a:pt x="602" y="605"/>
                </a:cubicBezTo>
                <a:cubicBezTo>
                  <a:pt x="602" y="605"/>
                  <a:pt x="603" y="604"/>
                  <a:pt x="604" y="604"/>
                </a:cubicBezTo>
                <a:cubicBezTo>
                  <a:pt x="604" y="604"/>
                  <a:pt x="604" y="605"/>
                  <a:pt x="604" y="605"/>
                </a:cubicBezTo>
                <a:close/>
                <a:moveTo>
                  <a:pt x="607" y="622"/>
                </a:moveTo>
                <a:cubicBezTo>
                  <a:pt x="609" y="621"/>
                  <a:pt x="610" y="622"/>
                  <a:pt x="610" y="622"/>
                </a:cubicBezTo>
                <a:cubicBezTo>
                  <a:pt x="610" y="622"/>
                  <a:pt x="611" y="623"/>
                  <a:pt x="610" y="623"/>
                </a:cubicBezTo>
                <a:cubicBezTo>
                  <a:pt x="608" y="624"/>
                  <a:pt x="608" y="624"/>
                  <a:pt x="607" y="622"/>
                </a:cubicBezTo>
                <a:close/>
                <a:moveTo>
                  <a:pt x="566" y="596"/>
                </a:moveTo>
                <a:cubicBezTo>
                  <a:pt x="565" y="595"/>
                  <a:pt x="564" y="594"/>
                  <a:pt x="565" y="593"/>
                </a:cubicBezTo>
                <a:cubicBezTo>
                  <a:pt x="566" y="592"/>
                  <a:pt x="567" y="591"/>
                  <a:pt x="568" y="592"/>
                </a:cubicBezTo>
                <a:cubicBezTo>
                  <a:pt x="569" y="592"/>
                  <a:pt x="568" y="593"/>
                  <a:pt x="568" y="593"/>
                </a:cubicBezTo>
                <a:cubicBezTo>
                  <a:pt x="569" y="594"/>
                  <a:pt x="569" y="595"/>
                  <a:pt x="569" y="596"/>
                </a:cubicBezTo>
                <a:cubicBezTo>
                  <a:pt x="569" y="596"/>
                  <a:pt x="568" y="596"/>
                  <a:pt x="568" y="597"/>
                </a:cubicBezTo>
                <a:cubicBezTo>
                  <a:pt x="567" y="597"/>
                  <a:pt x="567" y="598"/>
                  <a:pt x="567" y="598"/>
                </a:cubicBezTo>
                <a:cubicBezTo>
                  <a:pt x="566" y="597"/>
                  <a:pt x="566" y="596"/>
                  <a:pt x="566" y="596"/>
                </a:cubicBezTo>
                <a:close/>
                <a:moveTo>
                  <a:pt x="572" y="581"/>
                </a:moveTo>
                <a:cubicBezTo>
                  <a:pt x="572" y="581"/>
                  <a:pt x="573" y="585"/>
                  <a:pt x="572" y="585"/>
                </a:cubicBezTo>
                <a:cubicBezTo>
                  <a:pt x="572" y="585"/>
                  <a:pt x="570" y="585"/>
                  <a:pt x="570" y="585"/>
                </a:cubicBezTo>
                <a:cubicBezTo>
                  <a:pt x="570" y="584"/>
                  <a:pt x="570" y="582"/>
                  <a:pt x="571" y="581"/>
                </a:cubicBezTo>
                <a:cubicBezTo>
                  <a:pt x="571" y="581"/>
                  <a:pt x="572" y="581"/>
                  <a:pt x="572" y="581"/>
                </a:cubicBezTo>
                <a:close/>
                <a:moveTo>
                  <a:pt x="578" y="569"/>
                </a:moveTo>
                <a:cubicBezTo>
                  <a:pt x="578" y="570"/>
                  <a:pt x="576" y="571"/>
                  <a:pt x="576" y="572"/>
                </a:cubicBezTo>
                <a:cubicBezTo>
                  <a:pt x="576" y="572"/>
                  <a:pt x="576" y="573"/>
                  <a:pt x="576" y="574"/>
                </a:cubicBezTo>
                <a:cubicBezTo>
                  <a:pt x="576" y="576"/>
                  <a:pt x="574" y="574"/>
                  <a:pt x="574" y="572"/>
                </a:cubicBezTo>
                <a:cubicBezTo>
                  <a:pt x="574" y="571"/>
                  <a:pt x="575" y="571"/>
                  <a:pt x="575" y="571"/>
                </a:cubicBezTo>
                <a:cubicBezTo>
                  <a:pt x="576" y="570"/>
                  <a:pt x="575" y="569"/>
                  <a:pt x="575" y="568"/>
                </a:cubicBezTo>
                <a:cubicBezTo>
                  <a:pt x="575" y="568"/>
                  <a:pt x="576" y="567"/>
                  <a:pt x="576" y="567"/>
                </a:cubicBezTo>
                <a:cubicBezTo>
                  <a:pt x="576" y="567"/>
                  <a:pt x="575" y="567"/>
                  <a:pt x="575" y="567"/>
                </a:cubicBezTo>
                <a:cubicBezTo>
                  <a:pt x="574" y="566"/>
                  <a:pt x="575" y="565"/>
                  <a:pt x="574" y="564"/>
                </a:cubicBezTo>
                <a:cubicBezTo>
                  <a:pt x="574" y="564"/>
                  <a:pt x="574" y="564"/>
                  <a:pt x="573" y="564"/>
                </a:cubicBezTo>
                <a:cubicBezTo>
                  <a:pt x="572" y="563"/>
                  <a:pt x="572" y="563"/>
                  <a:pt x="570" y="563"/>
                </a:cubicBezTo>
                <a:cubicBezTo>
                  <a:pt x="570" y="563"/>
                  <a:pt x="570" y="562"/>
                  <a:pt x="570" y="562"/>
                </a:cubicBezTo>
                <a:cubicBezTo>
                  <a:pt x="571" y="562"/>
                  <a:pt x="571" y="562"/>
                  <a:pt x="572" y="563"/>
                </a:cubicBezTo>
                <a:cubicBezTo>
                  <a:pt x="573" y="563"/>
                  <a:pt x="574" y="563"/>
                  <a:pt x="574" y="563"/>
                </a:cubicBezTo>
                <a:cubicBezTo>
                  <a:pt x="575" y="563"/>
                  <a:pt x="575" y="564"/>
                  <a:pt x="575" y="565"/>
                </a:cubicBezTo>
                <a:cubicBezTo>
                  <a:pt x="576" y="566"/>
                  <a:pt x="578" y="564"/>
                  <a:pt x="578" y="569"/>
                </a:cubicBezTo>
                <a:close/>
                <a:moveTo>
                  <a:pt x="564" y="591"/>
                </a:moveTo>
                <a:cubicBezTo>
                  <a:pt x="564" y="591"/>
                  <a:pt x="564" y="590"/>
                  <a:pt x="563" y="589"/>
                </a:cubicBezTo>
                <a:cubicBezTo>
                  <a:pt x="562" y="589"/>
                  <a:pt x="561" y="589"/>
                  <a:pt x="561" y="588"/>
                </a:cubicBezTo>
                <a:cubicBezTo>
                  <a:pt x="561" y="587"/>
                  <a:pt x="562" y="587"/>
                  <a:pt x="563" y="586"/>
                </a:cubicBezTo>
                <a:cubicBezTo>
                  <a:pt x="563" y="585"/>
                  <a:pt x="564" y="582"/>
                  <a:pt x="564" y="581"/>
                </a:cubicBezTo>
                <a:cubicBezTo>
                  <a:pt x="565" y="582"/>
                  <a:pt x="565" y="582"/>
                  <a:pt x="566" y="583"/>
                </a:cubicBezTo>
                <a:cubicBezTo>
                  <a:pt x="566" y="583"/>
                  <a:pt x="566" y="584"/>
                  <a:pt x="567" y="585"/>
                </a:cubicBezTo>
                <a:cubicBezTo>
                  <a:pt x="567" y="586"/>
                  <a:pt x="569" y="587"/>
                  <a:pt x="567" y="590"/>
                </a:cubicBezTo>
                <a:cubicBezTo>
                  <a:pt x="567" y="590"/>
                  <a:pt x="566" y="590"/>
                  <a:pt x="566" y="590"/>
                </a:cubicBezTo>
                <a:cubicBezTo>
                  <a:pt x="565" y="590"/>
                  <a:pt x="565" y="591"/>
                  <a:pt x="564" y="591"/>
                </a:cubicBezTo>
                <a:close/>
                <a:moveTo>
                  <a:pt x="566" y="583"/>
                </a:moveTo>
                <a:cubicBezTo>
                  <a:pt x="566" y="583"/>
                  <a:pt x="566" y="583"/>
                  <a:pt x="566" y="583"/>
                </a:cubicBezTo>
                <a:cubicBezTo>
                  <a:pt x="566" y="583"/>
                  <a:pt x="566" y="583"/>
                  <a:pt x="566" y="583"/>
                </a:cubicBezTo>
                <a:cubicBezTo>
                  <a:pt x="566" y="583"/>
                  <a:pt x="566" y="583"/>
                  <a:pt x="566" y="583"/>
                </a:cubicBezTo>
                <a:close/>
                <a:moveTo>
                  <a:pt x="571" y="564"/>
                </a:moveTo>
                <a:cubicBezTo>
                  <a:pt x="571" y="563"/>
                  <a:pt x="571" y="564"/>
                  <a:pt x="571" y="565"/>
                </a:cubicBezTo>
                <a:cubicBezTo>
                  <a:pt x="568" y="566"/>
                  <a:pt x="568" y="566"/>
                  <a:pt x="566" y="566"/>
                </a:cubicBezTo>
                <a:cubicBezTo>
                  <a:pt x="565" y="566"/>
                  <a:pt x="564" y="567"/>
                  <a:pt x="563" y="567"/>
                </a:cubicBezTo>
                <a:cubicBezTo>
                  <a:pt x="563" y="567"/>
                  <a:pt x="562" y="567"/>
                  <a:pt x="562" y="567"/>
                </a:cubicBezTo>
                <a:cubicBezTo>
                  <a:pt x="561" y="567"/>
                  <a:pt x="561" y="566"/>
                  <a:pt x="561" y="565"/>
                </a:cubicBezTo>
                <a:cubicBezTo>
                  <a:pt x="561" y="564"/>
                  <a:pt x="562" y="566"/>
                  <a:pt x="562" y="566"/>
                </a:cubicBezTo>
                <a:cubicBezTo>
                  <a:pt x="563" y="566"/>
                  <a:pt x="563" y="564"/>
                  <a:pt x="564" y="563"/>
                </a:cubicBezTo>
                <a:cubicBezTo>
                  <a:pt x="564" y="563"/>
                  <a:pt x="565" y="565"/>
                  <a:pt x="565" y="565"/>
                </a:cubicBezTo>
                <a:cubicBezTo>
                  <a:pt x="567" y="566"/>
                  <a:pt x="569" y="564"/>
                  <a:pt x="571" y="564"/>
                </a:cubicBezTo>
                <a:close/>
                <a:moveTo>
                  <a:pt x="689" y="653"/>
                </a:moveTo>
                <a:cubicBezTo>
                  <a:pt x="689" y="653"/>
                  <a:pt x="689" y="654"/>
                  <a:pt x="688" y="654"/>
                </a:cubicBezTo>
                <a:cubicBezTo>
                  <a:pt x="683" y="653"/>
                  <a:pt x="690" y="651"/>
                  <a:pt x="689" y="653"/>
                </a:cubicBezTo>
                <a:close/>
                <a:moveTo>
                  <a:pt x="685" y="664"/>
                </a:moveTo>
                <a:cubicBezTo>
                  <a:pt x="685" y="664"/>
                  <a:pt x="685" y="665"/>
                  <a:pt x="684" y="665"/>
                </a:cubicBezTo>
                <a:cubicBezTo>
                  <a:pt x="683" y="665"/>
                  <a:pt x="680" y="665"/>
                  <a:pt x="681" y="663"/>
                </a:cubicBezTo>
                <a:cubicBezTo>
                  <a:pt x="681" y="663"/>
                  <a:pt x="685" y="663"/>
                  <a:pt x="685" y="664"/>
                </a:cubicBezTo>
                <a:close/>
                <a:moveTo>
                  <a:pt x="685" y="657"/>
                </a:moveTo>
                <a:cubicBezTo>
                  <a:pt x="684" y="658"/>
                  <a:pt x="682" y="658"/>
                  <a:pt x="682" y="658"/>
                </a:cubicBezTo>
                <a:cubicBezTo>
                  <a:pt x="680" y="657"/>
                  <a:pt x="682" y="657"/>
                  <a:pt x="683" y="657"/>
                </a:cubicBezTo>
                <a:cubicBezTo>
                  <a:pt x="683" y="657"/>
                  <a:pt x="685" y="656"/>
                  <a:pt x="685" y="656"/>
                </a:cubicBezTo>
                <a:cubicBezTo>
                  <a:pt x="685" y="656"/>
                  <a:pt x="686" y="657"/>
                  <a:pt x="685" y="657"/>
                </a:cubicBezTo>
                <a:close/>
                <a:moveTo>
                  <a:pt x="671" y="662"/>
                </a:moveTo>
                <a:cubicBezTo>
                  <a:pt x="668" y="662"/>
                  <a:pt x="661" y="662"/>
                  <a:pt x="659" y="660"/>
                </a:cubicBezTo>
                <a:cubicBezTo>
                  <a:pt x="658" y="659"/>
                  <a:pt x="658" y="657"/>
                  <a:pt x="659" y="656"/>
                </a:cubicBezTo>
                <a:cubicBezTo>
                  <a:pt x="660" y="656"/>
                  <a:pt x="661" y="656"/>
                  <a:pt x="662" y="656"/>
                </a:cubicBezTo>
                <a:cubicBezTo>
                  <a:pt x="664" y="656"/>
                  <a:pt x="666" y="655"/>
                  <a:pt x="668" y="655"/>
                </a:cubicBezTo>
                <a:cubicBezTo>
                  <a:pt x="677" y="655"/>
                  <a:pt x="677" y="661"/>
                  <a:pt x="671" y="662"/>
                </a:cubicBezTo>
                <a:close/>
                <a:moveTo>
                  <a:pt x="678" y="659"/>
                </a:moveTo>
                <a:cubicBezTo>
                  <a:pt x="679" y="660"/>
                  <a:pt x="679" y="660"/>
                  <a:pt x="678" y="660"/>
                </a:cubicBezTo>
                <a:cubicBezTo>
                  <a:pt x="677" y="660"/>
                  <a:pt x="675" y="661"/>
                  <a:pt x="676" y="660"/>
                </a:cubicBezTo>
                <a:cubicBezTo>
                  <a:pt x="676" y="659"/>
                  <a:pt x="678" y="659"/>
                  <a:pt x="678" y="659"/>
                </a:cubicBezTo>
                <a:close/>
                <a:moveTo>
                  <a:pt x="701" y="662"/>
                </a:moveTo>
                <a:cubicBezTo>
                  <a:pt x="701" y="662"/>
                  <a:pt x="702" y="661"/>
                  <a:pt x="703" y="661"/>
                </a:cubicBezTo>
                <a:cubicBezTo>
                  <a:pt x="703" y="662"/>
                  <a:pt x="703" y="663"/>
                  <a:pt x="702" y="663"/>
                </a:cubicBezTo>
                <a:cubicBezTo>
                  <a:pt x="702" y="663"/>
                  <a:pt x="701" y="663"/>
                  <a:pt x="701" y="662"/>
                </a:cubicBezTo>
                <a:close/>
                <a:moveTo>
                  <a:pt x="700" y="660"/>
                </a:moveTo>
                <a:cubicBezTo>
                  <a:pt x="700" y="660"/>
                  <a:pt x="700" y="660"/>
                  <a:pt x="700" y="661"/>
                </a:cubicBezTo>
                <a:cubicBezTo>
                  <a:pt x="701" y="662"/>
                  <a:pt x="698" y="662"/>
                  <a:pt x="698" y="661"/>
                </a:cubicBezTo>
                <a:cubicBezTo>
                  <a:pt x="697" y="659"/>
                  <a:pt x="700" y="657"/>
                  <a:pt x="701" y="659"/>
                </a:cubicBezTo>
                <a:cubicBezTo>
                  <a:pt x="701" y="659"/>
                  <a:pt x="700" y="659"/>
                  <a:pt x="700" y="660"/>
                </a:cubicBezTo>
                <a:close/>
                <a:moveTo>
                  <a:pt x="703" y="671"/>
                </a:moveTo>
                <a:cubicBezTo>
                  <a:pt x="702" y="671"/>
                  <a:pt x="699" y="666"/>
                  <a:pt x="700" y="666"/>
                </a:cubicBezTo>
                <a:cubicBezTo>
                  <a:pt x="700" y="666"/>
                  <a:pt x="701" y="667"/>
                  <a:pt x="701" y="668"/>
                </a:cubicBezTo>
                <a:cubicBezTo>
                  <a:pt x="702" y="668"/>
                  <a:pt x="703" y="667"/>
                  <a:pt x="703" y="671"/>
                </a:cubicBezTo>
                <a:cubicBezTo>
                  <a:pt x="703" y="671"/>
                  <a:pt x="704" y="672"/>
                  <a:pt x="703" y="671"/>
                </a:cubicBezTo>
                <a:close/>
                <a:moveTo>
                  <a:pt x="712" y="671"/>
                </a:moveTo>
                <a:cubicBezTo>
                  <a:pt x="712" y="671"/>
                  <a:pt x="712" y="672"/>
                  <a:pt x="712" y="673"/>
                </a:cubicBezTo>
                <a:cubicBezTo>
                  <a:pt x="712" y="673"/>
                  <a:pt x="712" y="673"/>
                  <a:pt x="711" y="673"/>
                </a:cubicBezTo>
                <a:cubicBezTo>
                  <a:pt x="708" y="673"/>
                  <a:pt x="710" y="669"/>
                  <a:pt x="712" y="671"/>
                </a:cubicBezTo>
                <a:close/>
                <a:moveTo>
                  <a:pt x="711" y="666"/>
                </a:moveTo>
                <a:cubicBezTo>
                  <a:pt x="710" y="666"/>
                  <a:pt x="710" y="664"/>
                  <a:pt x="710" y="664"/>
                </a:cubicBezTo>
                <a:cubicBezTo>
                  <a:pt x="710" y="664"/>
                  <a:pt x="712" y="664"/>
                  <a:pt x="712" y="664"/>
                </a:cubicBezTo>
                <a:cubicBezTo>
                  <a:pt x="712" y="666"/>
                  <a:pt x="711" y="667"/>
                  <a:pt x="711" y="666"/>
                </a:cubicBezTo>
                <a:close/>
                <a:moveTo>
                  <a:pt x="708" y="675"/>
                </a:moveTo>
                <a:cubicBezTo>
                  <a:pt x="708" y="676"/>
                  <a:pt x="706" y="677"/>
                  <a:pt x="705" y="676"/>
                </a:cubicBezTo>
                <a:cubicBezTo>
                  <a:pt x="705" y="675"/>
                  <a:pt x="707" y="672"/>
                  <a:pt x="708" y="675"/>
                </a:cubicBezTo>
                <a:close/>
                <a:moveTo>
                  <a:pt x="714" y="685"/>
                </a:moveTo>
                <a:cubicBezTo>
                  <a:pt x="714" y="684"/>
                  <a:pt x="714" y="683"/>
                  <a:pt x="715" y="683"/>
                </a:cubicBezTo>
                <a:cubicBezTo>
                  <a:pt x="717" y="683"/>
                  <a:pt x="714" y="685"/>
                  <a:pt x="714" y="685"/>
                </a:cubicBezTo>
                <a:close/>
                <a:moveTo>
                  <a:pt x="710" y="680"/>
                </a:moveTo>
                <a:cubicBezTo>
                  <a:pt x="710" y="677"/>
                  <a:pt x="711" y="680"/>
                  <a:pt x="711" y="680"/>
                </a:cubicBezTo>
                <a:cubicBezTo>
                  <a:pt x="711" y="680"/>
                  <a:pt x="712" y="680"/>
                  <a:pt x="712" y="680"/>
                </a:cubicBezTo>
                <a:cubicBezTo>
                  <a:pt x="712" y="678"/>
                  <a:pt x="711" y="678"/>
                  <a:pt x="714" y="678"/>
                </a:cubicBezTo>
                <a:cubicBezTo>
                  <a:pt x="714" y="679"/>
                  <a:pt x="716" y="680"/>
                  <a:pt x="713" y="681"/>
                </a:cubicBezTo>
                <a:cubicBezTo>
                  <a:pt x="713" y="681"/>
                  <a:pt x="712" y="681"/>
                  <a:pt x="712" y="681"/>
                </a:cubicBezTo>
                <a:cubicBezTo>
                  <a:pt x="711" y="682"/>
                  <a:pt x="712" y="682"/>
                  <a:pt x="712" y="683"/>
                </a:cubicBezTo>
                <a:cubicBezTo>
                  <a:pt x="711" y="684"/>
                  <a:pt x="711" y="684"/>
                  <a:pt x="710" y="684"/>
                </a:cubicBezTo>
                <a:cubicBezTo>
                  <a:pt x="710" y="684"/>
                  <a:pt x="709" y="683"/>
                  <a:pt x="709" y="683"/>
                </a:cubicBezTo>
                <a:cubicBezTo>
                  <a:pt x="709" y="683"/>
                  <a:pt x="710" y="680"/>
                  <a:pt x="710" y="680"/>
                </a:cubicBezTo>
                <a:close/>
                <a:moveTo>
                  <a:pt x="714" y="691"/>
                </a:moveTo>
                <a:cubicBezTo>
                  <a:pt x="713" y="692"/>
                  <a:pt x="713" y="692"/>
                  <a:pt x="713" y="691"/>
                </a:cubicBezTo>
                <a:cubicBezTo>
                  <a:pt x="713" y="691"/>
                  <a:pt x="713" y="687"/>
                  <a:pt x="713" y="687"/>
                </a:cubicBezTo>
                <a:cubicBezTo>
                  <a:pt x="713" y="687"/>
                  <a:pt x="714" y="687"/>
                  <a:pt x="715" y="687"/>
                </a:cubicBezTo>
                <a:cubicBezTo>
                  <a:pt x="715" y="687"/>
                  <a:pt x="716" y="691"/>
                  <a:pt x="714" y="691"/>
                </a:cubicBezTo>
                <a:close/>
                <a:moveTo>
                  <a:pt x="718" y="699"/>
                </a:moveTo>
                <a:cubicBezTo>
                  <a:pt x="717" y="701"/>
                  <a:pt x="716" y="701"/>
                  <a:pt x="715" y="700"/>
                </a:cubicBezTo>
                <a:cubicBezTo>
                  <a:pt x="713" y="697"/>
                  <a:pt x="713" y="694"/>
                  <a:pt x="717" y="697"/>
                </a:cubicBezTo>
                <a:cubicBezTo>
                  <a:pt x="717" y="697"/>
                  <a:pt x="718" y="699"/>
                  <a:pt x="718" y="699"/>
                </a:cubicBezTo>
                <a:close/>
                <a:moveTo>
                  <a:pt x="717" y="706"/>
                </a:moveTo>
                <a:cubicBezTo>
                  <a:pt x="713" y="710"/>
                  <a:pt x="714" y="704"/>
                  <a:pt x="717" y="704"/>
                </a:cubicBezTo>
                <a:cubicBezTo>
                  <a:pt x="717" y="704"/>
                  <a:pt x="717" y="706"/>
                  <a:pt x="717" y="706"/>
                </a:cubicBezTo>
                <a:close/>
                <a:moveTo>
                  <a:pt x="730" y="715"/>
                </a:moveTo>
                <a:cubicBezTo>
                  <a:pt x="730" y="716"/>
                  <a:pt x="729" y="715"/>
                  <a:pt x="728" y="714"/>
                </a:cubicBezTo>
                <a:cubicBezTo>
                  <a:pt x="728" y="710"/>
                  <a:pt x="729" y="713"/>
                  <a:pt x="730" y="715"/>
                </a:cubicBezTo>
                <a:close/>
                <a:moveTo>
                  <a:pt x="713" y="717"/>
                </a:moveTo>
                <a:cubicBezTo>
                  <a:pt x="713" y="717"/>
                  <a:pt x="713" y="718"/>
                  <a:pt x="712" y="718"/>
                </a:cubicBezTo>
                <a:cubicBezTo>
                  <a:pt x="712" y="718"/>
                  <a:pt x="712" y="718"/>
                  <a:pt x="712" y="718"/>
                </a:cubicBezTo>
                <a:cubicBezTo>
                  <a:pt x="712" y="715"/>
                  <a:pt x="712" y="715"/>
                  <a:pt x="713" y="717"/>
                </a:cubicBezTo>
                <a:close/>
                <a:moveTo>
                  <a:pt x="713" y="715"/>
                </a:moveTo>
                <a:cubicBezTo>
                  <a:pt x="713" y="715"/>
                  <a:pt x="712" y="714"/>
                  <a:pt x="712" y="714"/>
                </a:cubicBezTo>
                <a:cubicBezTo>
                  <a:pt x="712" y="714"/>
                  <a:pt x="713" y="711"/>
                  <a:pt x="713" y="711"/>
                </a:cubicBezTo>
                <a:cubicBezTo>
                  <a:pt x="715" y="713"/>
                  <a:pt x="714" y="712"/>
                  <a:pt x="715" y="714"/>
                </a:cubicBezTo>
                <a:cubicBezTo>
                  <a:pt x="715" y="715"/>
                  <a:pt x="715" y="715"/>
                  <a:pt x="713" y="715"/>
                </a:cubicBezTo>
                <a:close/>
                <a:moveTo>
                  <a:pt x="647" y="656"/>
                </a:moveTo>
                <a:cubicBezTo>
                  <a:pt x="648" y="656"/>
                  <a:pt x="648" y="658"/>
                  <a:pt x="648" y="656"/>
                </a:cubicBezTo>
                <a:cubicBezTo>
                  <a:pt x="649" y="655"/>
                  <a:pt x="650" y="654"/>
                  <a:pt x="649" y="654"/>
                </a:cubicBezTo>
                <a:cubicBezTo>
                  <a:pt x="647" y="653"/>
                  <a:pt x="646" y="650"/>
                  <a:pt x="645" y="650"/>
                </a:cubicBezTo>
                <a:cubicBezTo>
                  <a:pt x="645" y="650"/>
                  <a:pt x="647" y="651"/>
                  <a:pt x="643" y="650"/>
                </a:cubicBezTo>
                <a:cubicBezTo>
                  <a:pt x="638" y="649"/>
                  <a:pt x="638" y="649"/>
                  <a:pt x="638" y="649"/>
                </a:cubicBezTo>
                <a:cubicBezTo>
                  <a:pt x="638" y="649"/>
                  <a:pt x="637" y="649"/>
                  <a:pt x="637" y="647"/>
                </a:cubicBezTo>
                <a:cubicBezTo>
                  <a:pt x="636" y="646"/>
                  <a:pt x="636" y="645"/>
                  <a:pt x="636" y="645"/>
                </a:cubicBezTo>
                <a:cubicBezTo>
                  <a:pt x="635" y="643"/>
                  <a:pt x="637" y="642"/>
                  <a:pt x="632" y="643"/>
                </a:cubicBezTo>
                <a:cubicBezTo>
                  <a:pt x="631" y="642"/>
                  <a:pt x="631" y="642"/>
                  <a:pt x="631" y="642"/>
                </a:cubicBezTo>
                <a:cubicBezTo>
                  <a:pt x="629" y="642"/>
                  <a:pt x="629" y="642"/>
                  <a:pt x="629" y="642"/>
                </a:cubicBezTo>
                <a:cubicBezTo>
                  <a:pt x="629" y="642"/>
                  <a:pt x="627" y="640"/>
                  <a:pt x="626" y="640"/>
                </a:cubicBezTo>
                <a:cubicBezTo>
                  <a:pt x="625" y="640"/>
                  <a:pt x="625" y="639"/>
                  <a:pt x="623" y="640"/>
                </a:cubicBezTo>
                <a:cubicBezTo>
                  <a:pt x="622" y="641"/>
                  <a:pt x="620" y="641"/>
                  <a:pt x="620" y="641"/>
                </a:cubicBezTo>
                <a:cubicBezTo>
                  <a:pt x="618" y="641"/>
                  <a:pt x="618" y="641"/>
                  <a:pt x="618" y="641"/>
                </a:cubicBezTo>
                <a:cubicBezTo>
                  <a:pt x="618" y="643"/>
                  <a:pt x="618" y="643"/>
                  <a:pt x="618" y="643"/>
                </a:cubicBezTo>
                <a:cubicBezTo>
                  <a:pt x="614" y="643"/>
                  <a:pt x="616" y="643"/>
                  <a:pt x="613" y="642"/>
                </a:cubicBezTo>
                <a:cubicBezTo>
                  <a:pt x="612" y="641"/>
                  <a:pt x="608" y="641"/>
                  <a:pt x="609" y="639"/>
                </a:cubicBezTo>
                <a:cubicBezTo>
                  <a:pt x="607" y="638"/>
                  <a:pt x="607" y="638"/>
                  <a:pt x="607" y="638"/>
                </a:cubicBezTo>
                <a:cubicBezTo>
                  <a:pt x="607" y="640"/>
                  <a:pt x="608" y="639"/>
                  <a:pt x="606" y="640"/>
                </a:cubicBezTo>
                <a:cubicBezTo>
                  <a:pt x="606" y="640"/>
                  <a:pt x="606" y="640"/>
                  <a:pt x="605" y="640"/>
                </a:cubicBezTo>
                <a:cubicBezTo>
                  <a:pt x="604" y="641"/>
                  <a:pt x="601" y="642"/>
                  <a:pt x="601" y="642"/>
                </a:cubicBezTo>
                <a:cubicBezTo>
                  <a:pt x="599" y="643"/>
                  <a:pt x="606" y="644"/>
                  <a:pt x="606" y="644"/>
                </a:cubicBezTo>
                <a:cubicBezTo>
                  <a:pt x="606" y="644"/>
                  <a:pt x="607" y="644"/>
                  <a:pt x="607" y="645"/>
                </a:cubicBezTo>
                <a:cubicBezTo>
                  <a:pt x="607" y="647"/>
                  <a:pt x="607" y="647"/>
                  <a:pt x="606" y="648"/>
                </a:cubicBezTo>
                <a:cubicBezTo>
                  <a:pt x="608" y="650"/>
                  <a:pt x="607" y="649"/>
                  <a:pt x="608" y="651"/>
                </a:cubicBezTo>
                <a:cubicBezTo>
                  <a:pt x="608" y="652"/>
                  <a:pt x="611" y="652"/>
                  <a:pt x="610" y="654"/>
                </a:cubicBezTo>
                <a:cubicBezTo>
                  <a:pt x="610" y="654"/>
                  <a:pt x="611" y="654"/>
                  <a:pt x="608" y="656"/>
                </a:cubicBezTo>
                <a:cubicBezTo>
                  <a:pt x="607" y="656"/>
                  <a:pt x="607" y="657"/>
                  <a:pt x="606" y="657"/>
                </a:cubicBezTo>
                <a:cubicBezTo>
                  <a:pt x="606" y="657"/>
                  <a:pt x="602" y="655"/>
                  <a:pt x="602" y="655"/>
                </a:cubicBezTo>
                <a:cubicBezTo>
                  <a:pt x="602" y="655"/>
                  <a:pt x="601" y="655"/>
                  <a:pt x="600" y="655"/>
                </a:cubicBezTo>
                <a:cubicBezTo>
                  <a:pt x="599" y="655"/>
                  <a:pt x="598" y="656"/>
                  <a:pt x="598" y="655"/>
                </a:cubicBezTo>
                <a:cubicBezTo>
                  <a:pt x="597" y="654"/>
                  <a:pt x="595" y="656"/>
                  <a:pt x="594" y="655"/>
                </a:cubicBezTo>
                <a:cubicBezTo>
                  <a:pt x="594" y="655"/>
                  <a:pt x="595" y="654"/>
                  <a:pt x="593" y="654"/>
                </a:cubicBezTo>
                <a:cubicBezTo>
                  <a:pt x="592" y="654"/>
                  <a:pt x="590" y="655"/>
                  <a:pt x="590" y="655"/>
                </a:cubicBezTo>
                <a:cubicBezTo>
                  <a:pt x="590" y="655"/>
                  <a:pt x="590" y="658"/>
                  <a:pt x="590" y="658"/>
                </a:cubicBezTo>
                <a:cubicBezTo>
                  <a:pt x="590" y="658"/>
                  <a:pt x="592" y="658"/>
                  <a:pt x="593" y="659"/>
                </a:cubicBezTo>
                <a:cubicBezTo>
                  <a:pt x="594" y="660"/>
                  <a:pt x="595" y="660"/>
                  <a:pt x="595" y="660"/>
                </a:cubicBezTo>
                <a:cubicBezTo>
                  <a:pt x="595" y="660"/>
                  <a:pt x="595" y="660"/>
                  <a:pt x="596" y="660"/>
                </a:cubicBezTo>
                <a:cubicBezTo>
                  <a:pt x="598" y="658"/>
                  <a:pt x="596" y="659"/>
                  <a:pt x="599" y="659"/>
                </a:cubicBezTo>
                <a:cubicBezTo>
                  <a:pt x="601" y="659"/>
                  <a:pt x="602" y="659"/>
                  <a:pt x="604" y="659"/>
                </a:cubicBezTo>
                <a:cubicBezTo>
                  <a:pt x="605" y="659"/>
                  <a:pt x="606" y="660"/>
                  <a:pt x="606" y="659"/>
                </a:cubicBezTo>
                <a:cubicBezTo>
                  <a:pt x="607" y="658"/>
                  <a:pt x="607" y="658"/>
                  <a:pt x="607" y="658"/>
                </a:cubicBezTo>
                <a:cubicBezTo>
                  <a:pt x="608" y="658"/>
                  <a:pt x="608" y="659"/>
                  <a:pt x="609" y="659"/>
                </a:cubicBezTo>
                <a:cubicBezTo>
                  <a:pt x="611" y="659"/>
                  <a:pt x="614" y="659"/>
                  <a:pt x="614" y="659"/>
                </a:cubicBezTo>
                <a:cubicBezTo>
                  <a:pt x="615" y="660"/>
                  <a:pt x="615" y="660"/>
                  <a:pt x="615" y="661"/>
                </a:cubicBezTo>
                <a:cubicBezTo>
                  <a:pt x="615" y="661"/>
                  <a:pt x="615" y="661"/>
                  <a:pt x="615" y="661"/>
                </a:cubicBezTo>
                <a:cubicBezTo>
                  <a:pt x="615" y="661"/>
                  <a:pt x="616" y="661"/>
                  <a:pt x="616" y="662"/>
                </a:cubicBezTo>
                <a:cubicBezTo>
                  <a:pt x="616" y="662"/>
                  <a:pt x="616" y="663"/>
                  <a:pt x="617" y="663"/>
                </a:cubicBezTo>
                <a:cubicBezTo>
                  <a:pt x="617" y="664"/>
                  <a:pt x="617" y="665"/>
                  <a:pt x="618" y="664"/>
                </a:cubicBezTo>
                <a:cubicBezTo>
                  <a:pt x="620" y="664"/>
                  <a:pt x="620" y="663"/>
                  <a:pt x="621" y="662"/>
                </a:cubicBezTo>
                <a:cubicBezTo>
                  <a:pt x="621" y="661"/>
                  <a:pt x="622" y="660"/>
                  <a:pt x="622" y="660"/>
                </a:cubicBezTo>
                <a:cubicBezTo>
                  <a:pt x="622" y="660"/>
                  <a:pt x="621" y="658"/>
                  <a:pt x="622" y="658"/>
                </a:cubicBezTo>
                <a:cubicBezTo>
                  <a:pt x="623" y="658"/>
                  <a:pt x="623" y="658"/>
                  <a:pt x="624" y="658"/>
                </a:cubicBezTo>
                <a:cubicBezTo>
                  <a:pt x="626" y="658"/>
                  <a:pt x="627" y="657"/>
                  <a:pt x="627" y="657"/>
                </a:cubicBezTo>
                <a:cubicBezTo>
                  <a:pt x="628" y="658"/>
                  <a:pt x="628" y="658"/>
                  <a:pt x="628" y="658"/>
                </a:cubicBezTo>
                <a:cubicBezTo>
                  <a:pt x="630" y="659"/>
                  <a:pt x="632" y="659"/>
                  <a:pt x="634" y="657"/>
                </a:cubicBezTo>
                <a:cubicBezTo>
                  <a:pt x="634" y="657"/>
                  <a:pt x="634" y="656"/>
                  <a:pt x="635" y="656"/>
                </a:cubicBezTo>
                <a:cubicBezTo>
                  <a:pt x="635" y="656"/>
                  <a:pt x="635" y="657"/>
                  <a:pt x="640" y="657"/>
                </a:cubicBezTo>
                <a:cubicBezTo>
                  <a:pt x="641" y="657"/>
                  <a:pt x="644" y="656"/>
                  <a:pt x="644" y="657"/>
                </a:cubicBezTo>
                <a:cubicBezTo>
                  <a:pt x="644" y="657"/>
                  <a:pt x="644" y="657"/>
                  <a:pt x="644" y="657"/>
                </a:cubicBezTo>
                <a:cubicBezTo>
                  <a:pt x="644" y="658"/>
                  <a:pt x="645" y="660"/>
                  <a:pt x="646" y="660"/>
                </a:cubicBezTo>
                <a:cubicBezTo>
                  <a:pt x="647" y="660"/>
                  <a:pt x="646" y="658"/>
                  <a:pt x="646" y="658"/>
                </a:cubicBezTo>
                <a:cubicBezTo>
                  <a:pt x="646" y="658"/>
                  <a:pt x="646" y="656"/>
                  <a:pt x="647" y="656"/>
                </a:cubicBezTo>
                <a:close/>
                <a:moveTo>
                  <a:pt x="615" y="657"/>
                </a:moveTo>
                <a:cubicBezTo>
                  <a:pt x="615" y="657"/>
                  <a:pt x="615" y="656"/>
                  <a:pt x="614" y="655"/>
                </a:cubicBezTo>
                <a:cubicBezTo>
                  <a:pt x="615" y="656"/>
                  <a:pt x="615" y="657"/>
                  <a:pt x="615" y="657"/>
                </a:cubicBezTo>
                <a:close/>
                <a:moveTo>
                  <a:pt x="616" y="658"/>
                </a:moveTo>
                <a:cubicBezTo>
                  <a:pt x="616" y="658"/>
                  <a:pt x="616" y="658"/>
                  <a:pt x="616" y="658"/>
                </a:cubicBezTo>
                <a:cubicBezTo>
                  <a:pt x="616" y="658"/>
                  <a:pt x="616" y="658"/>
                  <a:pt x="616" y="658"/>
                </a:cubicBezTo>
                <a:close/>
                <a:moveTo>
                  <a:pt x="615" y="660"/>
                </a:moveTo>
                <a:cubicBezTo>
                  <a:pt x="615" y="660"/>
                  <a:pt x="615" y="660"/>
                  <a:pt x="616" y="659"/>
                </a:cubicBezTo>
                <a:cubicBezTo>
                  <a:pt x="615" y="660"/>
                  <a:pt x="615" y="660"/>
                  <a:pt x="615" y="660"/>
                </a:cubicBezTo>
                <a:close/>
                <a:moveTo>
                  <a:pt x="616" y="659"/>
                </a:moveTo>
                <a:cubicBezTo>
                  <a:pt x="616" y="659"/>
                  <a:pt x="616" y="659"/>
                  <a:pt x="616" y="659"/>
                </a:cubicBezTo>
                <a:cubicBezTo>
                  <a:pt x="616" y="659"/>
                  <a:pt x="616" y="659"/>
                  <a:pt x="616" y="659"/>
                </a:cubicBezTo>
                <a:close/>
                <a:moveTo>
                  <a:pt x="617" y="646"/>
                </a:moveTo>
                <a:cubicBezTo>
                  <a:pt x="617" y="646"/>
                  <a:pt x="617" y="646"/>
                  <a:pt x="617" y="646"/>
                </a:cubicBezTo>
                <a:cubicBezTo>
                  <a:pt x="617" y="647"/>
                  <a:pt x="618" y="647"/>
                  <a:pt x="618" y="648"/>
                </a:cubicBezTo>
                <a:lnTo>
                  <a:pt x="617" y="646"/>
                </a:lnTo>
                <a:close/>
                <a:moveTo>
                  <a:pt x="618" y="643"/>
                </a:moveTo>
                <a:cubicBezTo>
                  <a:pt x="618" y="643"/>
                  <a:pt x="618" y="643"/>
                  <a:pt x="618" y="643"/>
                </a:cubicBezTo>
                <a:cubicBezTo>
                  <a:pt x="618" y="643"/>
                  <a:pt x="618" y="643"/>
                  <a:pt x="618" y="643"/>
                </a:cubicBezTo>
                <a:cubicBezTo>
                  <a:pt x="618" y="643"/>
                  <a:pt x="618" y="643"/>
                  <a:pt x="618" y="643"/>
                </a:cubicBezTo>
                <a:close/>
                <a:moveTo>
                  <a:pt x="585" y="657"/>
                </a:moveTo>
                <a:cubicBezTo>
                  <a:pt x="585" y="657"/>
                  <a:pt x="582" y="659"/>
                  <a:pt x="582" y="658"/>
                </a:cubicBezTo>
                <a:cubicBezTo>
                  <a:pt x="581" y="656"/>
                  <a:pt x="582" y="655"/>
                  <a:pt x="584" y="655"/>
                </a:cubicBezTo>
                <a:cubicBezTo>
                  <a:pt x="585" y="655"/>
                  <a:pt x="585" y="657"/>
                  <a:pt x="585" y="657"/>
                </a:cubicBezTo>
                <a:close/>
                <a:moveTo>
                  <a:pt x="570" y="659"/>
                </a:moveTo>
                <a:cubicBezTo>
                  <a:pt x="572" y="659"/>
                  <a:pt x="572" y="659"/>
                  <a:pt x="572" y="659"/>
                </a:cubicBezTo>
                <a:cubicBezTo>
                  <a:pt x="572" y="662"/>
                  <a:pt x="572" y="662"/>
                  <a:pt x="572" y="662"/>
                </a:cubicBezTo>
                <a:cubicBezTo>
                  <a:pt x="572" y="662"/>
                  <a:pt x="571" y="663"/>
                  <a:pt x="570" y="663"/>
                </a:cubicBezTo>
                <a:cubicBezTo>
                  <a:pt x="566" y="662"/>
                  <a:pt x="569" y="661"/>
                  <a:pt x="564" y="662"/>
                </a:cubicBezTo>
                <a:cubicBezTo>
                  <a:pt x="563" y="664"/>
                  <a:pt x="563" y="664"/>
                  <a:pt x="563" y="664"/>
                </a:cubicBezTo>
                <a:cubicBezTo>
                  <a:pt x="561" y="663"/>
                  <a:pt x="561" y="663"/>
                  <a:pt x="558" y="663"/>
                </a:cubicBezTo>
                <a:cubicBezTo>
                  <a:pt x="557" y="662"/>
                  <a:pt x="557" y="662"/>
                  <a:pt x="557" y="662"/>
                </a:cubicBezTo>
                <a:cubicBezTo>
                  <a:pt x="556" y="660"/>
                  <a:pt x="556" y="660"/>
                  <a:pt x="556" y="660"/>
                </a:cubicBezTo>
                <a:cubicBezTo>
                  <a:pt x="554" y="659"/>
                  <a:pt x="554" y="659"/>
                  <a:pt x="554" y="659"/>
                </a:cubicBezTo>
                <a:cubicBezTo>
                  <a:pt x="552" y="658"/>
                  <a:pt x="552" y="658"/>
                  <a:pt x="552" y="658"/>
                </a:cubicBezTo>
                <a:cubicBezTo>
                  <a:pt x="553" y="656"/>
                  <a:pt x="553" y="656"/>
                  <a:pt x="553" y="656"/>
                </a:cubicBezTo>
                <a:cubicBezTo>
                  <a:pt x="556" y="656"/>
                  <a:pt x="555" y="656"/>
                  <a:pt x="556" y="656"/>
                </a:cubicBezTo>
                <a:cubicBezTo>
                  <a:pt x="558" y="656"/>
                  <a:pt x="562" y="656"/>
                  <a:pt x="563" y="656"/>
                </a:cubicBezTo>
                <a:cubicBezTo>
                  <a:pt x="568" y="657"/>
                  <a:pt x="568" y="657"/>
                  <a:pt x="568" y="657"/>
                </a:cubicBezTo>
                <a:lnTo>
                  <a:pt x="570" y="659"/>
                </a:lnTo>
                <a:close/>
                <a:moveTo>
                  <a:pt x="628" y="722"/>
                </a:moveTo>
                <a:cubicBezTo>
                  <a:pt x="628" y="725"/>
                  <a:pt x="626" y="722"/>
                  <a:pt x="626" y="721"/>
                </a:cubicBezTo>
                <a:cubicBezTo>
                  <a:pt x="626" y="721"/>
                  <a:pt x="627" y="719"/>
                  <a:pt x="628" y="722"/>
                </a:cubicBezTo>
                <a:close/>
                <a:moveTo>
                  <a:pt x="637" y="725"/>
                </a:moveTo>
                <a:cubicBezTo>
                  <a:pt x="638" y="726"/>
                  <a:pt x="639" y="726"/>
                  <a:pt x="639" y="727"/>
                </a:cubicBezTo>
                <a:cubicBezTo>
                  <a:pt x="638" y="727"/>
                  <a:pt x="636" y="727"/>
                  <a:pt x="635" y="726"/>
                </a:cubicBezTo>
                <a:cubicBezTo>
                  <a:pt x="635" y="725"/>
                  <a:pt x="634" y="724"/>
                  <a:pt x="634" y="724"/>
                </a:cubicBezTo>
                <a:cubicBezTo>
                  <a:pt x="635" y="722"/>
                  <a:pt x="636" y="724"/>
                  <a:pt x="637" y="725"/>
                </a:cubicBezTo>
                <a:close/>
                <a:moveTo>
                  <a:pt x="643" y="725"/>
                </a:moveTo>
                <a:cubicBezTo>
                  <a:pt x="643" y="725"/>
                  <a:pt x="641" y="725"/>
                  <a:pt x="641" y="725"/>
                </a:cubicBezTo>
                <a:cubicBezTo>
                  <a:pt x="642" y="724"/>
                  <a:pt x="643" y="723"/>
                  <a:pt x="644" y="724"/>
                </a:cubicBezTo>
                <a:cubicBezTo>
                  <a:pt x="645" y="724"/>
                  <a:pt x="644" y="729"/>
                  <a:pt x="643" y="728"/>
                </a:cubicBezTo>
                <a:cubicBezTo>
                  <a:pt x="643" y="727"/>
                  <a:pt x="644" y="726"/>
                  <a:pt x="643" y="725"/>
                </a:cubicBezTo>
                <a:close/>
                <a:moveTo>
                  <a:pt x="709" y="723"/>
                </a:moveTo>
                <a:cubicBezTo>
                  <a:pt x="710" y="725"/>
                  <a:pt x="710" y="725"/>
                  <a:pt x="709" y="727"/>
                </a:cubicBezTo>
                <a:cubicBezTo>
                  <a:pt x="708" y="727"/>
                  <a:pt x="707" y="728"/>
                  <a:pt x="707" y="727"/>
                </a:cubicBezTo>
                <a:cubicBezTo>
                  <a:pt x="706" y="726"/>
                  <a:pt x="709" y="723"/>
                  <a:pt x="709" y="723"/>
                </a:cubicBezTo>
                <a:close/>
                <a:moveTo>
                  <a:pt x="711" y="720"/>
                </a:moveTo>
                <a:cubicBezTo>
                  <a:pt x="711" y="721"/>
                  <a:pt x="710" y="722"/>
                  <a:pt x="709" y="722"/>
                </a:cubicBezTo>
                <a:cubicBezTo>
                  <a:pt x="708" y="720"/>
                  <a:pt x="710" y="719"/>
                  <a:pt x="711" y="720"/>
                </a:cubicBezTo>
                <a:close/>
                <a:moveTo>
                  <a:pt x="716" y="737"/>
                </a:moveTo>
                <a:cubicBezTo>
                  <a:pt x="713" y="737"/>
                  <a:pt x="713" y="736"/>
                  <a:pt x="715" y="736"/>
                </a:cubicBezTo>
                <a:cubicBezTo>
                  <a:pt x="716" y="736"/>
                  <a:pt x="717" y="735"/>
                  <a:pt x="717" y="735"/>
                </a:cubicBezTo>
                <a:cubicBezTo>
                  <a:pt x="717" y="735"/>
                  <a:pt x="717" y="737"/>
                  <a:pt x="716" y="737"/>
                </a:cubicBezTo>
                <a:close/>
                <a:moveTo>
                  <a:pt x="714" y="741"/>
                </a:moveTo>
                <a:cubicBezTo>
                  <a:pt x="712" y="744"/>
                  <a:pt x="712" y="744"/>
                  <a:pt x="712" y="744"/>
                </a:cubicBezTo>
                <a:cubicBezTo>
                  <a:pt x="712" y="746"/>
                  <a:pt x="714" y="746"/>
                  <a:pt x="712" y="749"/>
                </a:cubicBezTo>
                <a:cubicBezTo>
                  <a:pt x="712" y="749"/>
                  <a:pt x="706" y="749"/>
                  <a:pt x="705" y="748"/>
                </a:cubicBezTo>
                <a:cubicBezTo>
                  <a:pt x="705" y="748"/>
                  <a:pt x="705" y="748"/>
                  <a:pt x="705" y="748"/>
                </a:cubicBezTo>
                <a:cubicBezTo>
                  <a:pt x="705" y="748"/>
                  <a:pt x="706" y="747"/>
                  <a:pt x="707" y="747"/>
                </a:cubicBezTo>
                <a:cubicBezTo>
                  <a:pt x="708" y="746"/>
                  <a:pt x="708" y="746"/>
                  <a:pt x="708" y="746"/>
                </a:cubicBezTo>
                <a:cubicBezTo>
                  <a:pt x="708" y="746"/>
                  <a:pt x="708" y="744"/>
                  <a:pt x="708" y="744"/>
                </a:cubicBezTo>
                <a:cubicBezTo>
                  <a:pt x="707" y="741"/>
                  <a:pt x="709" y="742"/>
                  <a:pt x="710" y="741"/>
                </a:cubicBezTo>
                <a:cubicBezTo>
                  <a:pt x="713" y="740"/>
                  <a:pt x="713" y="741"/>
                  <a:pt x="714" y="741"/>
                </a:cubicBezTo>
                <a:close/>
                <a:moveTo>
                  <a:pt x="334" y="111"/>
                </a:moveTo>
                <a:cubicBezTo>
                  <a:pt x="319" y="122"/>
                  <a:pt x="319" y="122"/>
                  <a:pt x="319" y="122"/>
                </a:cubicBezTo>
                <a:cubicBezTo>
                  <a:pt x="320" y="121"/>
                  <a:pt x="330" y="114"/>
                  <a:pt x="334" y="111"/>
                </a:cubicBezTo>
                <a:close/>
                <a:moveTo>
                  <a:pt x="239" y="209"/>
                </a:moveTo>
                <a:cubicBezTo>
                  <a:pt x="240" y="210"/>
                  <a:pt x="240" y="210"/>
                  <a:pt x="240" y="211"/>
                </a:cubicBezTo>
                <a:lnTo>
                  <a:pt x="239" y="209"/>
                </a:lnTo>
                <a:close/>
                <a:moveTo>
                  <a:pt x="453" y="687"/>
                </a:moveTo>
                <a:cubicBezTo>
                  <a:pt x="452" y="688"/>
                  <a:pt x="452" y="688"/>
                  <a:pt x="452" y="688"/>
                </a:cubicBezTo>
                <a:cubicBezTo>
                  <a:pt x="452" y="688"/>
                  <a:pt x="452" y="687"/>
                  <a:pt x="453" y="687"/>
                </a:cubicBezTo>
                <a:close/>
                <a:moveTo>
                  <a:pt x="432" y="680"/>
                </a:moveTo>
                <a:cubicBezTo>
                  <a:pt x="432" y="680"/>
                  <a:pt x="432" y="680"/>
                  <a:pt x="432" y="680"/>
                </a:cubicBezTo>
                <a:close/>
                <a:moveTo>
                  <a:pt x="456" y="711"/>
                </a:moveTo>
                <a:cubicBezTo>
                  <a:pt x="456" y="711"/>
                  <a:pt x="456" y="711"/>
                  <a:pt x="456" y="712"/>
                </a:cubicBezTo>
                <a:cubicBezTo>
                  <a:pt x="456" y="711"/>
                  <a:pt x="456" y="711"/>
                  <a:pt x="456" y="711"/>
                </a:cubicBezTo>
                <a:close/>
                <a:moveTo>
                  <a:pt x="456" y="710"/>
                </a:moveTo>
                <a:cubicBezTo>
                  <a:pt x="456" y="710"/>
                  <a:pt x="456" y="710"/>
                  <a:pt x="456" y="710"/>
                </a:cubicBezTo>
                <a:cubicBezTo>
                  <a:pt x="456" y="710"/>
                  <a:pt x="456" y="710"/>
                  <a:pt x="456" y="710"/>
                </a:cubicBezTo>
                <a:close/>
                <a:moveTo>
                  <a:pt x="456" y="711"/>
                </a:moveTo>
                <a:cubicBezTo>
                  <a:pt x="456" y="711"/>
                  <a:pt x="456" y="710"/>
                  <a:pt x="456" y="710"/>
                </a:cubicBezTo>
                <a:cubicBezTo>
                  <a:pt x="456" y="710"/>
                  <a:pt x="456" y="711"/>
                  <a:pt x="456" y="711"/>
                </a:cubicBezTo>
                <a:close/>
                <a:moveTo>
                  <a:pt x="497" y="695"/>
                </a:moveTo>
                <a:cubicBezTo>
                  <a:pt x="497" y="695"/>
                  <a:pt x="497" y="695"/>
                  <a:pt x="497" y="695"/>
                </a:cubicBezTo>
                <a:cubicBezTo>
                  <a:pt x="497" y="695"/>
                  <a:pt x="497" y="695"/>
                  <a:pt x="497" y="695"/>
                </a:cubicBezTo>
                <a:close/>
                <a:moveTo>
                  <a:pt x="498" y="694"/>
                </a:moveTo>
                <a:cubicBezTo>
                  <a:pt x="498" y="694"/>
                  <a:pt x="498" y="694"/>
                  <a:pt x="498" y="694"/>
                </a:cubicBezTo>
                <a:cubicBezTo>
                  <a:pt x="498" y="694"/>
                  <a:pt x="498" y="694"/>
                  <a:pt x="498" y="694"/>
                </a:cubicBezTo>
                <a:close/>
                <a:moveTo>
                  <a:pt x="460" y="716"/>
                </a:moveTo>
                <a:cubicBezTo>
                  <a:pt x="460" y="716"/>
                  <a:pt x="460" y="716"/>
                  <a:pt x="460" y="716"/>
                </a:cubicBezTo>
                <a:cubicBezTo>
                  <a:pt x="460" y="716"/>
                  <a:pt x="460" y="716"/>
                  <a:pt x="460" y="716"/>
                </a:cubicBezTo>
                <a:close/>
                <a:moveTo>
                  <a:pt x="461" y="716"/>
                </a:moveTo>
                <a:cubicBezTo>
                  <a:pt x="461" y="716"/>
                  <a:pt x="461" y="716"/>
                  <a:pt x="461" y="716"/>
                </a:cubicBezTo>
                <a:cubicBezTo>
                  <a:pt x="461" y="716"/>
                  <a:pt x="461" y="716"/>
                  <a:pt x="461" y="716"/>
                </a:cubicBezTo>
                <a:close/>
                <a:moveTo>
                  <a:pt x="462" y="716"/>
                </a:moveTo>
                <a:cubicBezTo>
                  <a:pt x="462" y="716"/>
                  <a:pt x="462" y="716"/>
                  <a:pt x="462" y="716"/>
                </a:cubicBezTo>
                <a:cubicBezTo>
                  <a:pt x="462" y="716"/>
                  <a:pt x="462" y="716"/>
                  <a:pt x="462" y="716"/>
                </a:cubicBezTo>
                <a:close/>
                <a:moveTo>
                  <a:pt x="523" y="899"/>
                </a:moveTo>
                <a:cubicBezTo>
                  <a:pt x="523" y="899"/>
                  <a:pt x="523" y="899"/>
                  <a:pt x="523" y="899"/>
                </a:cubicBezTo>
                <a:cubicBezTo>
                  <a:pt x="523" y="899"/>
                  <a:pt x="523" y="899"/>
                  <a:pt x="523" y="899"/>
                </a:cubicBezTo>
                <a:close/>
                <a:moveTo>
                  <a:pt x="523" y="900"/>
                </a:moveTo>
                <a:cubicBezTo>
                  <a:pt x="523" y="900"/>
                  <a:pt x="523" y="900"/>
                  <a:pt x="523" y="900"/>
                </a:cubicBezTo>
                <a:cubicBezTo>
                  <a:pt x="523" y="900"/>
                  <a:pt x="523" y="900"/>
                  <a:pt x="523" y="900"/>
                </a:cubicBezTo>
                <a:close/>
                <a:moveTo>
                  <a:pt x="522" y="899"/>
                </a:moveTo>
                <a:cubicBezTo>
                  <a:pt x="522" y="899"/>
                  <a:pt x="522" y="899"/>
                  <a:pt x="522" y="899"/>
                </a:cubicBezTo>
                <a:cubicBezTo>
                  <a:pt x="522" y="899"/>
                  <a:pt x="522" y="899"/>
                  <a:pt x="522" y="899"/>
                </a:cubicBezTo>
                <a:close/>
                <a:moveTo>
                  <a:pt x="1032" y="1464"/>
                </a:moveTo>
                <a:cubicBezTo>
                  <a:pt x="1029" y="1465"/>
                  <a:pt x="1028" y="1465"/>
                  <a:pt x="1027" y="1464"/>
                </a:cubicBezTo>
                <a:cubicBezTo>
                  <a:pt x="1026" y="1463"/>
                  <a:pt x="1023" y="1461"/>
                  <a:pt x="1022" y="1461"/>
                </a:cubicBezTo>
                <a:cubicBezTo>
                  <a:pt x="1021" y="1460"/>
                  <a:pt x="1014" y="1457"/>
                  <a:pt x="1014" y="1457"/>
                </a:cubicBezTo>
                <a:cubicBezTo>
                  <a:pt x="1014" y="1457"/>
                  <a:pt x="1012" y="1458"/>
                  <a:pt x="1011" y="1457"/>
                </a:cubicBezTo>
                <a:cubicBezTo>
                  <a:pt x="1009" y="1456"/>
                  <a:pt x="1011" y="1456"/>
                  <a:pt x="1011" y="1456"/>
                </a:cubicBezTo>
                <a:cubicBezTo>
                  <a:pt x="1012" y="1456"/>
                  <a:pt x="1019" y="1456"/>
                  <a:pt x="1019" y="1456"/>
                </a:cubicBezTo>
                <a:cubicBezTo>
                  <a:pt x="1026" y="1458"/>
                  <a:pt x="1026" y="1458"/>
                  <a:pt x="1026" y="1458"/>
                </a:cubicBezTo>
                <a:cubicBezTo>
                  <a:pt x="1026" y="1458"/>
                  <a:pt x="1036" y="1463"/>
                  <a:pt x="1032" y="1464"/>
                </a:cubicBezTo>
                <a:close/>
                <a:moveTo>
                  <a:pt x="981" y="1453"/>
                </a:moveTo>
                <a:cubicBezTo>
                  <a:pt x="979" y="1454"/>
                  <a:pt x="976" y="1453"/>
                  <a:pt x="976" y="1453"/>
                </a:cubicBezTo>
                <a:cubicBezTo>
                  <a:pt x="975" y="1450"/>
                  <a:pt x="975" y="1450"/>
                  <a:pt x="975" y="1450"/>
                </a:cubicBezTo>
                <a:cubicBezTo>
                  <a:pt x="975" y="1451"/>
                  <a:pt x="983" y="1451"/>
                  <a:pt x="981" y="1453"/>
                </a:cubicBezTo>
                <a:close/>
                <a:moveTo>
                  <a:pt x="1272" y="327"/>
                </a:moveTo>
                <a:cubicBezTo>
                  <a:pt x="1273" y="328"/>
                  <a:pt x="1273" y="328"/>
                  <a:pt x="1272" y="328"/>
                </a:cubicBezTo>
                <a:cubicBezTo>
                  <a:pt x="1270" y="327"/>
                  <a:pt x="1270" y="327"/>
                  <a:pt x="1270" y="327"/>
                </a:cubicBezTo>
                <a:lnTo>
                  <a:pt x="1272" y="327"/>
                </a:lnTo>
                <a:close/>
                <a:moveTo>
                  <a:pt x="1300" y="319"/>
                </a:moveTo>
                <a:cubicBezTo>
                  <a:pt x="1299" y="320"/>
                  <a:pt x="1299" y="320"/>
                  <a:pt x="1299" y="320"/>
                </a:cubicBezTo>
                <a:cubicBezTo>
                  <a:pt x="1296" y="320"/>
                  <a:pt x="1296" y="320"/>
                  <a:pt x="1296" y="320"/>
                </a:cubicBezTo>
                <a:cubicBezTo>
                  <a:pt x="1298" y="318"/>
                  <a:pt x="1298" y="318"/>
                  <a:pt x="1300" y="319"/>
                </a:cubicBezTo>
                <a:close/>
                <a:moveTo>
                  <a:pt x="1293" y="346"/>
                </a:moveTo>
                <a:cubicBezTo>
                  <a:pt x="1295" y="345"/>
                  <a:pt x="1295" y="345"/>
                  <a:pt x="1295" y="345"/>
                </a:cubicBezTo>
                <a:cubicBezTo>
                  <a:pt x="1296" y="347"/>
                  <a:pt x="1296" y="347"/>
                  <a:pt x="1296" y="347"/>
                </a:cubicBezTo>
                <a:cubicBezTo>
                  <a:pt x="1294" y="348"/>
                  <a:pt x="1294" y="348"/>
                  <a:pt x="1293" y="346"/>
                </a:cubicBezTo>
                <a:close/>
                <a:moveTo>
                  <a:pt x="1286" y="339"/>
                </a:moveTo>
                <a:cubicBezTo>
                  <a:pt x="1289" y="339"/>
                  <a:pt x="1289" y="339"/>
                  <a:pt x="1289" y="339"/>
                </a:cubicBezTo>
                <a:cubicBezTo>
                  <a:pt x="1288" y="341"/>
                  <a:pt x="1288" y="342"/>
                  <a:pt x="1286" y="339"/>
                </a:cubicBezTo>
                <a:close/>
                <a:moveTo>
                  <a:pt x="1395" y="390"/>
                </a:moveTo>
                <a:cubicBezTo>
                  <a:pt x="1396" y="390"/>
                  <a:pt x="1394" y="388"/>
                  <a:pt x="1395" y="387"/>
                </a:cubicBezTo>
                <a:cubicBezTo>
                  <a:pt x="1395" y="387"/>
                  <a:pt x="1395" y="386"/>
                  <a:pt x="1396" y="386"/>
                </a:cubicBezTo>
                <a:cubicBezTo>
                  <a:pt x="1396" y="387"/>
                  <a:pt x="1397" y="389"/>
                  <a:pt x="1397" y="390"/>
                </a:cubicBezTo>
                <a:cubicBezTo>
                  <a:pt x="1397" y="390"/>
                  <a:pt x="1396" y="390"/>
                  <a:pt x="1396" y="391"/>
                </a:cubicBezTo>
                <a:cubicBezTo>
                  <a:pt x="1396" y="392"/>
                  <a:pt x="1398" y="393"/>
                  <a:pt x="1397" y="395"/>
                </a:cubicBezTo>
                <a:cubicBezTo>
                  <a:pt x="1397" y="397"/>
                  <a:pt x="1396" y="398"/>
                  <a:pt x="1395" y="399"/>
                </a:cubicBezTo>
                <a:cubicBezTo>
                  <a:pt x="1395" y="404"/>
                  <a:pt x="1395" y="405"/>
                  <a:pt x="1393" y="405"/>
                </a:cubicBezTo>
                <a:cubicBezTo>
                  <a:pt x="1392" y="404"/>
                  <a:pt x="1392" y="404"/>
                  <a:pt x="1392" y="404"/>
                </a:cubicBezTo>
                <a:cubicBezTo>
                  <a:pt x="1391" y="404"/>
                  <a:pt x="1390" y="403"/>
                  <a:pt x="1390" y="403"/>
                </a:cubicBezTo>
                <a:cubicBezTo>
                  <a:pt x="1390" y="402"/>
                  <a:pt x="1390" y="401"/>
                  <a:pt x="1390" y="401"/>
                </a:cubicBezTo>
                <a:cubicBezTo>
                  <a:pt x="1390" y="400"/>
                  <a:pt x="1390" y="399"/>
                  <a:pt x="1390" y="398"/>
                </a:cubicBezTo>
                <a:cubicBezTo>
                  <a:pt x="1390" y="398"/>
                  <a:pt x="1389" y="399"/>
                  <a:pt x="1389" y="398"/>
                </a:cubicBezTo>
                <a:cubicBezTo>
                  <a:pt x="1389" y="397"/>
                  <a:pt x="1390" y="396"/>
                  <a:pt x="1389" y="395"/>
                </a:cubicBezTo>
                <a:cubicBezTo>
                  <a:pt x="1388" y="394"/>
                  <a:pt x="1386" y="394"/>
                  <a:pt x="1390" y="392"/>
                </a:cubicBezTo>
                <a:cubicBezTo>
                  <a:pt x="1393" y="390"/>
                  <a:pt x="1394" y="391"/>
                  <a:pt x="1395" y="390"/>
                </a:cubicBezTo>
                <a:close/>
                <a:moveTo>
                  <a:pt x="1295" y="218"/>
                </a:moveTo>
                <a:cubicBezTo>
                  <a:pt x="1295" y="216"/>
                  <a:pt x="1294" y="215"/>
                  <a:pt x="1296" y="215"/>
                </a:cubicBezTo>
                <a:cubicBezTo>
                  <a:pt x="1297" y="214"/>
                  <a:pt x="1297" y="215"/>
                  <a:pt x="1297" y="215"/>
                </a:cubicBezTo>
                <a:cubicBezTo>
                  <a:pt x="1298" y="216"/>
                  <a:pt x="1297" y="216"/>
                  <a:pt x="1299" y="217"/>
                </a:cubicBezTo>
                <a:cubicBezTo>
                  <a:pt x="1299" y="217"/>
                  <a:pt x="1302" y="219"/>
                  <a:pt x="1299" y="219"/>
                </a:cubicBezTo>
                <a:cubicBezTo>
                  <a:pt x="1299" y="219"/>
                  <a:pt x="1298" y="218"/>
                  <a:pt x="1298" y="218"/>
                </a:cubicBezTo>
                <a:cubicBezTo>
                  <a:pt x="1296" y="217"/>
                  <a:pt x="1296" y="218"/>
                  <a:pt x="1296" y="219"/>
                </a:cubicBezTo>
                <a:cubicBezTo>
                  <a:pt x="1296" y="219"/>
                  <a:pt x="1294" y="219"/>
                  <a:pt x="1295" y="218"/>
                </a:cubicBezTo>
                <a:close/>
                <a:moveTo>
                  <a:pt x="1267" y="226"/>
                </a:moveTo>
                <a:cubicBezTo>
                  <a:pt x="1269" y="224"/>
                  <a:pt x="1271" y="223"/>
                  <a:pt x="1271" y="223"/>
                </a:cubicBezTo>
                <a:cubicBezTo>
                  <a:pt x="1271" y="222"/>
                  <a:pt x="1271" y="220"/>
                  <a:pt x="1271" y="222"/>
                </a:cubicBezTo>
                <a:cubicBezTo>
                  <a:pt x="1272" y="223"/>
                  <a:pt x="1273" y="223"/>
                  <a:pt x="1272" y="223"/>
                </a:cubicBezTo>
                <a:cubicBezTo>
                  <a:pt x="1272" y="224"/>
                  <a:pt x="1273" y="224"/>
                  <a:pt x="1272" y="225"/>
                </a:cubicBezTo>
                <a:cubicBezTo>
                  <a:pt x="1271" y="226"/>
                  <a:pt x="1271" y="226"/>
                  <a:pt x="1270" y="226"/>
                </a:cubicBezTo>
                <a:cubicBezTo>
                  <a:pt x="1267" y="229"/>
                  <a:pt x="1267" y="229"/>
                  <a:pt x="1267" y="229"/>
                </a:cubicBezTo>
                <a:cubicBezTo>
                  <a:pt x="1267" y="229"/>
                  <a:pt x="1267" y="229"/>
                  <a:pt x="1266" y="229"/>
                </a:cubicBezTo>
                <a:cubicBezTo>
                  <a:pt x="1266" y="230"/>
                  <a:pt x="1266" y="230"/>
                  <a:pt x="1265" y="230"/>
                </a:cubicBezTo>
                <a:cubicBezTo>
                  <a:pt x="1265" y="230"/>
                  <a:pt x="1264" y="230"/>
                  <a:pt x="1265" y="229"/>
                </a:cubicBezTo>
                <a:cubicBezTo>
                  <a:pt x="1265" y="228"/>
                  <a:pt x="1265" y="228"/>
                  <a:pt x="1265" y="228"/>
                </a:cubicBezTo>
                <a:cubicBezTo>
                  <a:pt x="1265" y="228"/>
                  <a:pt x="1265" y="228"/>
                  <a:pt x="1265" y="228"/>
                </a:cubicBezTo>
                <a:cubicBezTo>
                  <a:pt x="1265" y="227"/>
                  <a:pt x="1264" y="226"/>
                  <a:pt x="1264" y="226"/>
                </a:cubicBezTo>
                <a:cubicBezTo>
                  <a:pt x="1266" y="225"/>
                  <a:pt x="1266" y="225"/>
                  <a:pt x="1267" y="226"/>
                </a:cubicBezTo>
                <a:close/>
                <a:moveTo>
                  <a:pt x="1264" y="243"/>
                </a:moveTo>
                <a:cubicBezTo>
                  <a:pt x="1266" y="242"/>
                  <a:pt x="1267" y="241"/>
                  <a:pt x="1268" y="241"/>
                </a:cubicBezTo>
                <a:cubicBezTo>
                  <a:pt x="1268" y="241"/>
                  <a:pt x="1268" y="241"/>
                  <a:pt x="1268" y="241"/>
                </a:cubicBezTo>
                <a:cubicBezTo>
                  <a:pt x="1268" y="241"/>
                  <a:pt x="1267" y="241"/>
                  <a:pt x="1267" y="242"/>
                </a:cubicBezTo>
                <a:cubicBezTo>
                  <a:pt x="1265" y="243"/>
                  <a:pt x="1266" y="243"/>
                  <a:pt x="1264" y="243"/>
                </a:cubicBezTo>
                <a:close/>
                <a:moveTo>
                  <a:pt x="1276" y="229"/>
                </a:moveTo>
                <a:cubicBezTo>
                  <a:pt x="1276" y="228"/>
                  <a:pt x="1278" y="228"/>
                  <a:pt x="1279" y="228"/>
                </a:cubicBezTo>
                <a:cubicBezTo>
                  <a:pt x="1279" y="229"/>
                  <a:pt x="1280" y="229"/>
                  <a:pt x="1280" y="229"/>
                </a:cubicBezTo>
                <a:cubicBezTo>
                  <a:pt x="1281" y="229"/>
                  <a:pt x="1280" y="228"/>
                  <a:pt x="1280" y="228"/>
                </a:cubicBezTo>
                <a:cubicBezTo>
                  <a:pt x="1280" y="227"/>
                  <a:pt x="1279" y="227"/>
                  <a:pt x="1279" y="227"/>
                </a:cubicBezTo>
                <a:cubicBezTo>
                  <a:pt x="1279" y="227"/>
                  <a:pt x="1279" y="226"/>
                  <a:pt x="1279" y="226"/>
                </a:cubicBezTo>
                <a:cubicBezTo>
                  <a:pt x="1279" y="226"/>
                  <a:pt x="1279" y="226"/>
                  <a:pt x="1279" y="226"/>
                </a:cubicBezTo>
                <a:cubicBezTo>
                  <a:pt x="1278" y="224"/>
                  <a:pt x="1279" y="224"/>
                  <a:pt x="1279" y="225"/>
                </a:cubicBezTo>
                <a:cubicBezTo>
                  <a:pt x="1280" y="225"/>
                  <a:pt x="1281" y="226"/>
                  <a:pt x="1282" y="224"/>
                </a:cubicBezTo>
                <a:cubicBezTo>
                  <a:pt x="1281" y="222"/>
                  <a:pt x="1281" y="223"/>
                  <a:pt x="1282" y="221"/>
                </a:cubicBezTo>
                <a:cubicBezTo>
                  <a:pt x="1282" y="221"/>
                  <a:pt x="1283" y="221"/>
                  <a:pt x="1283" y="221"/>
                </a:cubicBezTo>
                <a:cubicBezTo>
                  <a:pt x="1285" y="221"/>
                  <a:pt x="1285" y="223"/>
                  <a:pt x="1287" y="221"/>
                </a:cubicBezTo>
                <a:cubicBezTo>
                  <a:pt x="1287" y="221"/>
                  <a:pt x="1290" y="221"/>
                  <a:pt x="1291" y="221"/>
                </a:cubicBezTo>
                <a:cubicBezTo>
                  <a:pt x="1294" y="221"/>
                  <a:pt x="1295" y="220"/>
                  <a:pt x="1297" y="221"/>
                </a:cubicBezTo>
                <a:cubicBezTo>
                  <a:pt x="1297" y="223"/>
                  <a:pt x="1297" y="222"/>
                  <a:pt x="1296" y="223"/>
                </a:cubicBezTo>
                <a:cubicBezTo>
                  <a:pt x="1296" y="224"/>
                  <a:pt x="1296" y="224"/>
                  <a:pt x="1295" y="225"/>
                </a:cubicBezTo>
                <a:cubicBezTo>
                  <a:pt x="1295" y="225"/>
                  <a:pt x="1294" y="225"/>
                  <a:pt x="1293" y="226"/>
                </a:cubicBezTo>
                <a:cubicBezTo>
                  <a:pt x="1293" y="226"/>
                  <a:pt x="1293" y="226"/>
                  <a:pt x="1292" y="227"/>
                </a:cubicBezTo>
                <a:cubicBezTo>
                  <a:pt x="1292" y="227"/>
                  <a:pt x="1291" y="227"/>
                  <a:pt x="1290" y="227"/>
                </a:cubicBezTo>
                <a:cubicBezTo>
                  <a:pt x="1289" y="228"/>
                  <a:pt x="1289" y="229"/>
                  <a:pt x="1287" y="228"/>
                </a:cubicBezTo>
                <a:cubicBezTo>
                  <a:pt x="1287" y="228"/>
                  <a:pt x="1286" y="228"/>
                  <a:pt x="1286" y="229"/>
                </a:cubicBezTo>
                <a:cubicBezTo>
                  <a:pt x="1287" y="229"/>
                  <a:pt x="1289" y="229"/>
                  <a:pt x="1289" y="230"/>
                </a:cubicBezTo>
                <a:cubicBezTo>
                  <a:pt x="1288" y="232"/>
                  <a:pt x="1288" y="231"/>
                  <a:pt x="1287" y="232"/>
                </a:cubicBezTo>
                <a:cubicBezTo>
                  <a:pt x="1287" y="233"/>
                  <a:pt x="1288" y="232"/>
                  <a:pt x="1288" y="232"/>
                </a:cubicBezTo>
                <a:cubicBezTo>
                  <a:pt x="1289" y="231"/>
                  <a:pt x="1289" y="231"/>
                  <a:pt x="1290" y="231"/>
                </a:cubicBezTo>
                <a:cubicBezTo>
                  <a:pt x="1290" y="231"/>
                  <a:pt x="1291" y="230"/>
                  <a:pt x="1292" y="230"/>
                </a:cubicBezTo>
                <a:cubicBezTo>
                  <a:pt x="1292" y="230"/>
                  <a:pt x="1294" y="231"/>
                  <a:pt x="1294" y="231"/>
                </a:cubicBezTo>
                <a:cubicBezTo>
                  <a:pt x="1294" y="231"/>
                  <a:pt x="1296" y="230"/>
                  <a:pt x="1296" y="230"/>
                </a:cubicBezTo>
                <a:cubicBezTo>
                  <a:pt x="1304" y="231"/>
                  <a:pt x="1304" y="231"/>
                  <a:pt x="1304" y="231"/>
                </a:cubicBezTo>
                <a:cubicBezTo>
                  <a:pt x="1304" y="231"/>
                  <a:pt x="1307" y="232"/>
                  <a:pt x="1307" y="232"/>
                </a:cubicBezTo>
                <a:cubicBezTo>
                  <a:pt x="1307" y="233"/>
                  <a:pt x="1306" y="233"/>
                  <a:pt x="1306" y="233"/>
                </a:cubicBezTo>
                <a:cubicBezTo>
                  <a:pt x="1304" y="235"/>
                  <a:pt x="1304" y="236"/>
                  <a:pt x="1303" y="238"/>
                </a:cubicBezTo>
                <a:cubicBezTo>
                  <a:pt x="1302" y="240"/>
                  <a:pt x="1300" y="241"/>
                  <a:pt x="1299" y="243"/>
                </a:cubicBezTo>
                <a:cubicBezTo>
                  <a:pt x="1298" y="243"/>
                  <a:pt x="1296" y="245"/>
                  <a:pt x="1296" y="245"/>
                </a:cubicBezTo>
                <a:cubicBezTo>
                  <a:pt x="1297" y="246"/>
                  <a:pt x="1295" y="246"/>
                  <a:pt x="1298" y="247"/>
                </a:cubicBezTo>
                <a:cubicBezTo>
                  <a:pt x="1298" y="247"/>
                  <a:pt x="1299" y="247"/>
                  <a:pt x="1299" y="247"/>
                </a:cubicBezTo>
                <a:cubicBezTo>
                  <a:pt x="1299" y="247"/>
                  <a:pt x="1301" y="247"/>
                  <a:pt x="1301" y="247"/>
                </a:cubicBezTo>
                <a:cubicBezTo>
                  <a:pt x="1301" y="247"/>
                  <a:pt x="1302" y="248"/>
                  <a:pt x="1302" y="248"/>
                </a:cubicBezTo>
                <a:cubicBezTo>
                  <a:pt x="1303" y="249"/>
                  <a:pt x="1306" y="253"/>
                  <a:pt x="1307" y="254"/>
                </a:cubicBezTo>
                <a:cubicBezTo>
                  <a:pt x="1308" y="260"/>
                  <a:pt x="1308" y="260"/>
                  <a:pt x="1308" y="260"/>
                </a:cubicBezTo>
                <a:cubicBezTo>
                  <a:pt x="1308" y="260"/>
                  <a:pt x="1309" y="262"/>
                  <a:pt x="1309" y="262"/>
                </a:cubicBezTo>
                <a:cubicBezTo>
                  <a:pt x="1311" y="263"/>
                  <a:pt x="1312" y="263"/>
                  <a:pt x="1314" y="264"/>
                </a:cubicBezTo>
                <a:cubicBezTo>
                  <a:pt x="1317" y="268"/>
                  <a:pt x="1317" y="268"/>
                  <a:pt x="1317" y="268"/>
                </a:cubicBezTo>
                <a:cubicBezTo>
                  <a:pt x="1317" y="269"/>
                  <a:pt x="1316" y="270"/>
                  <a:pt x="1319" y="272"/>
                </a:cubicBezTo>
                <a:cubicBezTo>
                  <a:pt x="1319" y="272"/>
                  <a:pt x="1320" y="273"/>
                  <a:pt x="1319" y="273"/>
                </a:cubicBezTo>
                <a:cubicBezTo>
                  <a:pt x="1318" y="274"/>
                  <a:pt x="1317" y="272"/>
                  <a:pt x="1317" y="272"/>
                </a:cubicBezTo>
                <a:cubicBezTo>
                  <a:pt x="1316" y="271"/>
                  <a:pt x="1314" y="271"/>
                  <a:pt x="1314" y="272"/>
                </a:cubicBezTo>
                <a:cubicBezTo>
                  <a:pt x="1315" y="272"/>
                  <a:pt x="1315" y="272"/>
                  <a:pt x="1316" y="272"/>
                </a:cubicBezTo>
                <a:cubicBezTo>
                  <a:pt x="1316" y="272"/>
                  <a:pt x="1317" y="273"/>
                  <a:pt x="1317" y="273"/>
                </a:cubicBezTo>
                <a:cubicBezTo>
                  <a:pt x="1319" y="275"/>
                  <a:pt x="1318" y="275"/>
                  <a:pt x="1320" y="276"/>
                </a:cubicBezTo>
                <a:cubicBezTo>
                  <a:pt x="1321" y="276"/>
                  <a:pt x="1321" y="277"/>
                  <a:pt x="1321" y="277"/>
                </a:cubicBezTo>
                <a:cubicBezTo>
                  <a:pt x="1322" y="277"/>
                  <a:pt x="1320" y="280"/>
                  <a:pt x="1319" y="280"/>
                </a:cubicBezTo>
                <a:cubicBezTo>
                  <a:pt x="1319" y="280"/>
                  <a:pt x="1318" y="282"/>
                  <a:pt x="1321" y="281"/>
                </a:cubicBezTo>
                <a:cubicBezTo>
                  <a:pt x="1322" y="281"/>
                  <a:pt x="1322" y="280"/>
                  <a:pt x="1323" y="280"/>
                </a:cubicBezTo>
                <a:cubicBezTo>
                  <a:pt x="1323" y="280"/>
                  <a:pt x="1325" y="280"/>
                  <a:pt x="1326" y="280"/>
                </a:cubicBezTo>
                <a:cubicBezTo>
                  <a:pt x="1329" y="280"/>
                  <a:pt x="1328" y="280"/>
                  <a:pt x="1330" y="281"/>
                </a:cubicBezTo>
                <a:cubicBezTo>
                  <a:pt x="1331" y="281"/>
                  <a:pt x="1333" y="282"/>
                  <a:pt x="1332" y="285"/>
                </a:cubicBezTo>
                <a:cubicBezTo>
                  <a:pt x="1332" y="286"/>
                  <a:pt x="1330" y="289"/>
                  <a:pt x="1329" y="290"/>
                </a:cubicBezTo>
                <a:cubicBezTo>
                  <a:pt x="1328" y="290"/>
                  <a:pt x="1328" y="289"/>
                  <a:pt x="1327" y="290"/>
                </a:cubicBezTo>
                <a:cubicBezTo>
                  <a:pt x="1327" y="290"/>
                  <a:pt x="1327" y="291"/>
                  <a:pt x="1327" y="292"/>
                </a:cubicBezTo>
                <a:cubicBezTo>
                  <a:pt x="1326" y="292"/>
                  <a:pt x="1324" y="292"/>
                  <a:pt x="1323" y="292"/>
                </a:cubicBezTo>
                <a:cubicBezTo>
                  <a:pt x="1323" y="292"/>
                  <a:pt x="1324" y="292"/>
                  <a:pt x="1324" y="293"/>
                </a:cubicBezTo>
                <a:cubicBezTo>
                  <a:pt x="1325" y="295"/>
                  <a:pt x="1323" y="294"/>
                  <a:pt x="1322" y="295"/>
                </a:cubicBezTo>
                <a:cubicBezTo>
                  <a:pt x="1322" y="295"/>
                  <a:pt x="1322" y="296"/>
                  <a:pt x="1322" y="296"/>
                </a:cubicBezTo>
                <a:cubicBezTo>
                  <a:pt x="1324" y="297"/>
                  <a:pt x="1327" y="296"/>
                  <a:pt x="1329" y="296"/>
                </a:cubicBezTo>
                <a:cubicBezTo>
                  <a:pt x="1329" y="297"/>
                  <a:pt x="1329" y="297"/>
                  <a:pt x="1329" y="298"/>
                </a:cubicBezTo>
                <a:cubicBezTo>
                  <a:pt x="1328" y="298"/>
                  <a:pt x="1328" y="299"/>
                  <a:pt x="1327" y="299"/>
                </a:cubicBezTo>
                <a:cubicBezTo>
                  <a:pt x="1326" y="300"/>
                  <a:pt x="1325" y="300"/>
                  <a:pt x="1324" y="301"/>
                </a:cubicBezTo>
                <a:cubicBezTo>
                  <a:pt x="1323" y="301"/>
                  <a:pt x="1322" y="301"/>
                  <a:pt x="1321" y="302"/>
                </a:cubicBezTo>
                <a:cubicBezTo>
                  <a:pt x="1320" y="302"/>
                  <a:pt x="1320" y="303"/>
                  <a:pt x="1320" y="303"/>
                </a:cubicBezTo>
                <a:cubicBezTo>
                  <a:pt x="1319" y="303"/>
                  <a:pt x="1315" y="302"/>
                  <a:pt x="1314" y="303"/>
                </a:cubicBezTo>
                <a:cubicBezTo>
                  <a:pt x="1313" y="303"/>
                  <a:pt x="1312" y="304"/>
                  <a:pt x="1312" y="304"/>
                </a:cubicBezTo>
                <a:cubicBezTo>
                  <a:pt x="1311" y="304"/>
                  <a:pt x="1310" y="303"/>
                  <a:pt x="1309" y="303"/>
                </a:cubicBezTo>
                <a:cubicBezTo>
                  <a:pt x="1309" y="303"/>
                  <a:pt x="1305" y="302"/>
                  <a:pt x="1305" y="301"/>
                </a:cubicBezTo>
                <a:cubicBezTo>
                  <a:pt x="1304" y="301"/>
                  <a:pt x="1306" y="303"/>
                  <a:pt x="1306" y="303"/>
                </a:cubicBezTo>
                <a:cubicBezTo>
                  <a:pt x="1305" y="303"/>
                  <a:pt x="1304" y="304"/>
                  <a:pt x="1303" y="304"/>
                </a:cubicBezTo>
                <a:cubicBezTo>
                  <a:pt x="1303" y="304"/>
                  <a:pt x="1303" y="303"/>
                  <a:pt x="1302" y="303"/>
                </a:cubicBezTo>
                <a:cubicBezTo>
                  <a:pt x="1299" y="303"/>
                  <a:pt x="1300" y="304"/>
                  <a:pt x="1300" y="304"/>
                </a:cubicBezTo>
                <a:cubicBezTo>
                  <a:pt x="1299" y="304"/>
                  <a:pt x="1299" y="304"/>
                  <a:pt x="1298" y="304"/>
                </a:cubicBezTo>
                <a:cubicBezTo>
                  <a:pt x="1298" y="304"/>
                  <a:pt x="1298" y="304"/>
                  <a:pt x="1298" y="304"/>
                </a:cubicBezTo>
                <a:cubicBezTo>
                  <a:pt x="1297" y="305"/>
                  <a:pt x="1297" y="304"/>
                  <a:pt x="1296" y="304"/>
                </a:cubicBezTo>
                <a:cubicBezTo>
                  <a:pt x="1295" y="305"/>
                  <a:pt x="1294" y="303"/>
                  <a:pt x="1293" y="303"/>
                </a:cubicBezTo>
                <a:cubicBezTo>
                  <a:pt x="1292" y="303"/>
                  <a:pt x="1291" y="304"/>
                  <a:pt x="1289" y="304"/>
                </a:cubicBezTo>
                <a:cubicBezTo>
                  <a:pt x="1285" y="306"/>
                  <a:pt x="1288" y="306"/>
                  <a:pt x="1286" y="308"/>
                </a:cubicBezTo>
                <a:cubicBezTo>
                  <a:pt x="1285" y="309"/>
                  <a:pt x="1282" y="307"/>
                  <a:pt x="1281" y="307"/>
                </a:cubicBezTo>
                <a:cubicBezTo>
                  <a:pt x="1281" y="307"/>
                  <a:pt x="1281" y="307"/>
                  <a:pt x="1281" y="307"/>
                </a:cubicBezTo>
                <a:cubicBezTo>
                  <a:pt x="1280" y="307"/>
                  <a:pt x="1279" y="307"/>
                  <a:pt x="1278" y="307"/>
                </a:cubicBezTo>
                <a:cubicBezTo>
                  <a:pt x="1278" y="307"/>
                  <a:pt x="1278" y="308"/>
                  <a:pt x="1277" y="308"/>
                </a:cubicBezTo>
                <a:cubicBezTo>
                  <a:pt x="1275" y="309"/>
                  <a:pt x="1275" y="309"/>
                  <a:pt x="1275" y="309"/>
                </a:cubicBezTo>
                <a:cubicBezTo>
                  <a:pt x="1275" y="309"/>
                  <a:pt x="1274" y="313"/>
                  <a:pt x="1273" y="311"/>
                </a:cubicBezTo>
                <a:cubicBezTo>
                  <a:pt x="1272" y="311"/>
                  <a:pt x="1272" y="310"/>
                  <a:pt x="1271" y="310"/>
                </a:cubicBezTo>
                <a:cubicBezTo>
                  <a:pt x="1271" y="310"/>
                  <a:pt x="1269" y="310"/>
                  <a:pt x="1268" y="310"/>
                </a:cubicBezTo>
                <a:cubicBezTo>
                  <a:pt x="1268" y="310"/>
                  <a:pt x="1268" y="309"/>
                  <a:pt x="1268" y="309"/>
                </a:cubicBezTo>
                <a:cubicBezTo>
                  <a:pt x="1269" y="308"/>
                  <a:pt x="1269" y="309"/>
                  <a:pt x="1270" y="309"/>
                </a:cubicBezTo>
                <a:cubicBezTo>
                  <a:pt x="1271" y="308"/>
                  <a:pt x="1271" y="308"/>
                  <a:pt x="1272" y="307"/>
                </a:cubicBezTo>
                <a:cubicBezTo>
                  <a:pt x="1272" y="307"/>
                  <a:pt x="1273" y="306"/>
                  <a:pt x="1274" y="306"/>
                </a:cubicBezTo>
                <a:cubicBezTo>
                  <a:pt x="1274" y="306"/>
                  <a:pt x="1274" y="305"/>
                  <a:pt x="1274" y="305"/>
                </a:cubicBezTo>
                <a:cubicBezTo>
                  <a:pt x="1275" y="305"/>
                  <a:pt x="1275" y="305"/>
                  <a:pt x="1276" y="304"/>
                </a:cubicBezTo>
                <a:cubicBezTo>
                  <a:pt x="1277" y="304"/>
                  <a:pt x="1277" y="303"/>
                  <a:pt x="1277" y="302"/>
                </a:cubicBezTo>
                <a:cubicBezTo>
                  <a:pt x="1277" y="302"/>
                  <a:pt x="1278" y="302"/>
                  <a:pt x="1278" y="302"/>
                </a:cubicBezTo>
                <a:cubicBezTo>
                  <a:pt x="1278" y="300"/>
                  <a:pt x="1278" y="300"/>
                  <a:pt x="1278" y="300"/>
                </a:cubicBezTo>
                <a:cubicBezTo>
                  <a:pt x="1280" y="300"/>
                  <a:pt x="1282" y="300"/>
                  <a:pt x="1282" y="298"/>
                </a:cubicBezTo>
                <a:cubicBezTo>
                  <a:pt x="1282" y="297"/>
                  <a:pt x="1285" y="298"/>
                  <a:pt x="1285" y="298"/>
                </a:cubicBezTo>
                <a:cubicBezTo>
                  <a:pt x="1289" y="298"/>
                  <a:pt x="1289" y="298"/>
                  <a:pt x="1289" y="298"/>
                </a:cubicBezTo>
                <a:cubicBezTo>
                  <a:pt x="1289" y="298"/>
                  <a:pt x="1291" y="298"/>
                  <a:pt x="1291" y="298"/>
                </a:cubicBezTo>
                <a:cubicBezTo>
                  <a:pt x="1291" y="297"/>
                  <a:pt x="1292" y="297"/>
                  <a:pt x="1292" y="297"/>
                </a:cubicBezTo>
                <a:cubicBezTo>
                  <a:pt x="1292" y="296"/>
                  <a:pt x="1296" y="294"/>
                  <a:pt x="1297" y="292"/>
                </a:cubicBezTo>
                <a:cubicBezTo>
                  <a:pt x="1296" y="292"/>
                  <a:pt x="1295" y="294"/>
                  <a:pt x="1295" y="294"/>
                </a:cubicBezTo>
                <a:cubicBezTo>
                  <a:pt x="1294" y="294"/>
                  <a:pt x="1294" y="295"/>
                  <a:pt x="1293" y="295"/>
                </a:cubicBezTo>
                <a:cubicBezTo>
                  <a:pt x="1291" y="295"/>
                  <a:pt x="1291" y="295"/>
                  <a:pt x="1291" y="296"/>
                </a:cubicBezTo>
                <a:cubicBezTo>
                  <a:pt x="1290" y="296"/>
                  <a:pt x="1288" y="296"/>
                  <a:pt x="1288" y="296"/>
                </a:cubicBezTo>
                <a:cubicBezTo>
                  <a:pt x="1286" y="295"/>
                  <a:pt x="1286" y="295"/>
                  <a:pt x="1285" y="294"/>
                </a:cubicBezTo>
                <a:cubicBezTo>
                  <a:pt x="1282" y="294"/>
                  <a:pt x="1283" y="296"/>
                  <a:pt x="1281" y="294"/>
                </a:cubicBezTo>
                <a:cubicBezTo>
                  <a:pt x="1280" y="293"/>
                  <a:pt x="1280" y="291"/>
                  <a:pt x="1278" y="293"/>
                </a:cubicBezTo>
                <a:cubicBezTo>
                  <a:pt x="1277" y="294"/>
                  <a:pt x="1274" y="295"/>
                  <a:pt x="1275" y="294"/>
                </a:cubicBezTo>
                <a:cubicBezTo>
                  <a:pt x="1274" y="293"/>
                  <a:pt x="1273" y="294"/>
                  <a:pt x="1273" y="292"/>
                </a:cubicBezTo>
                <a:cubicBezTo>
                  <a:pt x="1274" y="292"/>
                  <a:pt x="1273" y="292"/>
                  <a:pt x="1273" y="291"/>
                </a:cubicBezTo>
                <a:cubicBezTo>
                  <a:pt x="1273" y="291"/>
                  <a:pt x="1274" y="291"/>
                  <a:pt x="1274" y="291"/>
                </a:cubicBezTo>
                <a:cubicBezTo>
                  <a:pt x="1274" y="290"/>
                  <a:pt x="1275" y="289"/>
                  <a:pt x="1276" y="289"/>
                </a:cubicBezTo>
                <a:cubicBezTo>
                  <a:pt x="1279" y="289"/>
                  <a:pt x="1278" y="289"/>
                  <a:pt x="1280" y="288"/>
                </a:cubicBezTo>
                <a:cubicBezTo>
                  <a:pt x="1283" y="286"/>
                  <a:pt x="1282" y="287"/>
                  <a:pt x="1283" y="285"/>
                </a:cubicBezTo>
                <a:cubicBezTo>
                  <a:pt x="1284" y="285"/>
                  <a:pt x="1284" y="284"/>
                  <a:pt x="1284" y="284"/>
                </a:cubicBezTo>
                <a:cubicBezTo>
                  <a:pt x="1285" y="283"/>
                  <a:pt x="1284" y="284"/>
                  <a:pt x="1284" y="283"/>
                </a:cubicBezTo>
                <a:cubicBezTo>
                  <a:pt x="1283" y="283"/>
                  <a:pt x="1285" y="283"/>
                  <a:pt x="1284" y="281"/>
                </a:cubicBezTo>
                <a:cubicBezTo>
                  <a:pt x="1282" y="280"/>
                  <a:pt x="1282" y="282"/>
                  <a:pt x="1280" y="280"/>
                </a:cubicBezTo>
                <a:cubicBezTo>
                  <a:pt x="1280" y="280"/>
                  <a:pt x="1280" y="280"/>
                  <a:pt x="1281" y="280"/>
                </a:cubicBezTo>
                <a:cubicBezTo>
                  <a:pt x="1281" y="280"/>
                  <a:pt x="1282" y="279"/>
                  <a:pt x="1282" y="278"/>
                </a:cubicBezTo>
                <a:cubicBezTo>
                  <a:pt x="1282" y="278"/>
                  <a:pt x="1282" y="278"/>
                  <a:pt x="1281" y="277"/>
                </a:cubicBezTo>
                <a:cubicBezTo>
                  <a:pt x="1279" y="276"/>
                  <a:pt x="1281" y="275"/>
                  <a:pt x="1281" y="275"/>
                </a:cubicBezTo>
                <a:cubicBezTo>
                  <a:pt x="1281" y="274"/>
                  <a:pt x="1283" y="276"/>
                  <a:pt x="1283" y="276"/>
                </a:cubicBezTo>
                <a:cubicBezTo>
                  <a:pt x="1284" y="276"/>
                  <a:pt x="1288" y="276"/>
                  <a:pt x="1289" y="276"/>
                </a:cubicBezTo>
                <a:cubicBezTo>
                  <a:pt x="1290" y="275"/>
                  <a:pt x="1291" y="276"/>
                  <a:pt x="1292" y="276"/>
                </a:cubicBezTo>
                <a:cubicBezTo>
                  <a:pt x="1292" y="276"/>
                  <a:pt x="1295" y="275"/>
                  <a:pt x="1292" y="275"/>
                </a:cubicBezTo>
                <a:cubicBezTo>
                  <a:pt x="1292" y="274"/>
                  <a:pt x="1292" y="273"/>
                  <a:pt x="1292" y="273"/>
                </a:cubicBezTo>
                <a:cubicBezTo>
                  <a:pt x="1293" y="272"/>
                  <a:pt x="1293" y="272"/>
                  <a:pt x="1294" y="272"/>
                </a:cubicBezTo>
                <a:cubicBezTo>
                  <a:pt x="1294" y="272"/>
                  <a:pt x="1293" y="271"/>
                  <a:pt x="1293" y="271"/>
                </a:cubicBezTo>
                <a:cubicBezTo>
                  <a:pt x="1293" y="270"/>
                  <a:pt x="1294" y="269"/>
                  <a:pt x="1295" y="269"/>
                </a:cubicBezTo>
                <a:cubicBezTo>
                  <a:pt x="1296" y="267"/>
                  <a:pt x="1296" y="267"/>
                  <a:pt x="1294" y="267"/>
                </a:cubicBezTo>
                <a:cubicBezTo>
                  <a:pt x="1292" y="268"/>
                  <a:pt x="1293" y="268"/>
                  <a:pt x="1291" y="266"/>
                </a:cubicBezTo>
                <a:cubicBezTo>
                  <a:pt x="1290" y="266"/>
                  <a:pt x="1290" y="265"/>
                  <a:pt x="1290" y="264"/>
                </a:cubicBezTo>
                <a:cubicBezTo>
                  <a:pt x="1290" y="262"/>
                  <a:pt x="1290" y="262"/>
                  <a:pt x="1291" y="261"/>
                </a:cubicBezTo>
                <a:cubicBezTo>
                  <a:pt x="1290" y="258"/>
                  <a:pt x="1291" y="259"/>
                  <a:pt x="1289" y="259"/>
                </a:cubicBezTo>
                <a:cubicBezTo>
                  <a:pt x="1288" y="260"/>
                  <a:pt x="1287" y="261"/>
                  <a:pt x="1286" y="261"/>
                </a:cubicBezTo>
                <a:cubicBezTo>
                  <a:pt x="1285" y="259"/>
                  <a:pt x="1286" y="259"/>
                  <a:pt x="1283" y="259"/>
                </a:cubicBezTo>
                <a:cubicBezTo>
                  <a:pt x="1282" y="259"/>
                  <a:pt x="1283" y="260"/>
                  <a:pt x="1283" y="260"/>
                </a:cubicBezTo>
                <a:cubicBezTo>
                  <a:pt x="1284" y="260"/>
                  <a:pt x="1283" y="261"/>
                  <a:pt x="1283" y="261"/>
                </a:cubicBezTo>
                <a:cubicBezTo>
                  <a:pt x="1283" y="261"/>
                  <a:pt x="1281" y="261"/>
                  <a:pt x="1281" y="260"/>
                </a:cubicBezTo>
                <a:cubicBezTo>
                  <a:pt x="1279" y="258"/>
                  <a:pt x="1279" y="260"/>
                  <a:pt x="1279" y="260"/>
                </a:cubicBezTo>
                <a:cubicBezTo>
                  <a:pt x="1279" y="261"/>
                  <a:pt x="1277" y="261"/>
                  <a:pt x="1277" y="259"/>
                </a:cubicBezTo>
                <a:cubicBezTo>
                  <a:pt x="1276" y="258"/>
                  <a:pt x="1277" y="259"/>
                  <a:pt x="1278" y="257"/>
                </a:cubicBezTo>
                <a:cubicBezTo>
                  <a:pt x="1280" y="254"/>
                  <a:pt x="1279" y="256"/>
                  <a:pt x="1282" y="254"/>
                </a:cubicBezTo>
                <a:cubicBezTo>
                  <a:pt x="1283" y="253"/>
                  <a:pt x="1282" y="253"/>
                  <a:pt x="1282" y="253"/>
                </a:cubicBezTo>
                <a:cubicBezTo>
                  <a:pt x="1282" y="253"/>
                  <a:pt x="1281" y="251"/>
                  <a:pt x="1281" y="251"/>
                </a:cubicBezTo>
                <a:cubicBezTo>
                  <a:pt x="1280" y="250"/>
                  <a:pt x="1280" y="250"/>
                  <a:pt x="1280" y="249"/>
                </a:cubicBezTo>
                <a:cubicBezTo>
                  <a:pt x="1281" y="247"/>
                  <a:pt x="1281" y="249"/>
                  <a:pt x="1282" y="249"/>
                </a:cubicBezTo>
                <a:cubicBezTo>
                  <a:pt x="1283" y="248"/>
                  <a:pt x="1282" y="248"/>
                  <a:pt x="1281" y="248"/>
                </a:cubicBezTo>
                <a:cubicBezTo>
                  <a:pt x="1281" y="247"/>
                  <a:pt x="1281" y="247"/>
                  <a:pt x="1281" y="247"/>
                </a:cubicBezTo>
                <a:cubicBezTo>
                  <a:pt x="1280" y="247"/>
                  <a:pt x="1280" y="247"/>
                  <a:pt x="1280" y="247"/>
                </a:cubicBezTo>
                <a:cubicBezTo>
                  <a:pt x="1280" y="250"/>
                  <a:pt x="1279" y="248"/>
                  <a:pt x="1278" y="248"/>
                </a:cubicBezTo>
                <a:cubicBezTo>
                  <a:pt x="1277" y="248"/>
                  <a:pt x="1277" y="249"/>
                  <a:pt x="1277" y="250"/>
                </a:cubicBezTo>
                <a:cubicBezTo>
                  <a:pt x="1276" y="251"/>
                  <a:pt x="1277" y="251"/>
                  <a:pt x="1277" y="251"/>
                </a:cubicBezTo>
                <a:cubicBezTo>
                  <a:pt x="1277" y="252"/>
                  <a:pt x="1279" y="253"/>
                  <a:pt x="1277" y="254"/>
                </a:cubicBezTo>
                <a:cubicBezTo>
                  <a:pt x="1277" y="254"/>
                  <a:pt x="1277" y="254"/>
                  <a:pt x="1276" y="254"/>
                </a:cubicBezTo>
                <a:cubicBezTo>
                  <a:pt x="1276" y="253"/>
                  <a:pt x="1276" y="252"/>
                  <a:pt x="1276" y="252"/>
                </a:cubicBezTo>
                <a:cubicBezTo>
                  <a:pt x="1274" y="252"/>
                  <a:pt x="1275" y="252"/>
                  <a:pt x="1275" y="253"/>
                </a:cubicBezTo>
                <a:cubicBezTo>
                  <a:pt x="1275" y="255"/>
                  <a:pt x="1275" y="255"/>
                  <a:pt x="1273" y="255"/>
                </a:cubicBezTo>
                <a:cubicBezTo>
                  <a:pt x="1272" y="255"/>
                  <a:pt x="1273" y="254"/>
                  <a:pt x="1273" y="254"/>
                </a:cubicBezTo>
                <a:cubicBezTo>
                  <a:pt x="1273" y="253"/>
                  <a:pt x="1274" y="252"/>
                  <a:pt x="1275" y="251"/>
                </a:cubicBezTo>
                <a:cubicBezTo>
                  <a:pt x="1275" y="250"/>
                  <a:pt x="1275" y="249"/>
                  <a:pt x="1277" y="249"/>
                </a:cubicBezTo>
                <a:cubicBezTo>
                  <a:pt x="1277" y="249"/>
                  <a:pt x="1277" y="248"/>
                  <a:pt x="1277" y="247"/>
                </a:cubicBezTo>
                <a:cubicBezTo>
                  <a:pt x="1278" y="247"/>
                  <a:pt x="1278" y="248"/>
                  <a:pt x="1279" y="246"/>
                </a:cubicBezTo>
                <a:cubicBezTo>
                  <a:pt x="1278" y="246"/>
                  <a:pt x="1277" y="247"/>
                  <a:pt x="1277" y="248"/>
                </a:cubicBezTo>
                <a:cubicBezTo>
                  <a:pt x="1277" y="248"/>
                  <a:pt x="1276" y="248"/>
                  <a:pt x="1276" y="248"/>
                </a:cubicBezTo>
                <a:cubicBezTo>
                  <a:pt x="1275" y="248"/>
                  <a:pt x="1275" y="248"/>
                  <a:pt x="1275" y="249"/>
                </a:cubicBezTo>
                <a:cubicBezTo>
                  <a:pt x="1275" y="250"/>
                  <a:pt x="1274" y="251"/>
                  <a:pt x="1274" y="250"/>
                </a:cubicBezTo>
                <a:cubicBezTo>
                  <a:pt x="1274" y="250"/>
                  <a:pt x="1275" y="247"/>
                  <a:pt x="1275" y="247"/>
                </a:cubicBezTo>
                <a:cubicBezTo>
                  <a:pt x="1274" y="246"/>
                  <a:pt x="1276" y="245"/>
                  <a:pt x="1275" y="244"/>
                </a:cubicBezTo>
                <a:cubicBezTo>
                  <a:pt x="1275" y="243"/>
                  <a:pt x="1277" y="243"/>
                  <a:pt x="1277" y="243"/>
                </a:cubicBezTo>
                <a:cubicBezTo>
                  <a:pt x="1278" y="242"/>
                  <a:pt x="1276" y="242"/>
                  <a:pt x="1278" y="241"/>
                </a:cubicBezTo>
                <a:cubicBezTo>
                  <a:pt x="1281" y="240"/>
                  <a:pt x="1279" y="239"/>
                  <a:pt x="1278" y="240"/>
                </a:cubicBezTo>
                <a:cubicBezTo>
                  <a:pt x="1278" y="240"/>
                  <a:pt x="1278" y="240"/>
                  <a:pt x="1277" y="240"/>
                </a:cubicBezTo>
                <a:cubicBezTo>
                  <a:pt x="1277" y="240"/>
                  <a:pt x="1277" y="241"/>
                  <a:pt x="1276" y="241"/>
                </a:cubicBezTo>
                <a:cubicBezTo>
                  <a:pt x="1275" y="241"/>
                  <a:pt x="1276" y="241"/>
                  <a:pt x="1276" y="242"/>
                </a:cubicBezTo>
                <a:cubicBezTo>
                  <a:pt x="1275" y="242"/>
                  <a:pt x="1274" y="242"/>
                  <a:pt x="1274" y="243"/>
                </a:cubicBezTo>
                <a:cubicBezTo>
                  <a:pt x="1274" y="244"/>
                  <a:pt x="1273" y="244"/>
                  <a:pt x="1272" y="244"/>
                </a:cubicBezTo>
                <a:cubicBezTo>
                  <a:pt x="1272" y="245"/>
                  <a:pt x="1271" y="244"/>
                  <a:pt x="1271" y="244"/>
                </a:cubicBezTo>
                <a:cubicBezTo>
                  <a:pt x="1270" y="244"/>
                  <a:pt x="1271" y="244"/>
                  <a:pt x="1272" y="243"/>
                </a:cubicBezTo>
                <a:cubicBezTo>
                  <a:pt x="1272" y="243"/>
                  <a:pt x="1271" y="244"/>
                  <a:pt x="1270" y="242"/>
                </a:cubicBezTo>
                <a:cubicBezTo>
                  <a:pt x="1268" y="241"/>
                  <a:pt x="1270" y="241"/>
                  <a:pt x="1272" y="241"/>
                </a:cubicBezTo>
                <a:cubicBezTo>
                  <a:pt x="1273" y="241"/>
                  <a:pt x="1273" y="242"/>
                  <a:pt x="1273" y="242"/>
                </a:cubicBezTo>
                <a:cubicBezTo>
                  <a:pt x="1273" y="242"/>
                  <a:pt x="1273" y="241"/>
                  <a:pt x="1274" y="241"/>
                </a:cubicBezTo>
                <a:cubicBezTo>
                  <a:pt x="1275" y="240"/>
                  <a:pt x="1273" y="241"/>
                  <a:pt x="1273" y="241"/>
                </a:cubicBezTo>
                <a:cubicBezTo>
                  <a:pt x="1273" y="241"/>
                  <a:pt x="1272" y="240"/>
                  <a:pt x="1272" y="240"/>
                </a:cubicBezTo>
                <a:cubicBezTo>
                  <a:pt x="1272" y="239"/>
                  <a:pt x="1273" y="240"/>
                  <a:pt x="1273" y="240"/>
                </a:cubicBezTo>
                <a:cubicBezTo>
                  <a:pt x="1274" y="239"/>
                  <a:pt x="1274" y="239"/>
                  <a:pt x="1275" y="239"/>
                </a:cubicBezTo>
                <a:cubicBezTo>
                  <a:pt x="1275" y="239"/>
                  <a:pt x="1275" y="239"/>
                  <a:pt x="1274" y="239"/>
                </a:cubicBezTo>
                <a:cubicBezTo>
                  <a:pt x="1273" y="238"/>
                  <a:pt x="1274" y="238"/>
                  <a:pt x="1275" y="238"/>
                </a:cubicBezTo>
                <a:cubicBezTo>
                  <a:pt x="1276" y="238"/>
                  <a:pt x="1275" y="237"/>
                  <a:pt x="1275" y="236"/>
                </a:cubicBezTo>
                <a:cubicBezTo>
                  <a:pt x="1276" y="236"/>
                  <a:pt x="1276" y="236"/>
                  <a:pt x="1276" y="236"/>
                </a:cubicBezTo>
                <a:cubicBezTo>
                  <a:pt x="1277" y="236"/>
                  <a:pt x="1276" y="235"/>
                  <a:pt x="1275" y="235"/>
                </a:cubicBezTo>
                <a:cubicBezTo>
                  <a:pt x="1275" y="234"/>
                  <a:pt x="1276" y="235"/>
                  <a:pt x="1276" y="235"/>
                </a:cubicBezTo>
                <a:cubicBezTo>
                  <a:pt x="1277" y="234"/>
                  <a:pt x="1277" y="234"/>
                  <a:pt x="1276" y="234"/>
                </a:cubicBezTo>
                <a:cubicBezTo>
                  <a:pt x="1276" y="233"/>
                  <a:pt x="1274" y="233"/>
                  <a:pt x="1274" y="233"/>
                </a:cubicBezTo>
                <a:cubicBezTo>
                  <a:pt x="1274" y="232"/>
                  <a:pt x="1276" y="233"/>
                  <a:pt x="1276" y="232"/>
                </a:cubicBezTo>
                <a:cubicBezTo>
                  <a:pt x="1277" y="232"/>
                  <a:pt x="1275" y="232"/>
                  <a:pt x="1275" y="230"/>
                </a:cubicBezTo>
                <a:cubicBezTo>
                  <a:pt x="1275" y="229"/>
                  <a:pt x="1276" y="229"/>
                  <a:pt x="1276" y="229"/>
                </a:cubicBezTo>
                <a:close/>
                <a:moveTo>
                  <a:pt x="1307" y="303"/>
                </a:moveTo>
                <a:cubicBezTo>
                  <a:pt x="1307" y="303"/>
                  <a:pt x="1308" y="304"/>
                  <a:pt x="1308" y="304"/>
                </a:cubicBezTo>
                <a:cubicBezTo>
                  <a:pt x="1307" y="304"/>
                  <a:pt x="1307" y="305"/>
                  <a:pt x="1306" y="305"/>
                </a:cubicBezTo>
                <a:cubicBezTo>
                  <a:pt x="1305" y="305"/>
                  <a:pt x="1305" y="306"/>
                  <a:pt x="1305" y="305"/>
                </a:cubicBezTo>
                <a:cubicBezTo>
                  <a:pt x="1304" y="304"/>
                  <a:pt x="1304" y="304"/>
                  <a:pt x="1305" y="303"/>
                </a:cubicBezTo>
                <a:cubicBezTo>
                  <a:pt x="1305" y="303"/>
                  <a:pt x="1306" y="302"/>
                  <a:pt x="1307" y="303"/>
                </a:cubicBezTo>
                <a:close/>
                <a:moveTo>
                  <a:pt x="1270" y="235"/>
                </a:moveTo>
                <a:cubicBezTo>
                  <a:pt x="1270" y="236"/>
                  <a:pt x="1269" y="235"/>
                  <a:pt x="1269" y="235"/>
                </a:cubicBezTo>
                <a:cubicBezTo>
                  <a:pt x="1268" y="235"/>
                  <a:pt x="1269" y="234"/>
                  <a:pt x="1268" y="234"/>
                </a:cubicBezTo>
                <a:cubicBezTo>
                  <a:pt x="1268" y="233"/>
                  <a:pt x="1267" y="233"/>
                  <a:pt x="1267" y="233"/>
                </a:cubicBezTo>
                <a:cubicBezTo>
                  <a:pt x="1267" y="233"/>
                  <a:pt x="1268" y="232"/>
                  <a:pt x="1268" y="232"/>
                </a:cubicBezTo>
                <a:cubicBezTo>
                  <a:pt x="1269" y="232"/>
                  <a:pt x="1269" y="232"/>
                  <a:pt x="1269" y="231"/>
                </a:cubicBezTo>
                <a:cubicBezTo>
                  <a:pt x="1269" y="230"/>
                  <a:pt x="1270" y="230"/>
                  <a:pt x="1271" y="230"/>
                </a:cubicBezTo>
                <a:cubicBezTo>
                  <a:pt x="1272" y="230"/>
                  <a:pt x="1271" y="232"/>
                  <a:pt x="1271" y="233"/>
                </a:cubicBezTo>
                <a:cubicBezTo>
                  <a:pt x="1271" y="233"/>
                  <a:pt x="1271" y="234"/>
                  <a:pt x="1272" y="234"/>
                </a:cubicBezTo>
                <a:cubicBezTo>
                  <a:pt x="1272" y="234"/>
                  <a:pt x="1272" y="234"/>
                  <a:pt x="1273" y="234"/>
                </a:cubicBezTo>
                <a:cubicBezTo>
                  <a:pt x="1274" y="234"/>
                  <a:pt x="1274" y="235"/>
                  <a:pt x="1274" y="235"/>
                </a:cubicBezTo>
                <a:cubicBezTo>
                  <a:pt x="1274" y="236"/>
                  <a:pt x="1273" y="238"/>
                  <a:pt x="1272" y="237"/>
                </a:cubicBezTo>
                <a:cubicBezTo>
                  <a:pt x="1272" y="236"/>
                  <a:pt x="1271" y="235"/>
                  <a:pt x="1270" y="235"/>
                </a:cubicBezTo>
                <a:close/>
                <a:moveTo>
                  <a:pt x="1270" y="237"/>
                </a:moveTo>
                <a:cubicBezTo>
                  <a:pt x="1270" y="238"/>
                  <a:pt x="1269" y="238"/>
                  <a:pt x="1269" y="238"/>
                </a:cubicBezTo>
                <a:cubicBezTo>
                  <a:pt x="1269" y="238"/>
                  <a:pt x="1269" y="237"/>
                  <a:pt x="1269" y="237"/>
                </a:cubicBezTo>
                <a:cubicBezTo>
                  <a:pt x="1270" y="237"/>
                  <a:pt x="1271" y="237"/>
                  <a:pt x="1270" y="237"/>
                </a:cubicBezTo>
                <a:close/>
                <a:moveTo>
                  <a:pt x="1310" y="205"/>
                </a:moveTo>
                <a:cubicBezTo>
                  <a:pt x="1309" y="205"/>
                  <a:pt x="1309" y="206"/>
                  <a:pt x="1309" y="205"/>
                </a:cubicBezTo>
                <a:cubicBezTo>
                  <a:pt x="1309" y="204"/>
                  <a:pt x="1311" y="203"/>
                  <a:pt x="1311" y="203"/>
                </a:cubicBezTo>
                <a:cubicBezTo>
                  <a:pt x="1311" y="202"/>
                  <a:pt x="1311" y="202"/>
                  <a:pt x="1310" y="202"/>
                </a:cubicBezTo>
                <a:cubicBezTo>
                  <a:pt x="1311" y="201"/>
                  <a:pt x="1311" y="201"/>
                  <a:pt x="1312" y="201"/>
                </a:cubicBezTo>
                <a:cubicBezTo>
                  <a:pt x="1311" y="200"/>
                  <a:pt x="1313" y="202"/>
                  <a:pt x="1313" y="202"/>
                </a:cubicBezTo>
                <a:cubicBezTo>
                  <a:pt x="1315" y="200"/>
                  <a:pt x="1314" y="200"/>
                  <a:pt x="1317" y="199"/>
                </a:cubicBezTo>
                <a:cubicBezTo>
                  <a:pt x="1317" y="201"/>
                  <a:pt x="1314" y="201"/>
                  <a:pt x="1314" y="202"/>
                </a:cubicBezTo>
                <a:cubicBezTo>
                  <a:pt x="1314" y="203"/>
                  <a:pt x="1314" y="204"/>
                  <a:pt x="1314" y="204"/>
                </a:cubicBezTo>
                <a:cubicBezTo>
                  <a:pt x="1313" y="205"/>
                  <a:pt x="1313" y="204"/>
                  <a:pt x="1313" y="205"/>
                </a:cubicBezTo>
                <a:cubicBezTo>
                  <a:pt x="1313" y="205"/>
                  <a:pt x="1313" y="205"/>
                  <a:pt x="1313" y="205"/>
                </a:cubicBezTo>
                <a:cubicBezTo>
                  <a:pt x="1313" y="205"/>
                  <a:pt x="1313" y="206"/>
                  <a:pt x="1313" y="208"/>
                </a:cubicBezTo>
                <a:cubicBezTo>
                  <a:pt x="1314" y="209"/>
                  <a:pt x="1313" y="208"/>
                  <a:pt x="1311" y="208"/>
                </a:cubicBezTo>
                <a:cubicBezTo>
                  <a:pt x="1310" y="208"/>
                  <a:pt x="1312" y="208"/>
                  <a:pt x="1312" y="207"/>
                </a:cubicBezTo>
                <a:cubicBezTo>
                  <a:pt x="1312" y="205"/>
                  <a:pt x="1312" y="205"/>
                  <a:pt x="1312" y="205"/>
                </a:cubicBezTo>
                <a:cubicBezTo>
                  <a:pt x="1312" y="205"/>
                  <a:pt x="1312" y="205"/>
                  <a:pt x="1312" y="205"/>
                </a:cubicBezTo>
                <a:cubicBezTo>
                  <a:pt x="1311" y="206"/>
                  <a:pt x="1310" y="206"/>
                  <a:pt x="1310" y="206"/>
                </a:cubicBezTo>
                <a:cubicBezTo>
                  <a:pt x="1310" y="205"/>
                  <a:pt x="1311" y="205"/>
                  <a:pt x="1310" y="205"/>
                </a:cubicBezTo>
                <a:close/>
                <a:moveTo>
                  <a:pt x="1254" y="230"/>
                </a:moveTo>
                <a:cubicBezTo>
                  <a:pt x="1253" y="230"/>
                  <a:pt x="1252" y="229"/>
                  <a:pt x="1252" y="229"/>
                </a:cubicBezTo>
                <a:cubicBezTo>
                  <a:pt x="1252" y="229"/>
                  <a:pt x="1252" y="229"/>
                  <a:pt x="1252" y="228"/>
                </a:cubicBezTo>
                <a:cubicBezTo>
                  <a:pt x="1252" y="228"/>
                  <a:pt x="1253" y="228"/>
                  <a:pt x="1253" y="228"/>
                </a:cubicBezTo>
                <a:cubicBezTo>
                  <a:pt x="1254" y="228"/>
                  <a:pt x="1254" y="230"/>
                  <a:pt x="1254" y="230"/>
                </a:cubicBezTo>
                <a:close/>
                <a:moveTo>
                  <a:pt x="1282" y="267"/>
                </a:moveTo>
                <a:cubicBezTo>
                  <a:pt x="1280" y="268"/>
                  <a:pt x="1280" y="268"/>
                  <a:pt x="1280" y="268"/>
                </a:cubicBezTo>
                <a:cubicBezTo>
                  <a:pt x="1279" y="268"/>
                  <a:pt x="1279" y="267"/>
                  <a:pt x="1279" y="267"/>
                </a:cubicBezTo>
                <a:cubicBezTo>
                  <a:pt x="1280" y="266"/>
                  <a:pt x="1280" y="266"/>
                  <a:pt x="1281" y="266"/>
                </a:cubicBezTo>
                <a:cubicBezTo>
                  <a:pt x="1281" y="266"/>
                  <a:pt x="1281" y="265"/>
                  <a:pt x="1281" y="265"/>
                </a:cubicBezTo>
                <a:cubicBezTo>
                  <a:pt x="1282" y="265"/>
                  <a:pt x="1283" y="264"/>
                  <a:pt x="1283" y="264"/>
                </a:cubicBezTo>
                <a:cubicBezTo>
                  <a:pt x="1283" y="264"/>
                  <a:pt x="1284" y="265"/>
                  <a:pt x="1284" y="265"/>
                </a:cubicBezTo>
                <a:cubicBezTo>
                  <a:pt x="1284" y="265"/>
                  <a:pt x="1282" y="267"/>
                  <a:pt x="1282" y="267"/>
                </a:cubicBezTo>
                <a:close/>
                <a:moveTo>
                  <a:pt x="1270" y="249"/>
                </a:moveTo>
                <a:cubicBezTo>
                  <a:pt x="1272" y="248"/>
                  <a:pt x="1271" y="248"/>
                  <a:pt x="1272" y="248"/>
                </a:cubicBezTo>
                <a:cubicBezTo>
                  <a:pt x="1272" y="247"/>
                  <a:pt x="1273" y="246"/>
                  <a:pt x="1273" y="247"/>
                </a:cubicBezTo>
                <a:cubicBezTo>
                  <a:pt x="1273" y="248"/>
                  <a:pt x="1273" y="248"/>
                  <a:pt x="1272" y="249"/>
                </a:cubicBezTo>
                <a:cubicBezTo>
                  <a:pt x="1272" y="249"/>
                  <a:pt x="1269" y="250"/>
                  <a:pt x="1270" y="249"/>
                </a:cubicBezTo>
                <a:close/>
                <a:moveTo>
                  <a:pt x="1261" y="235"/>
                </a:moveTo>
                <a:cubicBezTo>
                  <a:pt x="1261" y="235"/>
                  <a:pt x="1260" y="235"/>
                  <a:pt x="1261" y="234"/>
                </a:cubicBezTo>
                <a:cubicBezTo>
                  <a:pt x="1261" y="234"/>
                  <a:pt x="1262" y="234"/>
                  <a:pt x="1262" y="234"/>
                </a:cubicBezTo>
                <a:cubicBezTo>
                  <a:pt x="1261" y="231"/>
                  <a:pt x="1261" y="231"/>
                  <a:pt x="1261" y="231"/>
                </a:cubicBezTo>
                <a:cubicBezTo>
                  <a:pt x="1261" y="231"/>
                  <a:pt x="1262" y="230"/>
                  <a:pt x="1263" y="230"/>
                </a:cubicBezTo>
                <a:cubicBezTo>
                  <a:pt x="1266" y="230"/>
                  <a:pt x="1263" y="231"/>
                  <a:pt x="1263" y="232"/>
                </a:cubicBezTo>
                <a:cubicBezTo>
                  <a:pt x="1264" y="232"/>
                  <a:pt x="1263" y="235"/>
                  <a:pt x="1262" y="234"/>
                </a:cubicBezTo>
                <a:cubicBezTo>
                  <a:pt x="1262" y="234"/>
                  <a:pt x="1262" y="234"/>
                  <a:pt x="1262" y="234"/>
                </a:cubicBezTo>
                <a:cubicBezTo>
                  <a:pt x="1262" y="235"/>
                  <a:pt x="1262" y="234"/>
                  <a:pt x="1261" y="235"/>
                </a:cubicBezTo>
                <a:cubicBezTo>
                  <a:pt x="1262" y="236"/>
                  <a:pt x="1261" y="239"/>
                  <a:pt x="1260" y="237"/>
                </a:cubicBezTo>
                <a:cubicBezTo>
                  <a:pt x="1261" y="237"/>
                  <a:pt x="1261" y="236"/>
                  <a:pt x="1261" y="235"/>
                </a:cubicBezTo>
                <a:close/>
                <a:moveTo>
                  <a:pt x="1270" y="250"/>
                </a:moveTo>
                <a:cubicBezTo>
                  <a:pt x="1271" y="250"/>
                  <a:pt x="1270" y="249"/>
                  <a:pt x="1270" y="251"/>
                </a:cubicBezTo>
                <a:cubicBezTo>
                  <a:pt x="1270" y="253"/>
                  <a:pt x="1268" y="253"/>
                  <a:pt x="1268" y="251"/>
                </a:cubicBezTo>
                <a:cubicBezTo>
                  <a:pt x="1268" y="251"/>
                  <a:pt x="1267" y="250"/>
                  <a:pt x="1268" y="250"/>
                </a:cubicBezTo>
                <a:cubicBezTo>
                  <a:pt x="1269" y="249"/>
                  <a:pt x="1269" y="249"/>
                  <a:pt x="1270" y="250"/>
                </a:cubicBezTo>
                <a:close/>
                <a:moveTo>
                  <a:pt x="1238" y="294"/>
                </a:moveTo>
                <a:cubicBezTo>
                  <a:pt x="1239" y="294"/>
                  <a:pt x="1243" y="294"/>
                  <a:pt x="1245" y="293"/>
                </a:cubicBezTo>
                <a:cubicBezTo>
                  <a:pt x="1249" y="292"/>
                  <a:pt x="1247" y="292"/>
                  <a:pt x="1248" y="291"/>
                </a:cubicBezTo>
                <a:cubicBezTo>
                  <a:pt x="1249" y="291"/>
                  <a:pt x="1254" y="290"/>
                  <a:pt x="1254" y="290"/>
                </a:cubicBezTo>
                <a:cubicBezTo>
                  <a:pt x="1257" y="288"/>
                  <a:pt x="1257" y="288"/>
                  <a:pt x="1257" y="288"/>
                </a:cubicBezTo>
                <a:cubicBezTo>
                  <a:pt x="1257" y="288"/>
                  <a:pt x="1263" y="288"/>
                  <a:pt x="1264" y="288"/>
                </a:cubicBezTo>
                <a:cubicBezTo>
                  <a:pt x="1264" y="287"/>
                  <a:pt x="1264" y="287"/>
                  <a:pt x="1264" y="287"/>
                </a:cubicBezTo>
                <a:cubicBezTo>
                  <a:pt x="1264" y="286"/>
                  <a:pt x="1266" y="286"/>
                  <a:pt x="1265" y="283"/>
                </a:cubicBezTo>
                <a:cubicBezTo>
                  <a:pt x="1267" y="281"/>
                  <a:pt x="1267" y="281"/>
                  <a:pt x="1267" y="281"/>
                </a:cubicBezTo>
                <a:cubicBezTo>
                  <a:pt x="1268" y="278"/>
                  <a:pt x="1268" y="278"/>
                  <a:pt x="1268" y="278"/>
                </a:cubicBezTo>
                <a:cubicBezTo>
                  <a:pt x="1269" y="277"/>
                  <a:pt x="1269" y="277"/>
                  <a:pt x="1269" y="277"/>
                </a:cubicBezTo>
                <a:cubicBezTo>
                  <a:pt x="1267" y="274"/>
                  <a:pt x="1267" y="274"/>
                  <a:pt x="1267" y="274"/>
                </a:cubicBezTo>
                <a:cubicBezTo>
                  <a:pt x="1268" y="272"/>
                  <a:pt x="1268" y="272"/>
                  <a:pt x="1268" y="272"/>
                </a:cubicBezTo>
                <a:cubicBezTo>
                  <a:pt x="1266" y="269"/>
                  <a:pt x="1267" y="270"/>
                  <a:pt x="1267" y="267"/>
                </a:cubicBezTo>
                <a:cubicBezTo>
                  <a:pt x="1267" y="267"/>
                  <a:pt x="1267" y="268"/>
                  <a:pt x="1267" y="268"/>
                </a:cubicBezTo>
                <a:cubicBezTo>
                  <a:pt x="1268" y="268"/>
                  <a:pt x="1269" y="268"/>
                  <a:pt x="1269" y="268"/>
                </a:cubicBezTo>
                <a:cubicBezTo>
                  <a:pt x="1269" y="268"/>
                  <a:pt x="1269" y="267"/>
                  <a:pt x="1270" y="267"/>
                </a:cubicBezTo>
                <a:cubicBezTo>
                  <a:pt x="1270" y="266"/>
                  <a:pt x="1271" y="267"/>
                  <a:pt x="1273" y="265"/>
                </a:cubicBezTo>
                <a:cubicBezTo>
                  <a:pt x="1273" y="264"/>
                  <a:pt x="1272" y="263"/>
                  <a:pt x="1273" y="262"/>
                </a:cubicBezTo>
                <a:cubicBezTo>
                  <a:pt x="1273" y="261"/>
                  <a:pt x="1273" y="261"/>
                  <a:pt x="1272" y="260"/>
                </a:cubicBezTo>
                <a:cubicBezTo>
                  <a:pt x="1270" y="259"/>
                  <a:pt x="1271" y="256"/>
                  <a:pt x="1268" y="256"/>
                </a:cubicBezTo>
                <a:cubicBezTo>
                  <a:pt x="1266" y="256"/>
                  <a:pt x="1267" y="256"/>
                  <a:pt x="1265" y="256"/>
                </a:cubicBezTo>
                <a:cubicBezTo>
                  <a:pt x="1264" y="256"/>
                  <a:pt x="1265" y="256"/>
                  <a:pt x="1262" y="256"/>
                </a:cubicBezTo>
                <a:cubicBezTo>
                  <a:pt x="1262" y="256"/>
                  <a:pt x="1262" y="256"/>
                  <a:pt x="1262" y="256"/>
                </a:cubicBezTo>
                <a:cubicBezTo>
                  <a:pt x="1262" y="256"/>
                  <a:pt x="1262" y="256"/>
                  <a:pt x="1262" y="256"/>
                </a:cubicBezTo>
                <a:cubicBezTo>
                  <a:pt x="1262" y="255"/>
                  <a:pt x="1261" y="254"/>
                  <a:pt x="1260" y="254"/>
                </a:cubicBezTo>
                <a:cubicBezTo>
                  <a:pt x="1258" y="254"/>
                  <a:pt x="1259" y="254"/>
                  <a:pt x="1257" y="255"/>
                </a:cubicBezTo>
                <a:cubicBezTo>
                  <a:pt x="1255" y="256"/>
                  <a:pt x="1255" y="256"/>
                  <a:pt x="1255" y="256"/>
                </a:cubicBezTo>
                <a:cubicBezTo>
                  <a:pt x="1253" y="256"/>
                  <a:pt x="1253" y="256"/>
                  <a:pt x="1253" y="256"/>
                </a:cubicBezTo>
                <a:cubicBezTo>
                  <a:pt x="1250" y="259"/>
                  <a:pt x="1250" y="259"/>
                  <a:pt x="1250" y="259"/>
                </a:cubicBezTo>
                <a:cubicBezTo>
                  <a:pt x="1250" y="259"/>
                  <a:pt x="1247" y="261"/>
                  <a:pt x="1247" y="262"/>
                </a:cubicBezTo>
                <a:cubicBezTo>
                  <a:pt x="1247" y="262"/>
                  <a:pt x="1250" y="262"/>
                  <a:pt x="1251" y="263"/>
                </a:cubicBezTo>
                <a:cubicBezTo>
                  <a:pt x="1251" y="263"/>
                  <a:pt x="1252" y="263"/>
                  <a:pt x="1251" y="263"/>
                </a:cubicBezTo>
                <a:cubicBezTo>
                  <a:pt x="1250" y="265"/>
                  <a:pt x="1250" y="264"/>
                  <a:pt x="1249" y="265"/>
                </a:cubicBezTo>
                <a:cubicBezTo>
                  <a:pt x="1248" y="265"/>
                  <a:pt x="1250" y="266"/>
                  <a:pt x="1246" y="266"/>
                </a:cubicBezTo>
                <a:cubicBezTo>
                  <a:pt x="1244" y="266"/>
                  <a:pt x="1244" y="267"/>
                  <a:pt x="1243" y="266"/>
                </a:cubicBezTo>
                <a:cubicBezTo>
                  <a:pt x="1240" y="265"/>
                  <a:pt x="1241" y="265"/>
                  <a:pt x="1240" y="265"/>
                </a:cubicBezTo>
                <a:cubicBezTo>
                  <a:pt x="1240" y="266"/>
                  <a:pt x="1237" y="265"/>
                  <a:pt x="1235" y="266"/>
                </a:cubicBezTo>
                <a:cubicBezTo>
                  <a:pt x="1235" y="266"/>
                  <a:pt x="1234" y="268"/>
                  <a:pt x="1234" y="268"/>
                </a:cubicBezTo>
                <a:cubicBezTo>
                  <a:pt x="1234" y="269"/>
                  <a:pt x="1235" y="269"/>
                  <a:pt x="1235" y="269"/>
                </a:cubicBezTo>
                <a:cubicBezTo>
                  <a:pt x="1237" y="270"/>
                  <a:pt x="1237" y="270"/>
                  <a:pt x="1237" y="270"/>
                </a:cubicBezTo>
                <a:cubicBezTo>
                  <a:pt x="1237" y="270"/>
                  <a:pt x="1237" y="270"/>
                  <a:pt x="1237" y="271"/>
                </a:cubicBezTo>
                <a:cubicBezTo>
                  <a:pt x="1237" y="272"/>
                  <a:pt x="1236" y="272"/>
                  <a:pt x="1236" y="272"/>
                </a:cubicBezTo>
                <a:cubicBezTo>
                  <a:pt x="1235" y="273"/>
                  <a:pt x="1235" y="273"/>
                  <a:pt x="1235" y="273"/>
                </a:cubicBezTo>
                <a:cubicBezTo>
                  <a:pt x="1235" y="273"/>
                  <a:pt x="1238" y="275"/>
                  <a:pt x="1238" y="276"/>
                </a:cubicBezTo>
                <a:cubicBezTo>
                  <a:pt x="1239" y="277"/>
                  <a:pt x="1239" y="276"/>
                  <a:pt x="1243" y="276"/>
                </a:cubicBezTo>
                <a:cubicBezTo>
                  <a:pt x="1242" y="278"/>
                  <a:pt x="1240" y="277"/>
                  <a:pt x="1242" y="278"/>
                </a:cubicBezTo>
                <a:cubicBezTo>
                  <a:pt x="1242" y="278"/>
                  <a:pt x="1241" y="279"/>
                  <a:pt x="1240" y="279"/>
                </a:cubicBezTo>
                <a:cubicBezTo>
                  <a:pt x="1239" y="280"/>
                  <a:pt x="1239" y="281"/>
                  <a:pt x="1238" y="282"/>
                </a:cubicBezTo>
                <a:cubicBezTo>
                  <a:pt x="1237" y="282"/>
                  <a:pt x="1236" y="284"/>
                  <a:pt x="1236" y="286"/>
                </a:cubicBezTo>
                <a:cubicBezTo>
                  <a:pt x="1236" y="286"/>
                  <a:pt x="1235" y="286"/>
                  <a:pt x="1234" y="286"/>
                </a:cubicBezTo>
                <a:cubicBezTo>
                  <a:pt x="1233" y="286"/>
                  <a:pt x="1231" y="287"/>
                  <a:pt x="1230" y="287"/>
                </a:cubicBezTo>
                <a:cubicBezTo>
                  <a:pt x="1230" y="287"/>
                  <a:pt x="1231" y="288"/>
                  <a:pt x="1231" y="288"/>
                </a:cubicBezTo>
                <a:cubicBezTo>
                  <a:pt x="1234" y="288"/>
                  <a:pt x="1234" y="288"/>
                  <a:pt x="1233" y="289"/>
                </a:cubicBezTo>
                <a:cubicBezTo>
                  <a:pt x="1232" y="290"/>
                  <a:pt x="1232" y="289"/>
                  <a:pt x="1230" y="290"/>
                </a:cubicBezTo>
                <a:cubicBezTo>
                  <a:pt x="1231" y="292"/>
                  <a:pt x="1231" y="292"/>
                  <a:pt x="1233" y="291"/>
                </a:cubicBezTo>
                <a:cubicBezTo>
                  <a:pt x="1234" y="292"/>
                  <a:pt x="1234" y="292"/>
                  <a:pt x="1234" y="292"/>
                </a:cubicBezTo>
                <a:cubicBezTo>
                  <a:pt x="1233" y="292"/>
                  <a:pt x="1233" y="292"/>
                  <a:pt x="1233" y="292"/>
                </a:cubicBezTo>
                <a:cubicBezTo>
                  <a:pt x="1232" y="294"/>
                  <a:pt x="1232" y="294"/>
                  <a:pt x="1232" y="294"/>
                </a:cubicBezTo>
                <a:cubicBezTo>
                  <a:pt x="1235" y="294"/>
                  <a:pt x="1234" y="294"/>
                  <a:pt x="1236" y="293"/>
                </a:cubicBezTo>
                <a:cubicBezTo>
                  <a:pt x="1235" y="295"/>
                  <a:pt x="1235" y="295"/>
                  <a:pt x="1235" y="295"/>
                </a:cubicBezTo>
                <a:cubicBezTo>
                  <a:pt x="1236" y="295"/>
                  <a:pt x="1237" y="295"/>
                  <a:pt x="1238" y="294"/>
                </a:cubicBezTo>
                <a:close/>
                <a:moveTo>
                  <a:pt x="1258" y="267"/>
                </a:moveTo>
                <a:cubicBezTo>
                  <a:pt x="1258" y="267"/>
                  <a:pt x="1259" y="267"/>
                  <a:pt x="1259" y="267"/>
                </a:cubicBezTo>
                <a:cubicBezTo>
                  <a:pt x="1259" y="267"/>
                  <a:pt x="1258" y="267"/>
                  <a:pt x="1258" y="267"/>
                </a:cubicBezTo>
                <a:close/>
                <a:moveTo>
                  <a:pt x="1259" y="267"/>
                </a:moveTo>
                <a:cubicBezTo>
                  <a:pt x="1259" y="267"/>
                  <a:pt x="1259" y="267"/>
                  <a:pt x="1259" y="266"/>
                </a:cubicBezTo>
                <a:cubicBezTo>
                  <a:pt x="1259" y="267"/>
                  <a:pt x="1259" y="267"/>
                  <a:pt x="1259" y="267"/>
                </a:cubicBezTo>
                <a:close/>
                <a:moveTo>
                  <a:pt x="1259" y="266"/>
                </a:moveTo>
                <a:cubicBezTo>
                  <a:pt x="1259" y="266"/>
                  <a:pt x="1259" y="266"/>
                  <a:pt x="1259" y="266"/>
                </a:cubicBezTo>
                <a:cubicBezTo>
                  <a:pt x="1259" y="266"/>
                  <a:pt x="1259" y="266"/>
                  <a:pt x="1259" y="266"/>
                </a:cubicBezTo>
                <a:cubicBezTo>
                  <a:pt x="1260" y="264"/>
                  <a:pt x="1261" y="264"/>
                  <a:pt x="1261" y="264"/>
                </a:cubicBezTo>
                <a:cubicBezTo>
                  <a:pt x="1261" y="264"/>
                  <a:pt x="1260" y="264"/>
                  <a:pt x="1259" y="266"/>
                </a:cubicBezTo>
                <a:close/>
                <a:moveTo>
                  <a:pt x="1263" y="266"/>
                </a:moveTo>
                <a:cubicBezTo>
                  <a:pt x="1263" y="266"/>
                  <a:pt x="1264" y="267"/>
                  <a:pt x="1264" y="267"/>
                </a:cubicBezTo>
                <a:cubicBezTo>
                  <a:pt x="1263" y="267"/>
                  <a:pt x="1263" y="266"/>
                  <a:pt x="1263" y="266"/>
                </a:cubicBezTo>
                <a:close/>
                <a:moveTo>
                  <a:pt x="1266" y="267"/>
                </a:moveTo>
                <a:cubicBezTo>
                  <a:pt x="1264" y="268"/>
                  <a:pt x="1264" y="268"/>
                  <a:pt x="1264" y="268"/>
                </a:cubicBezTo>
                <a:cubicBezTo>
                  <a:pt x="1264" y="268"/>
                  <a:pt x="1265" y="268"/>
                  <a:pt x="1266" y="267"/>
                </a:cubicBezTo>
                <a:close/>
                <a:moveTo>
                  <a:pt x="1262" y="256"/>
                </a:moveTo>
                <a:cubicBezTo>
                  <a:pt x="1261" y="256"/>
                  <a:pt x="1261" y="256"/>
                  <a:pt x="1261" y="256"/>
                </a:cubicBezTo>
                <a:cubicBezTo>
                  <a:pt x="1261" y="256"/>
                  <a:pt x="1261" y="256"/>
                  <a:pt x="1262" y="256"/>
                </a:cubicBezTo>
                <a:close/>
                <a:moveTo>
                  <a:pt x="1261" y="256"/>
                </a:moveTo>
                <a:cubicBezTo>
                  <a:pt x="1261" y="256"/>
                  <a:pt x="1261" y="256"/>
                  <a:pt x="1261" y="256"/>
                </a:cubicBezTo>
                <a:cubicBezTo>
                  <a:pt x="1261" y="256"/>
                  <a:pt x="1261" y="256"/>
                  <a:pt x="1261" y="256"/>
                </a:cubicBezTo>
                <a:close/>
                <a:moveTo>
                  <a:pt x="1261" y="256"/>
                </a:moveTo>
                <a:cubicBezTo>
                  <a:pt x="1261" y="256"/>
                  <a:pt x="1261" y="256"/>
                  <a:pt x="1261" y="256"/>
                </a:cubicBezTo>
                <a:cubicBezTo>
                  <a:pt x="1261" y="256"/>
                  <a:pt x="1261" y="256"/>
                  <a:pt x="1261" y="256"/>
                </a:cubicBezTo>
                <a:close/>
                <a:moveTo>
                  <a:pt x="1262" y="257"/>
                </a:moveTo>
                <a:cubicBezTo>
                  <a:pt x="1262" y="257"/>
                  <a:pt x="1262" y="257"/>
                  <a:pt x="1262" y="257"/>
                </a:cubicBezTo>
                <a:cubicBezTo>
                  <a:pt x="1262" y="257"/>
                  <a:pt x="1262" y="257"/>
                  <a:pt x="1262" y="257"/>
                </a:cubicBezTo>
                <a:close/>
                <a:moveTo>
                  <a:pt x="1261" y="256"/>
                </a:moveTo>
                <a:cubicBezTo>
                  <a:pt x="1261" y="256"/>
                  <a:pt x="1261" y="256"/>
                  <a:pt x="1261" y="256"/>
                </a:cubicBezTo>
                <a:cubicBezTo>
                  <a:pt x="1261" y="256"/>
                  <a:pt x="1261" y="256"/>
                  <a:pt x="1261" y="256"/>
                </a:cubicBezTo>
                <a:close/>
                <a:moveTo>
                  <a:pt x="1261" y="256"/>
                </a:moveTo>
                <a:cubicBezTo>
                  <a:pt x="1261" y="256"/>
                  <a:pt x="1261" y="256"/>
                  <a:pt x="1261" y="256"/>
                </a:cubicBezTo>
                <a:cubicBezTo>
                  <a:pt x="1261" y="256"/>
                  <a:pt x="1261" y="256"/>
                  <a:pt x="1261" y="256"/>
                </a:cubicBezTo>
                <a:close/>
                <a:moveTo>
                  <a:pt x="1254" y="264"/>
                </a:moveTo>
                <a:cubicBezTo>
                  <a:pt x="1253" y="263"/>
                  <a:pt x="1253" y="263"/>
                  <a:pt x="1252" y="265"/>
                </a:cubicBezTo>
                <a:cubicBezTo>
                  <a:pt x="1254" y="266"/>
                  <a:pt x="1254" y="266"/>
                  <a:pt x="1257" y="267"/>
                </a:cubicBezTo>
                <a:cubicBezTo>
                  <a:pt x="1254" y="266"/>
                  <a:pt x="1254" y="266"/>
                  <a:pt x="1252" y="265"/>
                </a:cubicBezTo>
                <a:cubicBezTo>
                  <a:pt x="1253" y="263"/>
                  <a:pt x="1253" y="263"/>
                  <a:pt x="1254" y="264"/>
                </a:cubicBezTo>
                <a:close/>
                <a:moveTo>
                  <a:pt x="1433" y="441"/>
                </a:moveTo>
                <a:cubicBezTo>
                  <a:pt x="1433" y="441"/>
                  <a:pt x="1433" y="442"/>
                  <a:pt x="1434" y="442"/>
                </a:cubicBezTo>
                <a:cubicBezTo>
                  <a:pt x="1435" y="442"/>
                  <a:pt x="1437" y="441"/>
                  <a:pt x="1438" y="441"/>
                </a:cubicBezTo>
                <a:cubicBezTo>
                  <a:pt x="1441" y="441"/>
                  <a:pt x="1441" y="441"/>
                  <a:pt x="1444" y="440"/>
                </a:cubicBezTo>
                <a:cubicBezTo>
                  <a:pt x="1449" y="439"/>
                  <a:pt x="1447" y="441"/>
                  <a:pt x="1450" y="438"/>
                </a:cubicBezTo>
                <a:cubicBezTo>
                  <a:pt x="1451" y="438"/>
                  <a:pt x="1452" y="438"/>
                  <a:pt x="1452" y="439"/>
                </a:cubicBezTo>
                <a:cubicBezTo>
                  <a:pt x="1452" y="440"/>
                  <a:pt x="1451" y="440"/>
                  <a:pt x="1450" y="441"/>
                </a:cubicBezTo>
                <a:cubicBezTo>
                  <a:pt x="1450" y="442"/>
                  <a:pt x="1449" y="443"/>
                  <a:pt x="1449" y="444"/>
                </a:cubicBezTo>
                <a:cubicBezTo>
                  <a:pt x="1448" y="445"/>
                  <a:pt x="1447" y="446"/>
                  <a:pt x="1447" y="448"/>
                </a:cubicBezTo>
                <a:cubicBezTo>
                  <a:pt x="1448" y="450"/>
                  <a:pt x="1450" y="451"/>
                  <a:pt x="1450" y="452"/>
                </a:cubicBezTo>
                <a:cubicBezTo>
                  <a:pt x="1450" y="452"/>
                  <a:pt x="1449" y="452"/>
                  <a:pt x="1449" y="453"/>
                </a:cubicBezTo>
                <a:cubicBezTo>
                  <a:pt x="1448" y="453"/>
                  <a:pt x="1448" y="456"/>
                  <a:pt x="1448" y="457"/>
                </a:cubicBezTo>
                <a:cubicBezTo>
                  <a:pt x="1447" y="457"/>
                  <a:pt x="1446" y="456"/>
                  <a:pt x="1445" y="456"/>
                </a:cubicBezTo>
                <a:cubicBezTo>
                  <a:pt x="1440" y="455"/>
                  <a:pt x="1442" y="455"/>
                  <a:pt x="1441" y="453"/>
                </a:cubicBezTo>
                <a:cubicBezTo>
                  <a:pt x="1438" y="451"/>
                  <a:pt x="1437" y="452"/>
                  <a:pt x="1435" y="451"/>
                </a:cubicBezTo>
                <a:cubicBezTo>
                  <a:pt x="1432" y="449"/>
                  <a:pt x="1432" y="449"/>
                  <a:pt x="1432" y="449"/>
                </a:cubicBezTo>
                <a:cubicBezTo>
                  <a:pt x="1432" y="448"/>
                  <a:pt x="1428" y="446"/>
                  <a:pt x="1428" y="447"/>
                </a:cubicBezTo>
                <a:cubicBezTo>
                  <a:pt x="1427" y="447"/>
                  <a:pt x="1425" y="447"/>
                  <a:pt x="1424" y="447"/>
                </a:cubicBezTo>
                <a:cubicBezTo>
                  <a:pt x="1423" y="446"/>
                  <a:pt x="1423" y="443"/>
                  <a:pt x="1424" y="442"/>
                </a:cubicBezTo>
                <a:cubicBezTo>
                  <a:pt x="1426" y="439"/>
                  <a:pt x="1426" y="440"/>
                  <a:pt x="1427" y="441"/>
                </a:cubicBezTo>
                <a:cubicBezTo>
                  <a:pt x="1429" y="442"/>
                  <a:pt x="1429" y="440"/>
                  <a:pt x="1430" y="440"/>
                </a:cubicBezTo>
                <a:cubicBezTo>
                  <a:pt x="1432" y="440"/>
                  <a:pt x="1431" y="439"/>
                  <a:pt x="1433" y="441"/>
                </a:cubicBezTo>
                <a:close/>
                <a:moveTo>
                  <a:pt x="1388" y="411"/>
                </a:moveTo>
                <a:cubicBezTo>
                  <a:pt x="1389" y="410"/>
                  <a:pt x="1392" y="408"/>
                  <a:pt x="1392" y="408"/>
                </a:cubicBezTo>
                <a:cubicBezTo>
                  <a:pt x="1393" y="407"/>
                  <a:pt x="1394" y="406"/>
                  <a:pt x="1394" y="406"/>
                </a:cubicBezTo>
                <a:cubicBezTo>
                  <a:pt x="1395" y="406"/>
                  <a:pt x="1397" y="409"/>
                  <a:pt x="1397" y="410"/>
                </a:cubicBezTo>
                <a:cubicBezTo>
                  <a:pt x="1397" y="411"/>
                  <a:pt x="1400" y="414"/>
                  <a:pt x="1400" y="415"/>
                </a:cubicBezTo>
                <a:cubicBezTo>
                  <a:pt x="1400" y="416"/>
                  <a:pt x="1398" y="416"/>
                  <a:pt x="1398" y="417"/>
                </a:cubicBezTo>
                <a:cubicBezTo>
                  <a:pt x="1398" y="417"/>
                  <a:pt x="1398" y="418"/>
                  <a:pt x="1398" y="418"/>
                </a:cubicBezTo>
                <a:cubicBezTo>
                  <a:pt x="1398" y="419"/>
                  <a:pt x="1398" y="420"/>
                  <a:pt x="1398" y="421"/>
                </a:cubicBezTo>
                <a:cubicBezTo>
                  <a:pt x="1398" y="424"/>
                  <a:pt x="1399" y="425"/>
                  <a:pt x="1398" y="428"/>
                </a:cubicBezTo>
                <a:cubicBezTo>
                  <a:pt x="1397" y="429"/>
                  <a:pt x="1397" y="430"/>
                  <a:pt x="1395" y="429"/>
                </a:cubicBezTo>
                <a:cubicBezTo>
                  <a:pt x="1393" y="429"/>
                  <a:pt x="1393" y="427"/>
                  <a:pt x="1392" y="430"/>
                </a:cubicBezTo>
                <a:cubicBezTo>
                  <a:pt x="1391" y="431"/>
                  <a:pt x="1392" y="431"/>
                  <a:pt x="1391" y="432"/>
                </a:cubicBezTo>
                <a:cubicBezTo>
                  <a:pt x="1391" y="432"/>
                  <a:pt x="1390" y="432"/>
                  <a:pt x="1390" y="432"/>
                </a:cubicBezTo>
                <a:cubicBezTo>
                  <a:pt x="1389" y="432"/>
                  <a:pt x="1388" y="432"/>
                  <a:pt x="1387" y="431"/>
                </a:cubicBezTo>
                <a:cubicBezTo>
                  <a:pt x="1385" y="430"/>
                  <a:pt x="1388" y="424"/>
                  <a:pt x="1388" y="421"/>
                </a:cubicBezTo>
                <a:cubicBezTo>
                  <a:pt x="1388" y="421"/>
                  <a:pt x="1387" y="421"/>
                  <a:pt x="1386" y="421"/>
                </a:cubicBezTo>
                <a:cubicBezTo>
                  <a:pt x="1386" y="421"/>
                  <a:pt x="1386" y="420"/>
                  <a:pt x="1386" y="419"/>
                </a:cubicBezTo>
                <a:cubicBezTo>
                  <a:pt x="1387" y="418"/>
                  <a:pt x="1388" y="418"/>
                  <a:pt x="1388" y="418"/>
                </a:cubicBezTo>
                <a:cubicBezTo>
                  <a:pt x="1388" y="417"/>
                  <a:pt x="1388" y="415"/>
                  <a:pt x="1386" y="414"/>
                </a:cubicBezTo>
                <a:cubicBezTo>
                  <a:pt x="1386" y="413"/>
                  <a:pt x="1385" y="414"/>
                  <a:pt x="1385" y="413"/>
                </a:cubicBezTo>
                <a:cubicBezTo>
                  <a:pt x="1384" y="413"/>
                  <a:pt x="1383" y="411"/>
                  <a:pt x="1384" y="410"/>
                </a:cubicBezTo>
                <a:cubicBezTo>
                  <a:pt x="1384" y="410"/>
                  <a:pt x="1385" y="409"/>
                  <a:pt x="1385" y="410"/>
                </a:cubicBezTo>
                <a:cubicBezTo>
                  <a:pt x="1386" y="410"/>
                  <a:pt x="1386" y="411"/>
                  <a:pt x="1388" y="411"/>
                </a:cubicBezTo>
                <a:close/>
                <a:moveTo>
                  <a:pt x="2629" y="346"/>
                </a:moveTo>
                <a:cubicBezTo>
                  <a:pt x="2631" y="343"/>
                  <a:pt x="2631" y="343"/>
                  <a:pt x="2631" y="343"/>
                </a:cubicBezTo>
                <a:cubicBezTo>
                  <a:pt x="2631" y="344"/>
                  <a:pt x="2631" y="344"/>
                  <a:pt x="2631" y="344"/>
                </a:cubicBezTo>
                <a:cubicBezTo>
                  <a:pt x="2631" y="344"/>
                  <a:pt x="2632" y="347"/>
                  <a:pt x="2631" y="347"/>
                </a:cubicBezTo>
                <a:cubicBezTo>
                  <a:pt x="2630" y="348"/>
                  <a:pt x="2628" y="348"/>
                  <a:pt x="2628" y="348"/>
                </a:cubicBezTo>
                <a:lnTo>
                  <a:pt x="2629" y="346"/>
                </a:lnTo>
                <a:close/>
                <a:moveTo>
                  <a:pt x="2635" y="321"/>
                </a:moveTo>
                <a:cubicBezTo>
                  <a:pt x="2631" y="321"/>
                  <a:pt x="2632" y="321"/>
                  <a:pt x="2632" y="319"/>
                </a:cubicBezTo>
                <a:cubicBezTo>
                  <a:pt x="2631" y="317"/>
                  <a:pt x="2634" y="318"/>
                  <a:pt x="2634" y="318"/>
                </a:cubicBezTo>
                <a:cubicBezTo>
                  <a:pt x="2634" y="318"/>
                  <a:pt x="2634" y="320"/>
                  <a:pt x="2635" y="320"/>
                </a:cubicBezTo>
                <a:cubicBezTo>
                  <a:pt x="2635" y="321"/>
                  <a:pt x="2638" y="321"/>
                  <a:pt x="2635" y="321"/>
                </a:cubicBezTo>
                <a:close/>
                <a:moveTo>
                  <a:pt x="2633" y="308"/>
                </a:moveTo>
                <a:cubicBezTo>
                  <a:pt x="2633" y="307"/>
                  <a:pt x="2632" y="306"/>
                  <a:pt x="2632" y="306"/>
                </a:cubicBezTo>
                <a:cubicBezTo>
                  <a:pt x="2632" y="306"/>
                  <a:pt x="2633" y="305"/>
                  <a:pt x="2633" y="305"/>
                </a:cubicBezTo>
                <a:cubicBezTo>
                  <a:pt x="2634" y="306"/>
                  <a:pt x="2633" y="305"/>
                  <a:pt x="2635" y="306"/>
                </a:cubicBezTo>
                <a:cubicBezTo>
                  <a:pt x="2636" y="307"/>
                  <a:pt x="2637" y="310"/>
                  <a:pt x="2636" y="310"/>
                </a:cubicBezTo>
                <a:cubicBezTo>
                  <a:pt x="2635" y="311"/>
                  <a:pt x="2635" y="312"/>
                  <a:pt x="2635" y="312"/>
                </a:cubicBezTo>
                <a:cubicBezTo>
                  <a:pt x="2636" y="313"/>
                  <a:pt x="2631" y="314"/>
                  <a:pt x="2631" y="313"/>
                </a:cubicBezTo>
                <a:cubicBezTo>
                  <a:pt x="2630" y="313"/>
                  <a:pt x="2630" y="312"/>
                  <a:pt x="2630" y="312"/>
                </a:cubicBezTo>
                <a:cubicBezTo>
                  <a:pt x="2630" y="311"/>
                  <a:pt x="2630" y="311"/>
                  <a:pt x="2631" y="311"/>
                </a:cubicBezTo>
                <a:cubicBezTo>
                  <a:pt x="2633" y="311"/>
                  <a:pt x="2633" y="312"/>
                  <a:pt x="2633" y="308"/>
                </a:cubicBezTo>
                <a:close/>
                <a:moveTo>
                  <a:pt x="2632" y="324"/>
                </a:moveTo>
                <a:cubicBezTo>
                  <a:pt x="2632" y="324"/>
                  <a:pt x="2633" y="325"/>
                  <a:pt x="2633" y="325"/>
                </a:cubicBezTo>
                <a:cubicBezTo>
                  <a:pt x="2634" y="325"/>
                  <a:pt x="2635" y="325"/>
                  <a:pt x="2634" y="326"/>
                </a:cubicBezTo>
                <a:cubicBezTo>
                  <a:pt x="2633" y="327"/>
                  <a:pt x="2632" y="330"/>
                  <a:pt x="2632" y="324"/>
                </a:cubicBezTo>
                <a:close/>
                <a:moveTo>
                  <a:pt x="2631" y="332"/>
                </a:moveTo>
                <a:cubicBezTo>
                  <a:pt x="2634" y="333"/>
                  <a:pt x="2632" y="335"/>
                  <a:pt x="2631" y="335"/>
                </a:cubicBezTo>
                <a:cubicBezTo>
                  <a:pt x="2631" y="334"/>
                  <a:pt x="2631" y="333"/>
                  <a:pt x="2631" y="332"/>
                </a:cubicBezTo>
                <a:close/>
                <a:moveTo>
                  <a:pt x="2275" y="77"/>
                </a:moveTo>
                <a:cubicBezTo>
                  <a:pt x="2275" y="77"/>
                  <a:pt x="2275" y="77"/>
                  <a:pt x="2275" y="77"/>
                </a:cubicBezTo>
                <a:cubicBezTo>
                  <a:pt x="2275" y="78"/>
                  <a:pt x="2275" y="78"/>
                  <a:pt x="2274" y="79"/>
                </a:cubicBezTo>
                <a:cubicBezTo>
                  <a:pt x="2272" y="79"/>
                  <a:pt x="2272" y="78"/>
                  <a:pt x="2270" y="78"/>
                </a:cubicBezTo>
                <a:cubicBezTo>
                  <a:pt x="2269" y="77"/>
                  <a:pt x="2266" y="75"/>
                  <a:pt x="2266" y="75"/>
                </a:cubicBezTo>
                <a:cubicBezTo>
                  <a:pt x="2266" y="75"/>
                  <a:pt x="2267" y="75"/>
                  <a:pt x="2265" y="73"/>
                </a:cubicBezTo>
                <a:cubicBezTo>
                  <a:pt x="2265" y="73"/>
                  <a:pt x="2266" y="72"/>
                  <a:pt x="2270" y="73"/>
                </a:cubicBezTo>
                <a:cubicBezTo>
                  <a:pt x="2273" y="73"/>
                  <a:pt x="2272" y="72"/>
                  <a:pt x="2273" y="74"/>
                </a:cubicBezTo>
                <a:cubicBezTo>
                  <a:pt x="2273" y="74"/>
                  <a:pt x="2276" y="77"/>
                  <a:pt x="2275" y="77"/>
                </a:cubicBezTo>
                <a:close/>
                <a:moveTo>
                  <a:pt x="1893" y="27"/>
                </a:moveTo>
                <a:cubicBezTo>
                  <a:pt x="1891" y="23"/>
                  <a:pt x="1893" y="25"/>
                  <a:pt x="1897" y="23"/>
                </a:cubicBezTo>
                <a:cubicBezTo>
                  <a:pt x="1898" y="22"/>
                  <a:pt x="1897" y="23"/>
                  <a:pt x="1897" y="23"/>
                </a:cubicBezTo>
                <a:cubicBezTo>
                  <a:pt x="1897" y="23"/>
                  <a:pt x="1894" y="21"/>
                  <a:pt x="1894" y="19"/>
                </a:cubicBezTo>
                <a:cubicBezTo>
                  <a:pt x="1894" y="18"/>
                  <a:pt x="1894" y="19"/>
                  <a:pt x="1897" y="18"/>
                </a:cubicBezTo>
                <a:cubicBezTo>
                  <a:pt x="1900" y="17"/>
                  <a:pt x="1900" y="18"/>
                  <a:pt x="1900" y="18"/>
                </a:cubicBezTo>
                <a:cubicBezTo>
                  <a:pt x="1900" y="18"/>
                  <a:pt x="1903" y="18"/>
                  <a:pt x="1905" y="17"/>
                </a:cubicBezTo>
                <a:cubicBezTo>
                  <a:pt x="1908" y="17"/>
                  <a:pt x="1908" y="18"/>
                  <a:pt x="1910" y="19"/>
                </a:cubicBezTo>
                <a:cubicBezTo>
                  <a:pt x="1912" y="19"/>
                  <a:pt x="1913" y="18"/>
                  <a:pt x="1915" y="19"/>
                </a:cubicBezTo>
                <a:cubicBezTo>
                  <a:pt x="1917" y="20"/>
                  <a:pt x="1917" y="20"/>
                  <a:pt x="1918" y="20"/>
                </a:cubicBezTo>
                <a:cubicBezTo>
                  <a:pt x="1918" y="20"/>
                  <a:pt x="1921" y="20"/>
                  <a:pt x="1925" y="20"/>
                </a:cubicBezTo>
                <a:cubicBezTo>
                  <a:pt x="1929" y="21"/>
                  <a:pt x="1923" y="21"/>
                  <a:pt x="1922" y="22"/>
                </a:cubicBezTo>
                <a:cubicBezTo>
                  <a:pt x="1922" y="23"/>
                  <a:pt x="1923" y="23"/>
                  <a:pt x="1924" y="23"/>
                </a:cubicBezTo>
                <a:cubicBezTo>
                  <a:pt x="1929" y="24"/>
                  <a:pt x="1923" y="24"/>
                  <a:pt x="1921" y="24"/>
                </a:cubicBezTo>
                <a:cubicBezTo>
                  <a:pt x="1918" y="25"/>
                  <a:pt x="1919" y="24"/>
                  <a:pt x="1918" y="24"/>
                </a:cubicBezTo>
                <a:cubicBezTo>
                  <a:pt x="1915" y="24"/>
                  <a:pt x="1913" y="26"/>
                  <a:pt x="1910" y="26"/>
                </a:cubicBezTo>
                <a:cubicBezTo>
                  <a:pt x="1907" y="26"/>
                  <a:pt x="1912" y="27"/>
                  <a:pt x="1904" y="29"/>
                </a:cubicBezTo>
                <a:cubicBezTo>
                  <a:pt x="1901" y="29"/>
                  <a:pt x="1903" y="28"/>
                  <a:pt x="1901" y="29"/>
                </a:cubicBezTo>
                <a:cubicBezTo>
                  <a:pt x="1897" y="29"/>
                  <a:pt x="1895" y="27"/>
                  <a:pt x="1893" y="27"/>
                </a:cubicBezTo>
                <a:close/>
                <a:moveTo>
                  <a:pt x="1708" y="15"/>
                </a:moveTo>
                <a:cubicBezTo>
                  <a:pt x="1709" y="15"/>
                  <a:pt x="1710" y="15"/>
                  <a:pt x="1712" y="15"/>
                </a:cubicBezTo>
                <a:cubicBezTo>
                  <a:pt x="1714" y="16"/>
                  <a:pt x="1716" y="17"/>
                  <a:pt x="1716" y="17"/>
                </a:cubicBezTo>
                <a:cubicBezTo>
                  <a:pt x="1716" y="18"/>
                  <a:pt x="1714" y="18"/>
                  <a:pt x="1713" y="18"/>
                </a:cubicBezTo>
                <a:cubicBezTo>
                  <a:pt x="1712" y="18"/>
                  <a:pt x="1703" y="16"/>
                  <a:pt x="1708" y="15"/>
                </a:cubicBezTo>
                <a:close/>
                <a:moveTo>
                  <a:pt x="1928" y="25"/>
                </a:moveTo>
                <a:cubicBezTo>
                  <a:pt x="1929" y="25"/>
                  <a:pt x="1929" y="26"/>
                  <a:pt x="1931" y="26"/>
                </a:cubicBezTo>
                <a:cubicBezTo>
                  <a:pt x="1933" y="26"/>
                  <a:pt x="1933" y="24"/>
                  <a:pt x="1934" y="26"/>
                </a:cubicBezTo>
                <a:cubicBezTo>
                  <a:pt x="1934" y="27"/>
                  <a:pt x="1934" y="28"/>
                  <a:pt x="1934" y="28"/>
                </a:cubicBezTo>
                <a:cubicBezTo>
                  <a:pt x="1938" y="29"/>
                  <a:pt x="1936" y="27"/>
                  <a:pt x="1937" y="27"/>
                </a:cubicBezTo>
                <a:cubicBezTo>
                  <a:pt x="1937" y="27"/>
                  <a:pt x="1935" y="27"/>
                  <a:pt x="1938" y="27"/>
                </a:cubicBezTo>
                <a:cubicBezTo>
                  <a:pt x="1941" y="27"/>
                  <a:pt x="1940" y="27"/>
                  <a:pt x="1941" y="27"/>
                </a:cubicBezTo>
                <a:cubicBezTo>
                  <a:pt x="1942" y="27"/>
                  <a:pt x="1943" y="25"/>
                  <a:pt x="1946" y="27"/>
                </a:cubicBezTo>
                <a:cubicBezTo>
                  <a:pt x="1948" y="28"/>
                  <a:pt x="1947" y="30"/>
                  <a:pt x="1950" y="31"/>
                </a:cubicBezTo>
                <a:cubicBezTo>
                  <a:pt x="1950" y="31"/>
                  <a:pt x="1949" y="32"/>
                  <a:pt x="1949" y="32"/>
                </a:cubicBezTo>
                <a:cubicBezTo>
                  <a:pt x="1950" y="32"/>
                  <a:pt x="1954" y="34"/>
                  <a:pt x="1954" y="34"/>
                </a:cubicBezTo>
                <a:cubicBezTo>
                  <a:pt x="1954" y="34"/>
                  <a:pt x="1955" y="33"/>
                  <a:pt x="1955" y="34"/>
                </a:cubicBezTo>
                <a:cubicBezTo>
                  <a:pt x="1955" y="35"/>
                  <a:pt x="1959" y="35"/>
                  <a:pt x="1955" y="36"/>
                </a:cubicBezTo>
                <a:cubicBezTo>
                  <a:pt x="1948" y="36"/>
                  <a:pt x="1948" y="36"/>
                  <a:pt x="1943" y="36"/>
                </a:cubicBezTo>
                <a:cubicBezTo>
                  <a:pt x="1933" y="36"/>
                  <a:pt x="1941" y="35"/>
                  <a:pt x="1934" y="35"/>
                </a:cubicBezTo>
                <a:cubicBezTo>
                  <a:pt x="1929" y="34"/>
                  <a:pt x="1926" y="34"/>
                  <a:pt x="1926" y="34"/>
                </a:cubicBezTo>
                <a:cubicBezTo>
                  <a:pt x="1925" y="34"/>
                  <a:pt x="1925" y="35"/>
                  <a:pt x="1923" y="34"/>
                </a:cubicBezTo>
                <a:cubicBezTo>
                  <a:pt x="1920" y="33"/>
                  <a:pt x="1921" y="33"/>
                  <a:pt x="1919" y="33"/>
                </a:cubicBezTo>
                <a:cubicBezTo>
                  <a:pt x="1917" y="32"/>
                  <a:pt x="1915" y="32"/>
                  <a:pt x="1914" y="32"/>
                </a:cubicBezTo>
                <a:cubicBezTo>
                  <a:pt x="1911" y="32"/>
                  <a:pt x="1912" y="29"/>
                  <a:pt x="1912" y="28"/>
                </a:cubicBezTo>
                <a:cubicBezTo>
                  <a:pt x="1912" y="28"/>
                  <a:pt x="1915" y="25"/>
                  <a:pt x="1919" y="25"/>
                </a:cubicBezTo>
                <a:cubicBezTo>
                  <a:pt x="1921" y="25"/>
                  <a:pt x="1920" y="24"/>
                  <a:pt x="1923" y="25"/>
                </a:cubicBezTo>
                <a:cubicBezTo>
                  <a:pt x="1925" y="25"/>
                  <a:pt x="1927" y="24"/>
                  <a:pt x="1928" y="25"/>
                </a:cubicBezTo>
                <a:close/>
                <a:moveTo>
                  <a:pt x="1716" y="20"/>
                </a:moveTo>
                <a:cubicBezTo>
                  <a:pt x="1716" y="18"/>
                  <a:pt x="1719" y="18"/>
                  <a:pt x="1720" y="17"/>
                </a:cubicBezTo>
                <a:cubicBezTo>
                  <a:pt x="1720" y="17"/>
                  <a:pt x="1722" y="17"/>
                  <a:pt x="1727" y="17"/>
                </a:cubicBezTo>
                <a:cubicBezTo>
                  <a:pt x="1733" y="18"/>
                  <a:pt x="1730" y="22"/>
                  <a:pt x="1730" y="22"/>
                </a:cubicBezTo>
                <a:cubicBezTo>
                  <a:pt x="1729" y="23"/>
                  <a:pt x="1716" y="22"/>
                  <a:pt x="1716" y="20"/>
                </a:cubicBezTo>
                <a:close/>
                <a:moveTo>
                  <a:pt x="1805" y="82"/>
                </a:moveTo>
                <a:cubicBezTo>
                  <a:pt x="1804" y="81"/>
                  <a:pt x="1803" y="81"/>
                  <a:pt x="1803" y="80"/>
                </a:cubicBezTo>
                <a:cubicBezTo>
                  <a:pt x="1804" y="80"/>
                  <a:pt x="1806" y="80"/>
                  <a:pt x="1807" y="80"/>
                </a:cubicBezTo>
                <a:cubicBezTo>
                  <a:pt x="1808" y="80"/>
                  <a:pt x="1809" y="79"/>
                  <a:pt x="1810" y="80"/>
                </a:cubicBezTo>
                <a:cubicBezTo>
                  <a:pt x="1811" y="80"/>
                  <a:pt x="1809" y="81"/>
                  <a:pt x="1810" y="82"/>
                </a:cubicBezTo>
                <a:cubicBezTo>
                  <a:pt x="1811" y="82"/>
                  <a:pt x="1812" y="82"/>
                  <a:pt x="1813" y="82"/>
                </a:cubicBezTo>
                <a:cubicBezTo>
                  <a:pt x="1815" y="82"/>
                  <a:pt x="1816" y="83"/>
                  <a:pt x="1817" y="83"/>
                </a:cubicBezTo>
                <a:cubicBezTo>
                  <a:pt x="1817" y="83"/>
                  <a:pt x="1815" y="84"/>
                  <a:pt x="1814" y="84"/>
                </a:cubicBezTo>
                <a:cubicBezTo>
                  <a:pt x="1813" y="84"/>
                  <a:pt x="1811" y="84"/>
                  <a:pt x="1810" y="84"/>
                </a:cubicBezTo>
                <a:cubicBezTo>
                  <a:pt x="1809" y="84"/>
                  <a:pt x="1808" y="84"/>
                  <a:pt x="1808" y="84"/>
                </a:cubicBezTo>
                <a:cubicBezTo>
                  <a:pt x="1808" y="84"/>
                  <a:pt x="1806" y="83"/>
                  <a:pt x="1805" y="82"/>
                </a:cubicBezTo>
                <a:close/>
                <a:moveTo>
                  <a:pt x="2229" y="62"/>
                </a:moveTo>
                <a:cubicBezTo>
                  <a:pt x="2226" y="62"/>
                  <a:pt x="2226" y="62"/>
                  <a:pt x="2226" y="62"/>
                </a:cubicBezTo>
                <a:cubicBezTo>
                  <a:pt x="2226" y="59"/>
                  <a:pt x="2226" y="60"/>
                  <a:pt x="2228" y="59"/>
                </a:cubicBezTo>
                <a:cubicBezTo>
                  <a:pt x="2228" y="59"/>
                  <a:pt x="2229" y="58"/>
                  <a:pt x="2230" y="58"/>
                </a:cubicBezTo>
                <a:cubicBezTo>
                  <a:pt x="2231" y="57"/>
                  <a:pt x="2230" y="57"/>
                  <a:pt x="2232" y="57"/>
                </a:cubicBezTo>
                <a:cubicBezTo>
                  <a:pt x="2233" y="57"/>
                  <a:pt x="2233" y="57"/>
                  <a:pt x="2233" y="58"/>
                </a:cubicBezTo>
                <a:cubicBezTo>
                  <a:pt x="2234" y="58"/>
                  <a:pt x="2235" y="58"/>
                  <a:pt x="2236" y="59"/>
                </a:cubicBezTo>
                <a:cubicBezTo>
                  <a:pt x="2236" y="59"/>
                  <a:pt x="2237" y="58"/>
                  <a:pt x="2240" y="60"/>
                </a:cubicBezTo>
                <a:cubicBezTo>
                  <a:pt x="2241" y="60"/>
                  <a:pt x="2244" y="59"/>
                  <a:pt x="2245" y="60"/>
                </a:cubicBezTo>
                <a:cubicBezTo>
                  <a:pt x="2247" y="62"/>
                  <a:pt x="2247" y="59"/>
                  <a:pt x="2249" y="61"/>
                </a:cubicBezTo>
                <a:cubicBezTo>
                  <a:pt x="2249" y="62"/>
                  <a:pt x="2250" y="62"/>
                  <a:pt x="2250" y="62"/>
                </a:cubicBezTo>
                <a:cubicBezTo>
                  <a:pt x="2250" y="62"/>
                  <a:pt x="2251" y="62"/>
                  <a:pt x="2251" y="62"/>
                </a:cubicBezTo>
                <a:cubicBezTo>
                  <a:pt x="2251" y="62"/>
                  <a:pt x="2251" y="62"/>
                  <a:pt x="2251" y="62"/>
                </a:cubicBezTo>
                <a:cubicBezTo>
                  <a:pt x="2246" y="60"/>
                  <a:pt x="2247" y="60"/>
                  <a:pt x="2248" y="59"/>
                </a:cubicBezTo>
                <a:cubicBezTo>
                  <a:pt x="2248" y="59"/>
                  <a:pt x="2249" y="59"/>
                  <a:pt x="2251" y="59"/>
                </a:cubicBezTo>
                <a:cubicBezTo>
                  <a:pt x="2255" y="60"/>
                  <a:pt x="2253" y="59"/>
                  <a:pt x="2255" y="59"/>
                </a:cubicBezTo>
                <a:cubicBezTo>
                  <a:pt x="2257" y="59"/>
                  <a:pt x="2257" y="58"/>
                  <a:pt x="2260" y="60"/>
                </a:cubicBezTo>
                <a:cubicBezTo>
                  <a:pt x="2261" y="60"/>
                  <a:pt x="2261" y="60"/>
                  <a:pt x="2261" y="60"/>
                </a:cubicBezTo>
                <a:cubicBezTo>
                  <a:pt x="2261" y="60"/>
                  <a:pt x="2262" y="61"/>
                  <a:pt x="2261" y="62"/>
                </a:cubicBezTo>
                <a:cubicBezTo>
                  <a:pt x="2261" y="62"/>
                  <a:pt x="2264" y="63"/>
                  <a:pt x="2261" y="63"/>
                </a:cubicBezTo>
                <a:cubicBezTo>
                  <a:pt x="2262" y="64"/>
                  <a:pt x="2263" y="64"/>
                  <a:pt x="2265" y="64"/>
                </a:cubicBezTo>
                <a:cubicBezTo>
                  <a:pt x="2267" y="64"/>
                  <a:pt x="2266" y="64"/>
                  <a:pt x="2266" y="63"/>
                </a:cubicBezTo>
                <a:cubicBezTo>
                  <a:pt x="2267" y="62"/>
                  <a:pt x="2266" y="61"/>
                  <a:pt x="2267" y="61"/>
                </a:cubicBezTo>
                <a:cubicBezTo>
                  <a:pt x="2267" y="60"/>
                  <a:pt x="2270" y="62"/>
                  <a:pt x="2272" y="62"/>
                </a:cubicBezTo>
                <a:cubicBezTo>
                  <a:pt x="2274" y="62"/>
                  <a:pt x="2273" y="62"/>
                  <a:pt x="2277" y="62"/>
                </a:cubicBezTo>
                <a:cubicBezTo>
                  <a:pt x="2282" y="62"/>
                  <a:pt x="2280" y="63"/>
                  <a:pt x="2282" y="64"/>
                </a:cubicBezTo>
                <a:cubicBezTo>
                  <a:pt x="2284" y="64"/>
                  <a:pt x="2283" y="67"/>
                  <a:pt x="2283" y="67"/>
                </a:cubicBezTo>
                <a:cubicBezTo>
                  <a:pt x="2283" y="67"/>
                  <a:pt x="2281" y="68"/>
                  <a:pt x="2279" y="69"/>
                </a:cubicBezTo>
                <a:cubicBezTo>
                  <a:pt x="2277" y="69"/>
                  <a:pt x="2277" y="69"/>
                  <a:pt x="2270" y="68"/>
                </a:cubicBezTo>
                <a:cubicBezTo>
                  <a:pt x="2267" y="68"/>
                  <a:pt x="2266" y="68"/>
                  <a:pt x="2266" y="68"/>
                </a:cubicBezTo>
                <a:cubicBezTo>
                  <a:pt x="2266" y="68"/>
                  <a:pt x="2266" y="68"/>
                  <a:pt x="2265" y="67"/>
                </a:cubicBezTo>
                <a:cubicBezTo>
                  <a:pt x="2263" y="67"/>
                  <a:pt x="2261" y="69"/>
                  <a:pt x="2259" y="68"/>
                </a:cubicBezTo>
                <a:cubicBezTo>
                  <a:pt x="2259" y="68"/>
                  <a:pt x="2259" y="68"/>
                  <a:pt x="2259" y="68"/>
                </a:cubicBezTo>
                <a:cubicBezTo>
                  <a:pt x="2257" y="69"/>
                  <a:pt x="2257" y="68"/>
                  <a:pt x="2255" y="68"/>
                </a:cubicBezTo>
                <a:cubicBezTo>
                  <a:pt x="2254" y="68"/>
                  <a:pt x="2251" y="68"/>
                  <a:pt x="2252" y="69"/>
                </a:cubicBezTo>
                <a:cubicBezTo>
                  <a:pt x="2252" y="69"/>
                  <a:pt x="2253" y="69"/>
                  <a:pt x="2253" y="69"/>
                </a:cubicBezTo>
                <a:cubicBezTo>
                  <a:pt x="2254" y="69"/>
                  <a:pt x="2255" y="69"/>
                  <a:pt x="2255" y="69"/>
                </a:cubicBezTo>
                <a:cubicBezTo>
                  <a:pt x="2255" y="70"/>
                  <a:pt x="2256" y="70"/>
                  <a:pt x="2255" y="71"/>
                </a:cubicBezTo>
                <a:cubicBezTo>
                  <a:pt x="2254" y="71"/>
                  <a:pt x="2255" y="71"/>
                  <a:pt x="2253" y="71"/>
                </a:cubicBezTo>
                <a:cubicBezTo>
                  <a:pt x="2250" y="71"/>
                  <a:pt x="2252" y="71"/>
                  <a:pt x="2250" y="71"/>
                </a:cubicBezTo>
                <a:cubicBezTo>
                  <a:pt x="2246" y="69"/>
                  <a:pt x="2250" y="70"/>
                  <a:pt x="2246" y="69"/>
                </a:cubicBezTo>
                <a:cubicBezTo>
                  <a:pt x="2245" y="69"/>
                  <a:pt x="2244" y="68"/>
                  <a:pt x="2243" y="68"/>
                </a:cubicBezTo>
                <a:cubicBezTo>
                  <a:pt x="2241" y="67"/>
                  <a:pt x="2239" y="68"/>
                  <a:pt x="2233" y="67"/>
                </a:cubicBezTo>
                <a:cubicBezTo>
                  <a:pt x="2228" y="65"/>
                  <a:pt x="2229" y="64"/>
                  <a:pt x="2229" y="62"/>
                </a:cubicBezTo>
                <a:close/>
                <a:moveTo>
                  <a:pt x="2216" y="60"/>
                </a:moveTo>
                <a:cubicBezTo>
                  <a:pt x="2215" y="59"/>
                  <a:pt x="2216" y="59"/>
                  <a:pt x="2216" y="59"/>
                </a:cubicBezTo>
                <a:cubicBezTo>
                  <a:pt x="2216" y="59"/>
                  <a:pt x="2217" y="59"/>
                  <a:pt x="2218" y="59"/>
                </a:cubicBezTo>
                <a:cubicBezTo>
                  <a:pt x="2219" y="58"/>
                  <a:pt x="2218" y="59"/>
                  <a:pt x="2219" y="59"/>
                </a:cubicBezTo>
                <a:cubicBezTo>
                  <a:pt x="2219" y="60"/>
                  <a:pt x="2222" y="61"/>
                  <a:pt x="2222" y="62"/>
                </a:cubicBezTo>
                <a:cubicBezTo>
                  <a:pt x="2222" y="62"/>
                  <a:pt x="2222" y="62"/>
                  <a:pt x="2222" y="62"/>
                </a:cubicBezTo>
                <a:cubicBezTo>
                  <a:pt x="2222" y="62"/>
                  <a:pt x="2222" y="62"/>
                  <a:pt x="2222" y="62"/>
                </a:cubicBezTo>
                <a:cubicBezTo>
                  <a:pt x="2224" y="62"/>
                  <a:pt x="2225" y="63"/>
                  <a:pt x="2225" y="63"/>
                </a:cubicBezTo>
                <a:cubicBezTo>
                  <a:pt x="2225" y="63"/>
                  <a:pt x="2224" y="63"/>
                  <a:pt x="2223" y="63"/>
                </a:cubicBezTo>
                <a:cubicBezTo>
                  <a:pt x="2225" y="65"/>
                  <a:pt x="2225" y="64"/>
                  <a:pt x="2223" y="64"/>
                </a:cubicBezTo>
                <a:cubicBezTo>
                  <a:pt x="2222" y="64"/>
                  <a:pt x="2222" y="65"/>
                  <a:pt x="2221" y="64"/>
                </a:cubicBezTo>
                <a:cubicBezTo>
                  <a:pt x="2220" y="64"/>
                  <a:pt x="2218" y="63"/>
                  <a:pt x="2218" y="62"/>
                </a:cubicBezTo>
                <a:cubicBezTo>
                  <a:pt x="2218" y="62"/>
                  <a:pt x="2217" y="62"/>
                  <a:pt x="2217" y="61"/>
                </a:cubicBezTo>
                <a:cubicBezTo>
                  <a:pt x="2217" y="61"/>
                  <a:pt x="2217" y="61"/>
                  <a:pt x="2217" y="61"/>
                </a:cubicBezTo>
                <a:cubicBezTo>
                  <a:pt x="2215" y="60"/>
                  <a:pt x="2215" y="60"/>
                  <a:pt x="2215" y="60"/>
                </a:cubicBezTo>
                <a:lnTo>
                  <a:pt x="2216" y="60"/>
                </a:lnTo>
                <a:close/>
                <a:moveTo>
                  <a:pt x="1962" y="32"/>
                </a:moveTo>
                <a:cubicBezTo>
                  <a:pt x="1962" y="31"/>
                  <a:pt x="1963" y="33"/>
                  <a:pt x="1963" y="33"/>
                </a:cubicBezTo>
                <a:cubicBezTo>
                  <a:pt x="1964" y="33"/>
                  <a:pt x="1967" y="30"/>
                  <a:pt x="1968" y="32"/>
                </a:cubicBezTo>
                <a:cubicBezTo>
                  <a:pt x="1969" y="32"/>
                  <a:pt x="1972" y="32"/>
                  <a:pt x="1971" y="33"/>
                </a:cubicBezTo>
                <a:cubicBezTo>
                  <a:pt x="1971" y="33"/>
                  <a:pt x="1972" y="34"/>
                  <a:pt x="1972" y="35"/>
                </a:cubicBezTo>
                <a:cubicBezTo>
                  <a:pt x="1974" y="33"/>
                  <a:pt x="1973" y="33"/>
                  <a:pt x="1977" y="33"/>
                </a:cubicBezTo>
                <a:cubicBezTo>
                  <a:pt x="1980" y="33"/>
                  <a:pt x="1978" y="34"/>
                  <a:pt x="1984" y="34"/>
                </a:cubicBezTo>
                <a:cubicBezTo>
                  <a:pt x="1985" y="34"/>
                  <a:pt x="1984" y="34"/>
                  <a:pt x="1985" y="33"/>
                </a:cubicBezTo>
                <a:cubicBezTo>
                  <a:pt x="1986" y="32"/>
                  <a:pt x="1987" y="33"/>
                  <a:pt x="1988" y="33"/>
                </a:cubicBezTo>
                <a:cubicBezTo>
                  <a:pt x="1989" y="33"/>
                  <a:pt x="1990" y="35"/>
                  <a:pt x="1991" y="36"/>
                </a:cubicBezTo>
                <a:cubicBezTo>
                  <a:pt x="1992" y="38"/>
                  <a:pt x="1995" y="38"/>
                  <a:pt x="1995" y="38"/>
                </a:cubicBezTo>
                <a:cubicBezTo>
                  <a:pt x="1994" y="39"/>
                  <a:pt x="1992" y="40"/>
                  <a:pt x="1991" y="40"/>
                </a:cubicBezTo>
                <a:cubicBezTo>
                  <a:pt x="1985" y="40"/>
                  <a:pt x="1987" y="41"/>
                  <a:pt x="1984" y="41"/>
                </a:cubicBezTo>
                <a:cubicBezTo>
                  <a:pt x="1983" y="42"/>
                  <a:pt x="1981" y="41"/>
                  <a:pt x="1979" y="41"/>
                </a:cubicBezTo>
                <a:cubicBezTo>
                  <a:pt x="1976" y="41"/>
                  <a:pt x="1977" y="41"/>
                  <a:pt x="1975" y="42"/>
                </a:cubicBezTo>
                <a:cubicBezTo>
                  <a:pt x="1971" y="42"/>
                  <a:pt x="1971" y="41"/>
                  <a:pt x="1967" y="42"/>
                </a:cubicBezTo>
                <a:cubicBezTo>
                  <a:pt x="1961" y="44"/>
                  <a:pt x="1963" y="43"/>
                  <a:pt x="1961" y="42"/>
                </a:cubicBezTo>
                <a:cubicBezTo>
                  <a:pt x="1960" y="42"/>
                  <a:pt x="1961" y="40"/>
                  <a:pt x="1961" y="40"/>
                </a:cubicBezTo>
                <a:cubicBezTo>
                  <a:pt x="1961" y="40"/>
                  <a:pt x="1961" y="38"/>
                  <a:pt x="1961" y="37"/>
                </a:cubicBezTo>
                <a:cubicBezTo>
                  <a:pt x="1962" y="36"/>
                  <a:pt x="1963" y="37"/>
                  <a:pt x="1963" y="36"/>
                </a:cubicBezTo>
                <a:cubicBezTo>
                  <a:pt x="1961" y="35"/>
                  <a:pt x="1958" y="35"/>
                  <a:pt x="1962" y="32"/>
                </a:cubicBezTo>
                <a:close/>
                <a:moveTo>
                  <a:pt x="2080" y="72"/>
                </a:moveTo>
                <a:cubicBezTo>
                  <a:pt x="2081" y="72"/>
                  <a:pt x="2083" y="71"/>
                  <a:pt x="2084" y="71"/>
                </a:cubicBezTo>
                <a:cubicBezTo>
                  <a:pt x="2086" y="71"/>
                  <a:pt x="2086" y="70"/>
                  <a:pt x="2086" y="71"/>
                </a:cubicBezTo>
                <a:cubicBezTo>
                  <a:pt x="2087" y="73"/>
                  <a:pt x="2089" y="72"/>
                  <a:pt x="2085" y="74"/>
                </a:cubicBezTo>
                <a:cubicBezTo>
                  <a:pt x="2085" y="74"/>
                  <a:pt x="2086" y="75"/>
                  <a:pt x="2085" y="75"/>
                </a:cubicBezTo>
                <a:cubicBezTo>
                  <a:pt x="2083" y="75"/>
                  <a:pt x="2081" y="75"/>
                  <a:pt x="2080" y="74"/>
                </a:cubicBezTo>
                <a:cubicBezTo>
                  <a:pt x="2079" y="74"/>
                  <a:pt x="2078" y="75"/>
                  <a:pt x="2077" y="74"/>
                </a:cubicBezTo>
                <a:cubicBezTo>
                  <a:pt x="2074" y="73"/>
                  <a:pt x="2074" y="74"/>
                  <a:pt x="2077" y="72"/>
                </a:cubicBezTo>
                <a:cubicBezTo>
                  <a:pt x="2076" y="71"/>
                  <a:pt x="2079" y="72"/>
                  <a:pt x="2080" y="72"/>
                </a:cubicBezTo>
                <a:close/>
                <a:moveTo>
                  <a:pt x="2288" y="78"/>
                </a:moveTo>
                <a:cubicBezTo>
                  <a:pt x="2289" y="80"/>
                  <a:pt x="2292" y="79"/>
                  <a:pt x="2294" y="79"/>
                </a:cubicBezTo>
                <a:cubicBezTo>
                  <a:pt x="2296" y="79"/>
                  <a:pt x="2300" y="82"/>
                  <a:pt x="2300" y="83"/>
                </a:cubicBezTo>
                <a:cubicBezTo>
                  <a:pt x="2300" y="83"/>
                  <a:pt x="2299" y="83"/>
                  <a:pt x="2297" y="83"/>
                </a:cubicBezTo>
                <a:cubicBezTo>
                  <a:pt x="2294" y="83"/>
                  <a:pt x="2294" y="83"/>
                  <a:pt x="2288" y="82"/>
                </a:cubicBezTo>
                <a:cubicBezTo>
                  <a:pt x="2277" y="81"/>
                  <a:pt x="2269" y="83"/>
                  <a:pt x="2277" y="79"/>
                </a:cubicBezTo>
                <a:cubicBezTo>
                  <a:pt x="2277" y="78"/>
                  <a:pt x="2277" y="77"/>
                  <a:pt x="2277" y="77"/>
                </a:cubicBezTo>
                <a:cubicBezTo>
                  <a:pt x="2278" y="76"/>
                  <a:pt x="2288" y="77"/>
                  <a:pt x="2288" y="78"/>
                </a:cubicBezTo>
                <a:close/>
                <a:moveTo>
                  <a:pt x="1686" y="24"/>
                </a:moveTo>
                <a:cubicBezTo>
                  <a:pt x="1685" y="25"/>
                  <a:pt x="1680" y="26"/>
                  <a:pt x="1679" y="26"/>
                </a:cubicBezTo>
                <a:cubicBezTo>
                  <a:pt x="1678" y="25"/>
                  <a:pt x="1678" y="24"/>
                  <a:pt x="1679" y="24"/>
                </a:cubicBezTo>
                <a:cubicBezTo>
                  <a:pt x="1681" y="23"/>
                  <a:pt x="1683" y="22"/>
                  <a:pt x="1685" y="22"/>
                </a:cubicBezTo>
                <a:cubicBezTo>
                  <a:pt x="1686" y="22"/>
                  <a:pt x="1687" y="23"/>
                  <a:pt x="1686" y="24"/>
                </a:cubicBezTo>
                <a:close/>
                <a:moveTo>
                  <a:pt x="2570" y="103"/>
                </a:moveTo>
                <a:cubicBezTo>
                  <a:pt x="2569" y="100"/>
                  <a:pt x="2569" y="100"/>
                  <a:pt x="2569" y="100"/>
                </a:cubicBezTo>
                <a:cubicBezTo>
                  <a:pt x="2571" y="98"/>
                  <a:pt x="2573" y="97"/>
                  <a:pt x="2577" y="97"/>
                </a:cubicBezTo>
                <a:cubicBezTo>
                  <a:pt x="2579" y="98"/>
                  <a:pt x="2580" y="97"/>
                  <a:pt x="2581" y="98"/>
                </a:cubicBezTo>
                <a:cubicBezTo>
                  <a:pt x="2583" y="98"/>
                  <a:pt x="2582" y="98"/>
                  <a:pt x="2585" y="98"/>
                </a:cubicBezTo>
                <a:cubicBezTo>
                  <a:pt x="2590" y="99"/>
                  <a:pt x="2590" y="99"/>
                  <a:pt x="2594" y="101"/>
                </a:cubicBezTo>
                <a:cubicBezTo>
                  <a:pt x="2600" y="104"/>
                  <a:pt x="2591" y="103"/>
                  <a:pt x="2588" y="103"/>
                </a:cubicBezTo>
                <a:cubicBezTo>
                  <a:pt x="2580" y="103"/>
                  <a:pt x="2580" y="103"/>
                  <a:pt x="2580" y="103"/>
                </a:cubicBezTo>
                <a:cubicBezTo>
                  <a:pt x="2578" y="103"/>
                  <a:pt x="2579" y="103"/>
                  <a:pt x="2577" y="104"/>
                </a:cubicBezTo>
                <a:cubicBezTo>
                  <a:pt x="2575" y="104"/>
                  <a:pt x="2573" y="105"/>
                  <a:pt x="2572" y="104"/>
                </a:cubicBezTo>
                <a:cubicBezTo>
                  <a:pt x="2571" y="104"/>
                  <a:pt x="2570" y="103"/>
                  <a:pt x="2570" y="103"/>
                </a:cubicBezTo>
                <a:close/>
                <a:moveTo>
                  <a:pt x="1662" y="20"/>
                </a:moveTo>
                <a:cubicBezTo>
                  <a:pt x="1662" y="19"/>
                  <a:pt x="1663" y="19"/>
                  <a:pt x="1668" y="20"/>
                </a:cubicBezTo>
                <a:cubicBezTo>
                  <a:pt x="1672" y="20"/>
                  <a:pt x="1669" y="18"/>
                  <a:pt x="1669" y="18"/>
                </a:cubicBezTo>
                <a:cubicBezTo>
                  <a:pt x="1668" y="17"/>
                  <a:pt x="1666" y="18"/>
                  <a:pt x="1667" y="17"/>
                </a:cubicBezTo>
                <a:cubicBezTo>
                  <a:pt x="1669" y="16"/>
                  <a:pt x="1673" y="17"/>
                  <a:pt x="1675" y="15"/>
                </a:cubicBezTo>
                <a:cubicBezTo>
                  <a:pt x="1675" y="15"/>
                  <a:pt x="1676" y="15"/>
                  <a:pt x="1678" y="15"/>
                </a:cubicBezTo>
                <a:cubicBezTo>
                  <a:pt x="1680" y="15"/>
                  <a:pt x="1680" y="14"/>
                  <a:pt x="1682" y="14"/>
                </a:cubicBezTo>
                <a:cubicBezTo>
                  <a:pt x="1683" y="14"/>
                  <a:pt x="1686" y="17"/>
                  <a:pt x="1686" y="17"/>
                </a:cubicBezTo>
                <a:cubicBezTo>
                  <a:pt x="1683" y="18"/>
                  <a:pt x="1680" y="15"/>
                  <a:pt x="1677" y="18"/>
                </a:cubicBezTo>
                <a:cubicBezTo>
                  <a:pt x="1677" y="18"/>
                  <a:pt x="1679" y="18"/>
                  <a:pt x="1680" y="18"/>
                </a:cubicBezTo>
                <a:cubicBezTo>
                  <a:pt x="1681" y="18"/>
                  <a:pt x="1686" y="20"/>
                  <a:pt x="1685" y="20"/>
                </a:cubicBezTo>
                <a:cubicBezTo>
                  <a:pt x="1684" y="20"/>
                  <a:pt x="1681" y="21"/>
                  <a:pt x="1679" y="21"/>
                </a:cubicBezTo>
                <a:cubicBezTo>
                  <a:pt x="1678" y="21"/>
                  <a:pt x="1676" y="22"/>
                  <a:pt x="1676" y="22"/>
                </a:cubicBezTo>
                <a:cubicBezTo>
                  <a:pt x="1675" y="22"/>
                  <a:pt x="1674" y="21"/>
                  <a:pt x="1673" y="21"/>
                </a:cubicBezTo>
                <a:cubicBezTo>
                  <a:pt x="1672" y="20"/>
                  <a:pt x="1667" y="20"/>
                  <a:pt x="1666" y="20"/>
                </a:cubicBezTo>
                <a:cubicBezTo>
                  <a:pt x="1666" y="20"/>
                  <a:pt x="1667" y="21"/>
                  <a:pt x="1667" y="21"/>
                </a:cubicBezTo>
                <a:cubicBezTo>
                  <a:pt x="1667" y="21"/>
                  <a:pt x="1664" y="22"/>
                  <a:pt x="1662" y="21"/>
                </a:cubicBezTo>
                <a:cubicBezTo>
                  <a:pt x="1661" y="21"/>
                  <a:pt x="1662" y="20"/>
                  <a:pt x="1662" y="20"/>
                </a:cubicBezTo>
                <a:close/>
                <a:moveTo>
                  <a:pt x="2289" y="63"/>
                </a:moveTo>
                <a:cubicBezTo>
                  <a:pt x="2290" y="62"/>
                  <a:pt x="2291" y="62"/>
                  <a:pt x="2291" y="62"/>
                </a:cubicBezTo>
                <a:cubicBezTo>
                  <a:pt x="2292" y="63"/>
                  <a:pt x="2293" y="65"/>
                  <a:pt x="2297" y="65"/>
                </a:cubicBezTo>
                <a:cubicBezTo>
                  <a:pt x="2297" y="64"/>
                  <a:pt x="2297" y="64"/>
                  <a:pt x="2298" y="64"/>
                </a:cubicBezTo>
                <a:cubicBezTo>
                  <a:pt x="2305" y="64"/>
                  <a:pt x="2305" y="64"/>
                  <a:pt x="2305" y="64"/>
                </a:cubicBezTo>
                <a:cubicBezTo>
                  <a:pt x="2306" y="64"/>
                  <a:pt x="2306" y="66"/>
                  <a:pt x="2306" y="66"/>
                </a:cubicBezTo>
                <a:cubicBezTo>
                  <a:pt x="2307" y="66"/>
                  <a:pt x="2311" y="66"/>
                  <a:pt x="2311" y="65"/>
                </a:cubicBezTo>
                <a:cubicBezTo>
                  <a:pt x="2320" y="65"/>
                  <a:pt x="2316" y="68"/>
                  <a:pt x="2324" y="66"/>
                </a:cubicBezTo>
                <a:cubicBezTo>
                  <a:pt x="2325" y="67"/>
                  <a:pt x="2325" y="68"/>
                  <a:pt x="2326" y="69"/>
                </a:cubicBezTo>
                <a:cubicBezTo>
                  <a:pt x="2323" y="70"/>
                  <a:pt x="2319" y="70"/>
                  <a:pt x="2316" y="70"/>
                </a:cubicBezTo>
                <a:cubicBezTo>
                  <a:pt x="2314" y="70"/>
                  <a:pt x="2313" y="70"/>
                  <a:pt x="2311" y="69"/>
                </a:cubicBezTo>
                <a:cubicBezTo>
                  <a:pt x="2311" y="68"/>
                  <a:pt x="2309" y="69"/>
                  <a:pt x="2307" y="69"/>
                </a:cubicBezTo>
                <a:cubicBezTo>
                  <a:pt x="2305" y="69"/>
                  <a:pt x="2306" y="68"/>
                  <a:pt x="2304" y="68"/>
                </a:cubicBezTo>
                <a:cubicBezTo>
                  <a:pt x="2301" y="67"/>
                  <a:pt x="2297" y="67"/>
                  <a:pt x="2295" y="66"/>
                </a:cubicBezTo>
                <a:cubicBezTo>
                  <a:pt x="2295" y="66"/>
                  <a:pt x="2292" y="66"/>
                  <a:pt x="2291" y="65"/>
                </a:cubicBezTo>
                <a:cubicBezTo>
                  <a:pt x="2290" y="64"/>
                  <a:pt x="2289" y="64"/>
                  <a:pt x="2289" y="63"/>
                </a:cubicBezTo>
                <a:close/>
                <a:moveTo>
                  <a:pt x="1687" y="87"/>
                </a:moveTo>
                <a:cubicBezTo>
                  <a:pt x="1686" y="86"/>
                  <a:pt x="1687" y="86"/>
                  <a:pt x="1688" y="85"/>
                </a:cubicBezTo>
                <a:cubicBezTo>
                  <a:pt x="1689" y="85"/>
                  <a:pt x="1691" y="86"/>
                  <a:pt x="1692" y="85"/>
                </a:cubicBezTo>
                <a:cubicBezTo>
                  <a:pt x="1692" y="84"/>
                  <a:pt x="1691" y="83"/>
                  <a:pt x="1692" y="82"/>
                </a:cubicBezTo>
                <a:cubicBezTo>
                  <a:pt x="1693" y="82"/>
                  <a:pt x="1694" y="82"/>
                  <a:pt x="1695" y="81"/>
                </a:cubicBezTo>
                <a:cubicBezTo>
                  <a:pt x="1696" y="81"/>
                  <a:pt x="1697" y="79"/>
                  <a:pt x="1696" y="79"/>
                </a:cubicBezTo>
                <a:cubicBezTo>
                  <a:pt x="1696" y="78"/>
                  <a:pt x="1694" y="79"/>
                  <a:pt x="1693" y="78"/>
                </a:cubicBezTo>
                <a:cubicBezTo>
                  <a:pt x="1692" y="77"/>
                  <a:pt x="1694" y="75"/>
                  <a:pt x="1694" y="75"/>
                </a:cubicBezTo>
                <a:cubicBezTo>
                  <a:pt x="1695" y="74"/>
                  <a:pt x="1695" y="74"/>
                  <a:pt x="1697" y="74"/>
                </a:cubicBezTo>
                <a:cubicBezTo>
                  <a:pt x="1699" y="74"/>
                  <a:pt x="1699" y="76"/>
                  <a:pt x="1700" y="73"/>
                </a:cubicBezTo>
                <a:cubicBezTo>
                  <a:pt x="1701" y="69"/>
                  <a:pt x="1702" y="67"/>
                  <a:pt x="1702" y="67"/>
                </a:cubicBezTo>
                <a:cubicBezTo>
                  <a:pt x="1702" y="67"/>
                  <a:pt x="1703" y="67"/>
                  <a:pt x="1705" y="67"/>
                </a:cubicBezTo>
                <a:cubicBezTo>
                  <a:pt x="1706" y="66"/>
                  <a:pt x="1707" y="61"/>
                  <a:pt x="1708" y="61"/>
                </a:cubicBezTo>
                <a:cubicBezTo>
                  <a:pt x="1709" y="61"/>
                  <a:pt x="1708" y="61"/>
                  <a:pt x="1710" y="61"/>
                </a:cubicBezTo>
                <a:cubicBezTo>
                  <a:pt x="1712" y="61"/>
                  <a:pt x="1713" y="59"/>
                  <a:pt x="1715" y="59"/>
                </a:cubicBezTo>
                <a:cubicBezTo>
                  <a:pt x="1717" y="59"/>
                  <a:pt x="1717" y="59"/>
                  <a:pt x="1719" y="59"/>
                </a:cubicBezTo>
                <a:cubicBezTo>
                  <a:pt x="1722" y="59"/>
                  <a:pt x="1724" y="59"/>
                  <a:pt x="1725" y="59"/>
                </a:cubicBezTo>
                <a:cubicBezTo>
                  <a:pt x="1726" y="59"/>
                  <a:pt x="1727" y="59"/>
                  <a:pt x="1730" y="58"/>
                </a:cubicBezTo>
                <a:cubicBezTo>
                  <a:pt x="1732" y="56"/>
                  <a:pt x="1732" y="55"/>
                  <a:pt x="1733" y="55"/>
                </a:cubicBezTo>
                <a:cubicBezTo>
                  <a:pt x="1734" y="55"/>
                  <a:pt x="1734" y="55"/>
                  <a:pt x="1736" y="55"/>
                </a:cubicBezTo>
                <a:cubicBezTo>
                  <a:pt x="1738" y="55"/>
                  <a:pt x="1738" y="55"/>
                  <a:pt x="1740" y="55"/>
                </a:cubicBezTo>
                <a:cubicBezTo>
                  <a:pt x="1742" y="55"/>
                  <a:pt x="1741" y="55"/>
                  <a:pt x="1744" y="55"/>
                </a:cubicBezTo>
                <a:cubicBezTo>
                  <a:pt x="1747" y="55"/>
                  <a:pt x="1749" y="54"/>
                  <a:pt x="1750" y="54"/>
                </a:cubicBezTo>
                <a:cubicBezTo>
                  <a:pt x="1761" y="54"/>
                  <a:pt x="1758" y="52"/>
                  <a:pt x="1760" y="51"/>
                </a:cubicBezTo>
                <a:cubicBezTo>
                  <a:pt x="1761" y="50"/>
                  <a:pt x="1768" y="50"/>
                  <a:pt x="1769" y="51"/>
                </a:cubicBezTo>
                <a:cubicBezTo>
                  <a:pt x="1770" y="51"/>
                  <a:pt x="1776" y="51"/>
                  <a:pt x="1776" y="51"/>
                </a:cubicBezTo>
                <a:cubicBezTo>
                  <a:pt x="1781" y="52"/>
                  <a:pt x="1780" y="51"/>
                  <a:pt x="1778" y="54"/>
                </a:cubicBezTo>
                <a:cubicBezTo>
                  <a:pt x="1777" y="55"/>
                  <a:pt x="1778" y="55"/>
                  <a:pt x="1776" y="55"/>
                </a:cubicBezTo>
                <a:cubicBezTo>
                  <a:pt x="1775" y="55"/>
                  <a:pt x="1770" y="56"/>
                  <a:pt x="1769" y="57"/>
                </a:cubicBezTo>
                <a:cubicBezTo>
                  <a:pt x="1769" y="57"/>
                  <a:pt x="1765" y="57"/>
                  <a:pt x="1765" y="58"/>
                </a:cubicBezTo>
                <a:cubicBezTo>
                  <a:pt x="1764" y="59"/>
                  <a:pt x="1768" y="59"/>
                  <a:pt x="1759" y="59"/>
                </a:cubicBezTo>
                <a:cubicBezTo>
                  <a:pt x="1757" y="59"/>
                  <a:pt x="1753" y="60"/>
                  <a:pt x="1752" y="61"/>
                </a:cubicBezTo>
                <a:cubicBezTo>
                  <a:pt x="1751" y="62"/>
                  <a:pt x="1753" y="61"/>
                  <a:pt x="1749" y="62"/>
                </a:cubicBezTo>
                <a:cubicBezTo>
                  <a:pt x="1744" y="62"/>
                  <a:pt x="1743" y="62"/>
                  <a:pt x="1739" y="64"/>
                </a:cubicBezTo>
                <a:cubicBezTo>
                  <a:pt x="1736" y="66"/>
                  <a:pt x="1730" y="66"/>
                  <a:pt x="1730" y="66"/>
                </a:cubicBezTo>
                <a:cubicBezTo>
                  <a:pt x="1730" y="66"/>
                  <a:pt x="1729" y="65"/>
                  <a:pt x="1729" y="67"/>
                </a:cubicBezTo>
                <a:cubicBezTo>
                  <a:pt x="1730" y="69"/>
                  <a:pt x="1734" y="67"/>
                  <a:pt x="1730" y="69"/>
                </a:cubicBezTo>
                <a:cubicBezTo>
                  <a:pt x="1725" y="71"/>
                  <a:pt x="1723" y="71"/>
                  <a:pt x="1723" y="71"/>
                </a:cubicBezTo>
                <a:cubicBezTo>
                  <a:pt x="1722" y="71"/>
                  <a:pt x="1720" y="71"/>
                  <a:pt x="1720" y="72"/>
                </a:cubicBezTo>
                <a:cubicBezTo>
                  <a:pt x="1719" y="73"/>
                  <a:pt x="1721" y="75"/>
                  <a:pt x="1720" y="75"/>
                </a:cubicBezTo>
                <a:cubicBezTo>
                  <a:pt x="1718" y="76"/>
                  <a:pt x="1715" y="72"/>
                  <a:pt x="1715" y="74"/>
                </a:cubicBezTo>
                <a:cubicBezTo>
                  <a:pt x="1715" y="76"/>
                  <a:pt x="1719" y="76"/>
                  <a:pt x="1719" y="77"/>
                </a:cubicBezTo>
                <a:cubicBezTo>
                  <a:pt x="1720" y="78"/>
                  <a:pt x="1718" y="77"/>
                  <a:pt x="1718" y="78"/>
                </a:cubicBezTo>
                <a:cubicBezTo>
                  <a:pt x="1717" y="79"/>
                  <a:pt x="1719" y="79"/>
                  <a:pt x="1718" y="80"/>
                </a:cubicBezTo>
                <a:cubicBezTo>
                  <a:pt x="1717" y="82"/>
                  <a:pt x="1714" y="82"/>
                  <a:pt x="1712" y="84"/>
                </a:cubicBezTo>
                <a:cubicBezTo>
                  <a:pt x="1711" y="85"/>
                  <a:pt x="1713" y="85"/>
                  <a:pt x="1712" y="86"/>
                </a:cubicBezTo>
                <a:cubicBezTo>
                  <a:pt x="1711" y="87"/>
                  <a:pt x="1709" y="88"/>
                  <a:pt x="1709" y="89"/>
                </a:cubicBezTo>
                <a:cubicBezTo>
                  <a:pt x="1708" y="90"/>
                  <a:pt x="1711" y="90"/>
                  <a:pt x="1711" y="91"/>
                </a:cubicBezTo>
                <a:cubicBezTo>
                  <a:pt x="1712" y="92"/>
                  <a:pt x="1711" y="92"/>
                  <a:pt x="1712" y="93"/>
                </a:cubicBezTo>
                <a:cubicBezTo>
                  <a:pt x="1712" y="94"/>
                  <a:pt x="1713" y="96"/>
                  <a:pt x="1714" y="96"/>
                </a:cubicBezTo>
                <a:cubicBezTo>
                  <a:pt x="1715" y="98"/>
                  <a:pt x="1721" y="99"/>
                  <a:pt x="1722" y="100"/>
                </a:cubicBezTo>
                <a:cubicBezTo>
                  <a:pt x="1723" y="100"/>
                  <a:pt x="1722" y="101"/>
                  <a:pt x="1726" y="102"/>
                </a:cubicBezTo>
                <a:cubicBezTo>
                  <a:pt x="1728" y="103"/>
                  <a:pt x="1732" y="101"/>
                  <a:pt x="1734" y="102"/>
                </a:cubicBezTo>
                <a:cubicBezTo>
                  <a:pt x="1736" y="102"/>
                  <a:pt x="1734" y="105"/>
                  <a:pt x="1734" y="105"/>
                </a:cubicBezTo>
                <a:cubicBezTo>
                  <a:pt x="1737" y="107"/>
                  <a:pt x="1720" y="107"/>
                  <a:pt x="1719" y="107"/>
                </a:cubicBezTo>
                <a:cubicBezTo>
                  <a:pt x="1716" y="105"/>
                  <a:pt x="1717" y="106"/>
                  <a:pt x="1712" y="106"/>
                </a:cubicBezTo>
                <a:cubicBezTo>
                  <a:pt x="1711" y="106"/>
                  <a:pt x="1707" y="106"/>
                  <a:pt x="1706" y="106"/>
                </a:cubicBezTo>
                <a:cubicBezTo>
                  <a:pt x="1706" y="105"/>
                  <a:pt x="1704" y="104"/>
                  <a:pt x="1704" y="104"/>
                </a:cubicBezTo>
                <a:cubicBezTo>
                  <a:pt x="1703" y="103"/>
                  <a:pt x="1704" y="103"/>
                  <a:pt x="1703" y="102"/>
                </a:cubicBezTo>
                <a:cubicBezTo>
                  <a:pt x="1698" y="97"/>
                  <a:pt x="1698" y="98"/>
                  <a:pt x="1696" y="99"/>
                </a:cubicBezTo>
                <a:cubicBezTo>
                  <a:pt x="1696" y="99"/>
                  <a:pt x="1696" y="102"/>
                  <a:pt x="1695" y="102"/>
                </a:cubicBezTo>
                <a:cubicBezTo>
                  <a:pt x="1691" y="101"/>
                  <a:pt x="1691" y="99"/>
                  <a:pt x="1691" y="96"/>
                </a:cubicBezTo>
                <a:cubicBezTo>
                  <a:pt x="1691" y="96"/>
                  <a:pt x="1689" y="97"/>
                  <a:pt x="1687" y="97"/>
                </a:cubicBezTo>
                <a:cubicBezTo>
                  <a:pt x="1685" y="97"/>
                  <a:pt x="1681" y="98"/>
                  <a:pt x="1681" y="97"/>
                </a:cubicBezTo>
                <a:cubicBezTo>
                  <a:pt x="1681" y="97"/>
                  <a:pt x="1681" y="95"/>
                  <a:pt x="1681" y="94"/>
                </a:cubicBezTo>
                <a:cubicBezTo>
                  <a:pt x="1682" y="92"/>
                  <a:pt x="1686" y="93"/>
                  <a:pt x="1686" y="93"/>
                </a:cubicBezTo>
                <a:cubicBezTo>
                  <a:pt x="1687" y="92"/>
                  <a:pt x="1688" y="91"/>
                  <a:pt x="1689" y="90"/>
                </a:cubicBezTo>
                <a:cubicBezTo>
                  <a:pt x="1689" y="89"/>
                  <a:pt x="1690" y="89"/>
                  <a:pt x="1690" y="89"/>
                </a:cubicBezTo>
                <a:cubicBezTo>
                  <a:pt x="1692" y="85"/>
                  <a:pt x="1688" y="87"/>
                  <a:pt x="1687" y="87"/>
                </a:cubicBezTo>
                <a:close/>
                <a:moveTo>
                  <a:pt x="1681" y="123"/>
                </a:moveTo>
                <a:cubicBezTo>
                  <a:pt x="1675" y="123"/>
                  <a:pt x="1676" y="122"/>
                  <a:pt x="1671" y="121"/>
                </a:cubicBezTo>
                <a:cubicBezTo>
                  <a:pt x="1670" y="117"/>
                  <a:pt x="1670" y="117"/>
                  <a:pt x="1670" y="117"/>
                </a:cubicBezTo>
                <a:cubicBezTo>
                  <a:pt x="1671" y="116"/>
                  <a:pt x="1671" y="116"/>
                  <a:pt x="1671" y="116"/>
                </a:cubicBezTo>
                <a:cubicBezTo>
                  <a:pt x="1674" y="115"/>
                  <a:pt x="1674" y="115"/>
                  <a:pt x="1674" y="115"/>
                </a:cubicBezTo>
                <a:cubicBezTo>
                  <a:pt x="1674" y="115"/>
                  <a:pt x="1681" y="117"/>
                  <a:pt x="1682" y="117"/>
                </a:cubicBezTo>
                <a:cubicBezTo>
                  <a:pt x="1683" y="117"/>
                  <a:pt x="1685" y="119"/>
                  <a:pt x="1685" y="119"/>
                </a:cubicBezTo>
                <a:cubicBezTo>
                  <a:pt x="1683" y="121"/>
                  <a:pt x="1681" y="119"/>
                  <a:pt x="1681" y="123"/>
                </a:cubicBezTo>
                <a:close/>
                <a:moveTo>
                  <a:pt x="1688" y="26"/>
                </a:moveTo>
                <a:cubicBezTo>
                  <a:pt x="1688" y="25"/>
                  <a:pt x="1687" y="23"/>
                  <a:pt x="1688" y="23"/>
                </a:cubicBezTo>
                <a:cubicBezTo>
                  <a:pt x="1688" y="23"/>
                  <a:pt x="1688" y="23"/>
                  <a:pt x="1688" y="23"/>
                </a:cubicBezTo>
                <a:cubicBezTo>
                  <a:pt x="1688" y="23"/>
                  <a:pt x="1692" y="21"/>
                  <a:pt x="1693" y="23"/>
                </a:cubicBezTo>
                <a:cubicBezTo>
                  <a:pt x="1693" y="24"/>
                  <a:pt x="1693" y="26"/>
                  <a:pt x="1692" y="26"/>
                </a:cubicBezTo>
                <a:cubicBezTo>
                  <a:pt x="1690" y="26"/>
                  <a:pt x="1689" y="26"/>
                  <a:pt x="1688" y="26"/>
                </a:cubicBezTo>
                <a:close/>
                <a:moveTo>
                  <a:pt x="1701" y="24"/>
                </a:moveTo>
                <a:cubicBezTo>
                  <a:pt x="1701" y="26"/>
                  <a:pt x="1701" y="28"/>
                  <a:pt x="1700" y="28"/>
                </a:cubicBezTo>
                <a:cubicBezTo>
                  <a:pt x="1700" y="28"/>
                  <a:pt x="1695" y="25"/>
                  <a:pt x="1695" y="25"/>
                </a:cubicBezTo>
                <a:cubicBezTo>
                  <a:pt x="1695" y="25"/>
                  <a:pt x="1701" y="23"/>
                  <a:pt x="1701" y="24"/>
                </a:cubicBezTo>
                <a:close/>
                <a:moveTo>
                  <a:pt x="1695" y="22"/>
                </a:moveTo>
                <a:cubicBezTo>
                  <a:pt x="1695" y="21"/>
                  <a:pt x="1694" y="20"/>
                  <a:pt x="1695" y="20"/>
                </a:cubicBezTo>
                <a:cubicBezTo>
                  <a:pt x="1695" y="20"/>
                  <a:pt x="1699" y="21"/>
                  <a:pt x="1701" y="21"/>
                </a:cubicBezTo>
                <a:cubicBezTo>
                  <a:pt x="1703" y="21"/>
                  <a:pt x="1704" y="19"/>
                  <a:pt x="1706" y="19"/>
                </a:cubicBezTo>
                <a:cubicBezTo>
                  <a:pt x="1709" y="19"/>
                  <a:pt x="1711" y="20"/>
                  <a:pt x="1711" y="20"/>
                </a:cubicBezTo>
                <a:cubicBezTo>
                  <a:pt x="1711" y="21"/>
                  <a:pt x="1712" y="22"/>
                  <a:pt x="1708" y="22"/>
                </a:cubicBezTo>
                <a:cubicBezTo>
                  <a:pt x="1703" y="23"/>
                  <a:pt x="1699" y="23"/>
                  <a:pt x="1695" y="22"/>
                </a:cubicBezTo>
                <a:close/>
                <a:moveTo>
                  <a:pt x="1751" y="110"/>
                </a:moveTo>
                <a:cubicBezTo>
                  <a:pt x="1752" y="111"/>
                  <a:pt x="1755" y="111"/>
                  <a:pt x="1756" y="112"/>
                </a:cubicBezTo>
                <a:cubicBezTo>
                  <a:pt x="1756" y="113"/>
                  <a:pt x="1755" y="114"/>
                  <a:pt x="1754" y="115"/>
                </a:cubicBezTo>
                <a:cubicBezTo>
                  <a:pt x="1753" y="115"/>
                  <a:pt x="1750" y="114"/>
                  <a:pt x="1750" y="114"/>
                </a:cubicBezTo>
                <a:cubicBezTo>
                  <a:pt x="1749" y="114"/>
                  <a:pt x="1749" y="114"/>
                  <a:pt x="1748" y="112"/>
                </a:cubicBezTo>
                <a:cubicBezTo>
                  <a:pt x="1748" y="111"/>
                  <a:pt x="1745" y="112"/>
                  <a:pt x="1744" y="112"/>
                </a:cubicBezTo>
                <a:cubicBezTo>
                  <a:pt x="1742" y="112"/>
                  <a:pt x="1740" y="111"/>
                  <a:pt x="1740" y="111"/>
                </a:cubicBezTo>
                <a:cubicBezTo>
                  <a:pt x="1740" y="111"/>
                  <a:pt x="1738" y="111"/>
                  <a:pt x="1738" y="110"/>
                </a:cubicBezTo>
                <a:cubicBezTo>
                  <a:pt x="1738" y="109"/>
                  <a:pt x="1740" y="107"/>
                  <a:pt x="1741" y="106"/>
                </a:cubicBezTo>
                <a:cubicBezTo>
                  <a:pt x="1741" y="105"/>
                  <a:pt x="1750" y="110"/>
                  <a:pt x="1751" y="110"/>
                </a:cubicBezTo>
                <a:close/>
                <a:moveTo>
                  <a:pt x="2614" y="221"/>
                </a:moveTo>
                <a:cubicBezTo>
                  <a:pt x="2614" y="221"/>
                  <a:pt x="2612" y="220"/>
                  <a:pt x="2612" y="219"/>
                </a:cubicBezTo>
                <a:cubicBezTo>
                  <a:pt x="2614" y="217"/>
                  <a:pt x="2614" y="217"/>
                  <a:pt x="2614" y="217"/>
                </a:cubicBezTo>
                <a:cubicBezTo>
                  <a:pt x="2618" y="218"/>
                  <a:pt x="2618" y="218"/>
                  <a:pt x="2621" y="220"/>
                </a:cubicBezTo>
                <a:cubicBezTo>
                  <a:pt x="2621" y="221"/>
                  <a:pt x="2620" y="221"/>
                  <a:pt x="2619" y="221"/>
                </a:cubicBezTo>
                <a:cubicBezTo>
                  <a:pt x="2618" y="221"/>
                  <a:pt x="2618" y="222"/>
                  <a:pt x="2617" y="223"/>
                </a:cubicBezTo>
                <a:cubicBezTo>
                  <a:pt x="2615" y="225"/>
                  <a:pt x="2615" y="224"/>
                  <a:pt x="2615" y="224"/>
                </a:cubicBezTo>
                <a:cubicBezTo>
                  <a:pt x="2614" y="223"/>
                  <a:pt x="2614" y="223"/>
                  <a:pt x="2614" y="222"/>
                </a:cubicBezTo>
                <a:cubicBezTo>
                  <a:pt x="2613" y="221"/>
                  <a:pt x="2614" y="221"/>
                  <a:pt x="2614" y="221"/>
                </a:cubicBezTo>
                <a:close/>
                <a:moveTo>
                  <a:pt x="2622" y="354"/>
                </a:moveTo>
                <a:cubicBezTo>
                  <a:pt x="2623" y="355"/>
                  <a:pt x="2623" y="355"/>
                  <a:pt x="2623" y="355"/>
                </a:cubicBezTo>
                <a:cubicBezTo>
                  <a:pt x="2623" y="355"/>
                  <a:pt x="2623" y="357"/>
                  <a:pt x="2622" y="358"/>
                </a:cubicBezTo>
                <a:cubicBezTo>
                  <a:pt x="2622" y="358"/>
                  <a:pt x="2624" y="358"/>
                  <a:pt x="2619" y="360"/>
                </a:cubicBezTo>
                <a:cubicBezTo>
                  <a:pt x="2618" y="359"/>
                  <a:pt x="2618" y="359"/>
                  <a:pt x="2618" y="359"/>
                </a:cubicBezTo>
                <a:cubicBezTo>
                  <a:pt x="2620" y="357"/>
                  <a:pt x="2620" y="357"/>
                  <a:pt x="2620" y="357"/>
                </a:cubicBezTo>
                <a:lnTo>
                  <a:pt x="2622" y="354"/>
                </a:lnTo>
                <a:close/>
                <a:moveTo>
                  <a:pt x="1615" y="23"/>
                </a:moveTo>
                <a:cubicBezTo>
                  <a:pt x="1614" y="23"/>
                  <a:pt x="1611" y="22"/>
                  <a:pt x="1611" y="22"/>
                </a:cubicBezTo>
                <a:cubicBezTo>
                  <a:pt x="1613" y="21"/>
                  <a:pt x="1616" y="20"/>
                  <a:pt x="1620" y="20"/>
                </a:cubicBezTo>
                <a:cubicBezTo>
                  <a:pt x="1622" y="21"/>
                  <a:pt x="1622" y="20"/>
                  <a:pt x="1624" y="20"/>
                </a:cubicBezTo>
                <a:cubicBezTo>
                  <a:pt x="1626" y="19"/>
                  <a:pt x="1628" y="17"/>
                  <a:pt x="1629" y="19"/>
                </a:cubicBezTo>
                <a:cubicBezTo>
                  <a:pt x="1630" y="21"/>
                  <a:pt x="1629" y="21"/>
                  <a:pt x="1631" y="21"/>
                </a:cubicBezTo>
                <a:cubicBezTo>
                  <a:pt x="1633" y="21"/>
                  <a:pt x="1635" y="20"/>
                  <a:pt x="1635" y="20"/>
                </a:cubicBezTo>
                <a:cubicBezTo>
                  <a:pt x="1637" y="19"/>
                  <a:pt x="1639" y="18"/>
                  <a:pt x="1640" y="18"/>
                </a:cubicBezTo>
                <a:cubicBezTo>
                  <a:pt x="1642" y="18"/>
                  <a:pt x="1644" y="20"/>
                  <a:pt x="1646" y="20"/>
                </a:cubicBezTo>
                <a:cubicBezTo>
                  <a:pt x="1646" y="20"/>
                  <a:pt x="1649" y="19"/>
                  <a:pt x="1648" y="21"/>
                </a:cubicBezTo>
                <a:cubicBezTo>
                  <a:pt x="1647" y="22"/>
                  <a:pt x="1637" y="22"/>
                  <a:pt x="1637" y="22"/>
                </a:cubicBezTo>
                <a:cubicBezTo>
                  <a:pt x="1637" y="22"/>
                  <a:pt x="1637" y="22"/>
                  <a:pt x="1635" y="24"/>
                </a:cubicBezTo>
                <a:cubicBezTo>
                  <a:pt x="1633" y="26"/>
                  <a:pt x="1627" y="27"/>
                  <a:pt x="1626" y="23"/>
                </a:cubicBezTo>
                <a:cubicBezTo>
                  <a:pt x="1620" y="24"/>
                  <a:pt x="1624" y="25"/>
                  <a:pt x="1621" y="24"/>
                </a:cubicBezTo>
                <a:cubicBezTo>
                  <a:pt x="1617" y="23"/>
                  <a:pt x="1619" y="23"/>
                  <a:pt x="1615" y="23"/>
                </a:cubicBezTo>
                <a:close/>
                <a:moveTo>
                  <a:pt x="1655" y="26"/>
                </a:moveTo>
                <a:cubicBezTo>
                  <a:pt x="1654" y="25"/>
                  <a:pt x="1657" y="23"/>
                  <a:pt x="1657" y="23"/>
                </a:cubicBezTo>
                <a:cubicBezTo>
                  <a:pt x="1657" y="23"/>
                  <a:pt x="1658" y="23"/>
                  <a:pt x="1659" y="23"/>
                </a:cubicBezTo>
                <a:cubicBezTo>
                  <a:pt x="1662" y="23"/>
                  <a:pt x="1664" y="24"/>
                  <a:pt x="1664" y="24"/>
                </a:cubicBezTo>
                <a:cubicBezTo>
                  <a:pt x="1665" y="26"/>
                  <a:pt x="1662" y="26"/>
                  <a:pt x="1658" y="25"/>
                </a:cubicBezTo>
                <a:cubicBezTo>
                  <a:pt x="1656" y="25"/>
                  <a:pt x="1656" y="26"/>
                  <a:pt x="1655" y="26"/>
                </a:cubicBezTo>
                <a:close/>
                <a:moveTo>
                  <a:pt x="2446" y="262"/>
                </a:moveTo>
                <a:cubicBezTo>
                  <a:pt x="2443" y="262"/>
                  <a:pt x="2443" y="262"/>
                  <a:pt x="2442" y="261"/>
                </a:cubicBezTo>
                <a:cubicBezTo>
                  <a:pt x="2440" y="260"/>
                  <a:pt x="2440" y="260"/>
                  <a:pt x="2440" y="259"/>
                </a:cubicBezTo>
                <a:cubicBezTo>
                  <a:pt x="2440" y="259"/>
                  <a:pt x="2440" y="257"/>
                  <a:pt x="2440" y="257"/>
                </a:cubicBezTo>
                <a:cubicBezTo>
                  <a:pt x="2440" y="256"/>
                  <a:pt x="2443" y="256"/>
                  <a:pt x="2444" y="257"/>
                </a:cubicBezTo>
                <a:cubicBezTo>
                  <a:pt x="2445" y="258"/>
                  <a:pt x="2445" y="259"/>
                  <a:pt x="2446" y="260"/>
                </a:cubicBezTo>
                <a:cubicBezTo>
                  <a:pt x="2447" y="261"/>
                  <a:pt x="2448" y="261"/>
                  <a:pt x="2446" y="262"/>
                </a:cubicBezTo>
                <a:close/>
                <a:moveTo>
                  <a:pt x="2437" y="260"/>
                </a:moveTo>
                <a:cubicBezTo>
                  <a:pt x="2436" y="260"/>
                  <a:pt x="2435" y="260"/>
                  <a:pt x="2435" y="260"/>
                </a:cubicBezTo>
                <a:cubicBezTo>
                  <a:pt x="2432" y="259"/>
                  <a:pt x="2434" y="258"/>
                  <a:pt x="2437" y="258"/>
                </a:cubicBezTo>
                <a:cubicBezTo>
                  <a:pt x="2437" y="258"/>
                  <a:pt x="2438" y="257"/>
                  <a:pt x="2438" y="258"/>
                </a:cubicBezTo>
                <a:cubicBezTo>
                  <a:pt x="2437" y="259"/>
                  <a:pt x="2439" y="259"/>
                  <a:pt x="2437" y="260"/>
                </a:cubicBezTo>
                <a:close/>
                <a:moveTo>
                  <a:pt x="2496" y="273"/>
                </a:moveTo>
                <a:cubicBezTo>
                  <a:pt x="2495" y="272"/>
                  <a:pt x="2493" y="272"/>
                  <a:pt x="2492" y="271"/>
                </a:cubicBezTo>
                <a:cubicBezTo>
                  <a:pt x="2492" y="271"/>
                  <a:pt x="2490" y="269"/>
                  <a:pt x="2488" y="267"/>
                </a:cubicBezTo>
                <a:cubicBezTo>
                  <a:pt x="2488" y="266"/>
                  <a:pt x="2486" y="266"/>
                  <a:pt x="2487" y="265"/>
                </a:cubicBezTo>
                <a:cubicBezTo>
                  <a:pt x="2487" y="264"/>
                  <a:pt x="2489" y="264"/>
                  <a:pt x="2490" y="263"/>
                </a:cubicBezTo>
                <a:cubicBezTo>
                  <a:pt x="2491" y="264"/>
                  <a:pt x="2493" y="268"/>
                  <a:pt x="2495" y="269"/>
                </a:cubicBezTo>
                <a:cubicBezTo>
                  <a:pt x="2495" y="269"/>
                  <a:pt x="2497" y="271"/>
                  <a:pt x="2498" y="272"/>
                </a:cubicBezTo>
                <a:cubicBezTo>
                  <a:pt x="2500" y="275"/>
                  <a:pt x="2510" y="284"/>
                  <a:pt x="2511" y="286"/>
                </a:cubicBezTo>
                <a:cubicBezTo>
                  <a:pt x="2511" y="286"/>
                  <a:pt x="2513" y="289"/>
                  <a:pt x="2514" y="290"/>
                </a:cubicBezTo>
                <a:cubicBezTo>
                  <a:pt x="2518" y="295"/>
                  <a:pt x="2523" y="297"/>
                  <a:pt x="2525" y="300"/>
                </a:cubicBezTo>
                <a:cubicBezTo>
                  <a:pt x="2527" y="302"/>
                  <a:pt x="2534" y="310"/>
                  <a:pt x="2537" y="311"/>
                </a:cubicBezTo>
                <a:cubicBezTo>
                  <a:pt x="2539" y="312"/>
                  <a:pt x="2540" y="315"/>
                  <a:pt x="2542" y="316"/>
                </a:cubicBezTo>
                <a:cubicBezTo>
                  <a:pt x="2549" y="322"/>
                  <a:pt x="2548" y="320"/>
                  <a:pt x="2554" y="328"/>
                </a:cubicBezTo>
                <a:cubicBezTo>
                  <a:pt x="2553" y="327"/>
                  <a:pt x="2549" y="326"/>
                  <a:pt x="2547" y="325"/>
                </a:cubicBezTo>
                <a:cubicBezTo>
                  <a:pt x="2546" y="323"/>
                  <a:pt x="2545" y="322"/>
                  <a:pt x="2545" y="322"/>
                </a:cubicBezTo>
                <a:cubicBezTo>
                  <a:pt x="2544" y="321"/>
                  <a:pt x="2541" y="320"/>
                  <a:pt x="2540" y="320"/>
                </a:cubicBezTo>
                <a:cubicBezTo>
                  <a:pt x="2539" y="320"/>
                  <a:pt x="2539" y="320"/>
                  <a:pt x="2538" y="319"/>
                </a:cubicBezTo>
                <a:cubicBezTo>
                  <a:pt x="2537" y="319"/>
                  <a:pt x="2537" y="319"/>
                  <a:pt x="2536" y="319"/>
                </a:cubicBezTo>
                <a:cubicBezTo>
                  <a:pt x="2534" y="320"/>
                  <a:pt x="2537" y="323"/>
                  <a:pt x="2538" y="325"/>
                </a:cubicBezTo>
                <a:cubicBezTo>
                  <a:pt x="2539" y="327"/>
                  <a:pt x="2539" y="328"/>
                  <a:pt x="2540" y="330"/>
                </a:cubicBezTo>
                <a:cubicBezTo>
                  <a:pt x="2540" y="332"/>
                  <a:pt x="2540" y="332"/>
                  <a:pt x="2540" y="333"/>
                </a:cubicBezTo>
                <a:cubicBezTo>
                  <a:pt x="2541" y="334"/>
                  <a:pt x="2542" y="336"/>
                  <a:pt x="2544" y="338"/>
                </a:cubicBezTo>
                <a:cubicBezTo>
                  <a:pt x="2545" y="339"/>
                  <a:pt x="2546" y="340"/>
                  <a:pt x="2548" y="341"/>
                </a:cubicBezTo>
                <a:cubicBezTo>
                  <a:pt x="2549" y="342"/>
                  <a:pt x="2555" y="346"/>
                  <a:pt x="2556" y="346"/>
                </a:cubicBezTo>
                <a:cubicBezTo>
                  <a:pt x="2556" y="346"/>
                  <a:pt x="2558" y="347"/>
                  <a:pt x="2558" y="347"/>
                </a:cubicBezTo>
                <a:cubicBezTo>
                  <a:pt x="2558" y="347"/>
                  <a:pt x="2560" y="350"/>
                  <a:pt x="2561" y="351"/>
                </a:cubicBezTo>
                <a:cubicBezTo>
                  <a:pt x="2562" y="353"/>
                  <a:pt x="2562" y="353"/>
                  <a:pt x="2563" y="355"/>
                </a:cubicBezTo>
                <a:cubicBezTo>
                  <a:pt x="2564" y="356"/>
                  <a:pt x="2561" y="355"/>
                  <a:pt x="2561" y="355"/>
                </a:cubicBezTo>
                <a:cubicBezTo>
                  <a:pt x="2560" y="354"/>
                  <a:pt x="2558" y="352"/>
                  <a:pt x="2557" y="351"/>
                </a:cubicBezTo>
                <a:cubicBezTo>
                  <a:pt x="2556" y="350"/>
                  <a:pt x="2556" y="350"/>
                  <a:pt x="2554" y="350"/>
                </a:cubicBezTo>
                <a:cubicBezTo>
                  <a:pt x="2553" y="350"/>
                  <a:pt x="2553" y="350"/>
                  <a:pt x="2553" y="350"/>
                </a:cubicBezTo>
                <a:cubicBezTo>
                  <a:pt x="2551" y="349"/>
                  <a:pt x="2551" y="349"/>
                  <a:pt x="2550" y="349"/>
                </a:cubicBezTo>
                <a:cubicBezTo>
                  <a:pt x="2549" y="349"/>
                  <a:pt x="2550" y="351"/>
                  <a:pt x="2551" y="352"/>
                </a:cubicBezTo>
                <a:cubicBezTo>
                  <a:pt x="2552" y="353"/>
                  <a:pt x="2551" y="356"/>
                  <a:pt x="2551" y="357"/>
                </a:cubicBezTo>
                <a:cubicBezTo>
                  <a:pt x="2548" y="354"/>
                  <a:pt x="2548" y="354"/>
                  <a:pt x="2548" y="354"/>
                </a:cubicBezTo>
                <a:cubicBezTo>
                  <a:pt x="2547" y="353"/>
                  <a:pt x="2544" y="350"/>
                  <a:pt x="2544" y="349"/>
                </a:cubicBezTo>
                <a:cubicBezTo>
                  <a:pt x="2544" y="348"/>
                  <a:pt x="2543" y="345"/>
                  <a:pt x="2543" y="345"/>
                </a:cubicBezTo>
                <a:cubicBezTo>
                  <a:pt x="2543" y="345"/>
                  <a:pt x="2540" y="342"/>
                  <a:pt x="2539" y="340"/>
                </a:cubicBezTo>
                <a:cubicBezTo>
                  <a:pt x="2537" y="336"/>
                  <a:pt x="2537" y="332"/>
                  <a:pt x="2537" y="332"/>
                </a:cubicBezTo>
                <a:cubicBezTo>
                  <a:pt x="2536" y="331"/>
                  <a:pt x="2535" y="331"/>
                  <a:pt x="2534" y="330"/>
                </a:cubicBezTo>
                <a:cubicBezTo>
                  <a:pt x="2532" y="329"/>
                  <a:pt x="2529" y="329"/>
                  <a:pt x="2528" y="325"/>
                </a:cubicBezTo>
                <a:cubicBezTo>
                  <a:pt x="2528" y="324"/>
                  <a:pt x="2527" y="323"/>
                  <a:pt x="2527" y="322"/>
                </a:cubicBezTo>
                <a:cubicBezTo>
                  <a:pt x="2527" y="321"/>
                  <a:pt x="2527" y="320"/>
                  <a:pt x="2526" y="320"/>
                </a:cubicBezTo>
                <a:cubicBezTo>
                  <a:pt x="2525" y="317"/>
                  <a:pt x="2521" y="314"/>
                  <a:pt x="2520" y="312"/>
                </a:cubicBezTo>
                <a:cubicBezTo>
                  <a:pt x="2520" y="312"/>
                  <a:pt x="2520" y="311"/>
                  <a:pt x="2519" y="310"/>
                </a:cubicBezTo>
                <a:cubicBezTo>
                  <a:pt x="2519" y="309"/>
                  <a:pt x="2516" y="307"/>
                  <a:pt x="2515" y="305"/>
                </a:cubicBezTo>
                <a:cubicBezTo>
                  <a:pt x="2515" y="304"/>
                  <a:pt x="2515" y="303"/>
                  <a:pt x="2514" y="302"/>
                </a:cubicBezTo>
                <a:cubicBezTo>
                  <a:pt x="2513" y="300"/>
                  <a:pt x="2510" y="299"/>
                  <a:pt x="2508" y="297"/>
                </a:cubicBezTo>
                <a:cubicBezTo>
                  <a:pt x="2507" y="296"/>
                  <a:pt x="2508" y="295"/>
                  <a:pt x="2507" y="295"/>
                </a:cubicBezTo>
                <a:cubicBezTo>
                  <a:pt x="2506" y="294"/>
                  <a:pt x="2504" y="294"/>
                  <a:pt x="2503" y="293"/>
                </a:cubicBezTo>
                <a:cubicBezTo>
                  <a:pt x="2503" y="292"/>
                  <a:pt x="2502" y="291"/>
                  <a:pt x="2502" y="290"/>
                </a:cubicBezTo>
                <a:cubicBezTo>
                  <a:pt x="2501" y="289"/>
                  <a:pt x="2499" y="288"/>
                  <a:pt x="2498" y="287"/>
                </a:cubicBezTo>
                <a:cubicBezTo>
                  <a:pt x="2496" y="283"/>
                  <a:pt x="2498" y="283"/>
                  <a:pt x="2494" y="281"/>
                </a:cubicBezTo>
                <a:cubicBezTo>
                  <a:pt x="2491" y="279"/>
                  <a:pt x="2491" y="279"/>
                  <a:pt x="2490" y="276"/>
                </a:cubicBezTo>
                <a:cubicBezTo>
                  <a:pt x="2491" y="276"/>
                  <a:pt x="2492" y="275"/>
                  <a:pt x="2492" y="275"/>
                </a:cubicBezTo>
                <a:cubicBezTo>
                  <a:pt x="2493" y="275"/>
                  <a:pt x="2494" y="276"/>
                  <a:pt x="2495" y="276"/>
                </a:cubicBezTo>
                <a:cubicBezTo>
                  <a:pt x="2496" y="276"/>
                  <a:pt x="2496" y="273"/>
                  <a:pt x="2496" y="273"/>
                </a:cubicBezTo>
                <a:close/>
                <a:moveTo>
                  <a:pt x="1495" y="222"/>
                </a:moveTo>
                <a:cubicBezTo>
                  <a:pt x="1496" y="222"/>
                  <a:pt x="1495" y="222"/>
                  <a:pt x="1497" y="222"/>
                </a:cubicBezTo>
                <a:cubicBezTo>
                  <a:pt x="1500" y="221"/>
                  <a:pt x="1500" y="222"/>
                  <a:pt x="1502" y="221"/>
                </a:cubicBezTo>
                <a:cubicBezTo>
                  <a:pt x="1503" y="221"/>
                  <a:pt x="1504" y="220"/>
                  <a:pt x="1505" y="220"/>
                </a:cubicBezTo>
                <a:cubicBezTo>
                  <a:pt x="1505" y="220"/>
                  <a:pt x="1505" y="221"/>
                  <a:pt x="1506" y="222"/>
                </a:cubicBezTo>
                <a:cubicBezTo>
                  <a:pt x="1505" y="223"/>
                  <a:pt x="1505" y="223"/>
                  <a:pt x="1504" y="223"/>
                </a:cubicBezTo>
                <a:cubicBezTo>
                  <a:pt x="1502" y="225"/>
                  <a:pt x="1502" y="226"/>
                  <a:pt x="1499" y="226"/>
                </a:cubicBezTo>
                <a:cubicBezTo>
                  <a:pt x="1499" y="226"/>
                  <a:pt x="1497" y="225"/>
                  <a:pt x="1497" y="226"/>
                </a:cubicBezTo>
                <a:cubicBezTo>
                  <a:pt x="1497" y="226"/>
                  <a:pt x="1498" y="227"/>
                  <a:pt x="1496" y="228"/>
                </a:cubicBezTo>
                <a:cubicBezTo>
                  <a:pt x="1496" y="228"/>
                  <a:pt x="1495" y="228"/>
                  <a:pt x="1495" y="228"/>
                </a:cubicBezTo>
                <a:cubicBezTo>
                  <a:pt x="1495" y="227"/>
                  <a:pt x="1495" y="226"/>
                  <a:pt x="1495" y="226"/>
                </a:cubicBezTo>
                <a:cubicBezTo>
                  <a:pt x="1495" y="225"/>
                  <a:pt x="1492" y="223"/>
                  <a:pt x="1495" y="222"/>
                </a:cubicBezTo>
                <a:close/>
                <a:moveTo>
                  <a:pt x="1498" y="219"/>
                </a:moveTo>
                <a:cubicBezTo>
                  <a:pt x="1497" y="219"/>
                  <a:pt x="1495" y="219"/>
                  <a:pt x="1495" y="218"/>
                </a:cubicBezTo>
                <a:cubicBezTo>
                  <a:pt x="1495" y="218"/>
                  <a:pt x="1496" y="218"/>
                  <a:pt x="1497" y="217"/>
                </a:cubicBezTo>
                <a:cubicBezTo>
                  <a:pt x="1499" y="216"/>
                  <a:pt x="1499" y="215"/>
                  <a:pt x="1502" y="217"/>
                </a:cubicBezTo>
                <a:cubicBezTo>
                  <a:pt x="1503" y="221"/>
                  <a:pt x="1501" y="218"/>
                  <a:pt x="1500" y="220"/>
                </a:cubicBezTo>
                <a:cubicBezTo>
                  <a:pt x="1499" y="220"/>
                  <a:pt x="1499" y="220"/>
                  <a:pt x="1498" y="219"/>
                </a:cubicBezTo>
                <a:close/>
                <a:moveTo>
                  <a:pt x="1475" y="109"/>
                </a:moveTo>
                <a:cubicBezTo>
                  <a:pt x="1475" y="109"/>
                  <a:pt x="1476" y="110"/>
                  <a:pt x="1475" y="110"/>
                </a:cubicBezTo>
                <a:cubicBezTo>
                  <a:pt x="1474" y="110"/>
                  <a:pt x="1474" y="110"/>
                  <a:pt x="1473" y="110"/>
                </a:cubicBezTo>
                <a:cubicBezTo>
                  <a:pt x="1473" y="108"/>
                  <a:pt x="1473" y="108"/>
                  <a:pt x="1473" y="108"/>
                </a:cubicBezTo>
                <a:cubicBezTo>
                  <a:pt x="1475" y="108"/>
                  <a:pt x="1475" y="107"/>
                  <a:pt x="1475" y="109"/>
                </a:cubicBezTo>
                <a:close/>
                <a:moveTo>
                  <a:pt x="1495" y="52"/>
                </a:moveTo>
                <a:cubicBezTo>
                  <a:pt x="1496" y="51"/>
                  <a:pt x="1498" y="52"/>
                  <a:pt x="1499" y="51"/>
                </a:cubicBezTo>
                <a:cubicBezTo>
                  <a:pt x="1500" y="54"/>
                  <a:pt x="1498" y="53"/>
                  <a:pt x="1496" y="54"/>
                </a:cubicBezTo>
                <a:cubicBezTo>
                  <a:pt x="1496" y="53"/>
                  <a:pt x="1495" y="53"/>
                  <a:pt x="1495" y="52"/>
                </a:cubicBezTo>
                <a:close/>
                <a:moveTo>
                  <a:pt x="1422" y="128"/>
                </a:moveTo>
                <a:cubicBezTo>
                  <a:pt x="1423" y="127"/>
                  <a:pt x="1423" y="127"/>
                  <a:pt x="1423" y="127"/>
                </a:cubicBezTo>
                <a:cubicBezTo>
                  <a:pt x="1423" y="131"/>
                  <a:pt x="1423" y="129"/>
                  <a:pt x="1420" y="131"/>
                </a:cubicBezTo>
                <a:cubicBezTo>
                  <a:pt x="1419" y="130"/>
                  <a:pt x="1419" y="130"/>
                  <a:pt x="1419" y="130"/>
                </a:cubicBezTo>
                <a:cubicBezTo>
                  <a:pt x="1421" y="128"/>
                  <a:pt x="1421" y="129"/>
                  <a:pt x="1422" y="128"/>
                </a:cubicBezTo>
                <a:close/>
                <a:moveTo>
                  <a:pt x="1405" y="28"/>
                </a:moveTo>
                <a:cubicBezTo>
                  <a:pt x="1410" y="25"/>
                  <a:pt x="1409" y="26"/>
                  <a:pt x="1411" y="26"/>
                </a:cubicBezTo>
                <a:cubicBezTo>
                  <a:pt x="1412" y="26"/>
                  <a:pt x="1413" y="26"/>
                  <a:pt x="1414" y="26"/>
                </a:cubicBezTo>
                <a:cubicBezTo>
                  <a:pt x="1415" y="26"/>
                  <a:pt x="1416" y="27"/>
                  <a:pt x="1417" y="27"/>
                </a:cubicBezTo>
                <a:cubicBezTo>
                  <a:pt x="1417" y="27"/>
                  <a:pt x="1417" y="27"/>
                  <a:pt x="1418" y="26"/>
                </a:cubicBezTo>
                <a:cubicBezTo>
                  <a:pt x="1419" y="26"/>
                  <a:pt x="1419" y="27"/>
                  <a:pt x="1420" y="26"/>
                </a:cubicBezTo>
                <a:cubicBezTo>
                  <a:pt x="1422" y="26"/>
                  <a:pt x="1423" y="25"/>
                  <a:pt x="1424" y="25"/>
                </a:cubicBezTo>
                <a:cubicBezTo>
                  <a:pt x="1425" y="26"/>
                  <a:pt x="1424" y="27"/>
                  <a:pt x="1424" y="27"/>
                </a:cubicBezTo>
                <a:cubicBezTo>
                  <a:pt x="1423" y="28"/>
                  <a:pt x="1422" y="28"/>
                  <a:pt x="1421" y="28"/>
                </a:cubicBezTo>
                <a:cubicBezTo>
                  <a:pt x="1420" y="29"/>
                  <a:pt x="1423" y="30"/>
                  <a:pt x="1423" y="31"/>
                </a:cubicBezTo>
                <a:cubicBezTo>
                  <a:pt x="1423" y="31"/>
                  <a:pt x="1425" y="30"/>
                  <a:pt x="1425" y="30"/>
                </a:cubicBezTo>
                <a:cubicBezTo>
                  <a:pt x="1425" y="29"/>
                  <a:pt x="1424" y="29"/>
                  <a:pt x="1424" y="29"/>
                </a:cubicBezTo>
                <a:cubicBezTo>
                  <a:pt x="1426" y="26"/>
                  <a:pt x="1431" y="27"/>
                  <a:pt x="1432" y="27"/>
                </a:cubicBezTo>
                <a:cubicBezTo>
                  <a:pt x="1433" y="28"/>
                  <a:pt x="1433" y="30"/>
                  <a:pt x="1434" y="31"/>
                </a:cubicBezTo>
                <a:cubicBezTo>
                  <a:pt x="1435" y="31"/>
                  <a:pt x="1436" y="31"/>
                  <a:pt x="1437" y="32"/>
                </a:cubicBezTo>
                <a:cubicBezTo>
                  <a:pt x="1437" y="32"/>
                  <a:pt x="1438" y="33"/>
                  <a:pt x="1439" y="33"/>
                </a:cubicBezTo>
                <a:cubicBezTo>
                  <a:pt x="1440" y="34"/>
                  <a:pt x="1438" y="31"/>
                  <a:pt x="1438" y="31"/>
                </a:cubicBezTo>
                <a:cubicBezTo>
                  <a:pt x="1437" y="30"/>
                  <a:pt x="1435" y="29"/>
                  <a:pt x="1434" y="27"/>
                </a:cubicBezTo>
                <a:cubicBezTo>
                  <a:pt x="1434" y="27"/>
                  <a:pt x="1435" y="27"/>
                  <a:pt x="1435" y="26"/>
                </a:cubicBezTo>
                <a:cubicBezTo>
                  <a:pt x="1436" y="26"/>
                  <a:pt x="1435" y="24"/>
                  <a:pt x="1439" y="25"/>
                </a:cubicBezTo>
                <a:cubicBezTo>
                  <a:pt x="1439" y="26"/>
                  <a:pt x="1439" y="26"/>
                  <a:pt x="1440" y="27"/>
                </a:cubicBezTo>
                <a:cubicBezTo>
                  <a:pt x="1440" y="27"/>
                  <a:pt x="1444" y="26"/>
                  <a:pt x="1446" y="27"/>
                </a:cubicBezTo>
                <a:cubicBezTo>
                  <a:pt x="1449" y="28"/>
                  <a:pt x="1446" y="28"/>
                  <a:pt x="1446" y="29"/>
                </a:cubicBezTo>
                <a:cubicBezTo>
                  <a:pt x="1446" y="30"/>
                  <a:pt x="1447" y="30"/>
                  <a:pt x="1447" y="30"/>
                </a:cubicBezTo>
                <a:cubicBezTo>
                  <a:pt x="1447" y="30"/>
                  <a:pt x="1449" y="27"/>
                  <a:pt x="1452" y="29"/>
                </a:cubicBezTo>
                <a:cubicBezTo>
                  <a:pt x="1454" y="30"/>
                  <a:pt x="1454" y="31"/>
                  <a:pt x="1454" y="32"/>
                </a:cubicBezTo>
                <a:cubicBezTo>
                  <a:pt x="1455" y="32"/>
                  <a:pt x="1455" y="32"/>
                  <a:pt x="1456" y="32"/>
                </a:cubicBezTo>
                <a:cubicBezTo>
                  <a:pt x="1461" y="32"/>
                  <a:pt x="1459" y="31"/>
                  <a:pt x="1461" y="33"/>
                </a:cubicBezTo>
                <a:cubicBezTo>
                  <a:pt x="1461" y="33"/>
                  <a:pt x="1468" y="34"/>
                  <a:pt x="1470" y="34"/>
                </a:cubicBezTo>
                <a:cubicBezTo>
                  <a:pt x="1472" y="34"/>
                  <a:pt x="1470" y="35"/>
                  <a:pt x="1470" y="35"/>
                </a:cubicBezTo>
                <a:cubicBezTo>
                  <a:pt x="1470" y="35"/>
                  <a:pt x="1470" y="36"/>
                  <a:pt x="1470" y="36"/>
                </a:cubicBezTo>
                <a:cubicBezTo>
                  <a:pt x="1471" y="36"/>
                  <a:pt x="1473" y="36"/>
                  <a:pt x="1475" y="36"/>
                </a:cubicBezTo>
                <a:cubicBezTo>
                  <a:pt x="1476" y="36"/>
                  <a:pt x="1475" y="37"/>
                  <a:pt x="1474" y="39"/>
                </a:cubicBezTo>
                <a:cubicBezTo>
                  <a:pt x="1474" y="39"/>
                  <a:pt x="1479" y="39"/>
                  <a:pt x="1479" y="39"/>
                </a:cubicBezTo>
                <a:cubicBezTo>
                  <a:pt x="1479" y="39"/>
                  <a:pt x="1481" y="39"/>
                  <a:pt x="1483" y="39"/>
                </a:cubicBezTo>
                <a:cubicBezTo>
                  <a:pt x="1485" y="39"/>
                  <a:pt x="1482" y="40"/>
                  <a:pt x="1482" y="41"/>
                </a:cubicBezTo>
                <a:cubicBezTo>
                  <a:pt x="1482" y="41"/>
                  <a:pt x="1483" y="41"/>
                  <a:pt x="1483" y="41"/>
                </a:cubicBezTo>
                <a:cubicBezTo>
                  <a:pt x="1486" y="42"/>
                  <a:pt x="1486" y="42"/>
                  <a:pt x="1488" y="41"/>
                </a:cubicBezTo>
                <a:cubicBezTo>
                  <a:pt x="1489" y="41"/>
                  <a:pt x="1491" y="41"/>
                  <a:pt x="1492" y="42"/>
                </a:cubicBezTo>
                <a:cubicBezTo>
                  <a:pt x="1493" y="42"/>
                  <a:pt x="1492" y="43"/>
                  <a:pt x="1492" y="43"/>
                </a:cubicBezTo>
                <a:cubicBezTo>
                  <a:pt x="1491" y="43"/>
                  <a:pt x="1490" y="43"/>
                  <a:pt x="1489" y="43"/>
                </a:cubicBezTo>
                <a:cubicBezTo>
                  <a:pt x="1489" y="43"/>
                  <a:pt x="1487" y="44"/>
                  <a:pt x="1486" y="45"/>
                </a:cubicBezTo>
                <a:cubicBezTo>
                  <a:pt x="1486" y="45"/>
                  <a:pt x="1483" y="46"/>
                  <a:pt x="1482" y="46"/>
                </a:cubicBezTo>
                <a:cubicBezTo>
                  <a:pt x="1482" y="46"/>
                  <a:pt x="1482" y="46"/>
                  <a:pt x="1482" y="46"/>
                </a:cubicBezTo>
                <a:cubicBezTo>
                  <a:pt x="1482" y="46"/>
                  <a:pt x="1481" y="47"/>
                  <a:pt x="1481" y="47"/>
                </a:cubicBezTo>
                <a:cubicBezTo>
                  <a:pt x="1479" y="47"/>
                  <a:pt x="1477" y="48"/>
                  <a:pt x="1479" y="44"/>
                </a:cubicBezTo>
                <a:cubicBezTo>
                  <a:pt x="1479" y="44"/>
                  <a:pt x="1476" y="45"/>
                  <a:pt x="1476" y="45"/>
                </a:cubicBezTo>
                <a:cubicBezTo>
                  <a:pt x="1474" y="45"/>
                  <a:pt x="1471" y="46"/>
                  <a:pt x="1469" y="46"/>
                </a:cubicBezTo>
                <a:cubicBezTo>
                  <a:pt x="1468" y="45"/>
                  <a:pt x="1467" y="45"/>
                  <a:pt x="1469" y="44"/>
                </a:cubicBezTo>
                <a:cubicBezTo>
                  <a:pt x="1470" y="44"/>
                  <a:pt x="1470" y="43"/>
                  <a:pt x="1471" y="42"/>
                </a:cubicBezTo>
                <a:cubicBezTo>
                  <a:pt x="1471" y="42"/>
                  <a:pt x="1470" y="41"/>
                  <a:pt x="1469" y="41"/>
                </a:cubicBezTo>
                <a:cubicBezTo>
                  <a:pt x="1469" y="41"/>
                  <a:pt x="1468" y="41"/>
                  <a:pt x="1467" y="40"/>
                </a:cubicBezTo>
                <a:cubicBezTo>
                  <a:pt x="1467" y="40"/>
                  <a:pt x="1466" y="39"/>
                  <a:pt x="1465" y="39"/>
                </a:cubicBezTo>
                <a:cubicBezTo>
                  <a:pt x="1465" y="38"/>
                  <a:pt x="1464" y="38"/>
                  <a:pt x="1463" y="38"/>
                </a:cubicBezTo>
                <a:cubicBezTo>
                  <a:pt x="1461" y="37"/>
                  <a:pt x="1465" y="37"/>
                  <a:pt x="1466" y="36"/>
                </a:cubicBezTo>
                <a:cubicBezTo>
                  <a:pt x="1467" y="35"/>
                  <a:pt x="1462" y="36"/>
                  <a:pt x="1461" y="36"/>
                </a:cubicBezTo>
                <a:cubicBezTo>
                  <a:pt x="1461" y="36"/>
                  <a:pt x="1460" y="37"/>
                  <a:pt x="1460" y="37"/>
                </a:cubicBezTo>
                <a:cubicBezTo>
                  <a:pt x="1459" y="37"/>
                  <a:pt x="1458" y="37"/>
                  <a:pt x="1458" y="37"/>
                </a:cubicBezTo>
                <a:cubicBezTo>
                  <a:pt x="1458" y="37"/>
                  <a:pt x="1457" y="37"/>
                  <a:pt x="1456" y="38"/>
                </a:cubicBezTo>
                <a:cubicBezTo>
                  <a:pt x="1455" y="38"/>
                  <a:pt x="1456" y="38"/>
                  <a:pt x="1455" y="39"/>
                </a:cubicBezTo>
                <a:cubicBezTo>
                  <a:pt x="1455" y="39"/>
                  <a:pt x="1456" y="41"/>
                  <a:pt x="1455" y="41"/>
                </a:cubicBezTo>
                <a:cubicBezTo>
                  <a:pt x="1454" y="41"/>
                  <a:pt x="1454" y="41"/>
                  <a:pt x="1452" y="41"/>
                </a:cubicBezTo>
                <a:cubicBezTo>
                  <a:pt x="1450" y="41"/>
                  <a:pt x="1452" y="42"/>
                  <a:pt x="1452" y="45"/>
                </a:cubicBezTo>
                <a:cubicBezTo>
                  <a:pt x="1452" y="49"/>
                  <a:pt x="1451" y="45"/>
                  <a:pt x="1449" y="45"/>
                </a:cubicBezTo>
                <a:cubicBezTo>
                  <a:pt x="1446" y="45"/>
                  <a:pt x="1448" y="45"/>
                  <a:pt x="1447" y="46"/>
                </a:cubicBezTo>
                <a:cubicBezTo>
                  <a:pt x="1446" y="46"/>
                  <a:pt x="1446" y="48"/>
                  <a:pt x="1445" y="50"/>
                </a:cubicBezTo>
                <a:cubicBezTo>
                  <a:pt x="1444" y="51"/>
                  <a:pt x="1444" y="51"/>
                  <a:pt x="1443" y="52"/>
                </a:cubicBezTo>
                <a:cubicBezTo>
                  <a:pt x="1443" y="54"/>
                  <a:pt x="1443" y="52"/>
                  <a:pt x="1442" y="52"/>
                </a:cubicBezTo>
                <a:cubicBezTo>
                  <a:pt x="1437" y="53"/>
                  <a:pt x="1439" y="51"/>
                  <a:pt x="1437" y="51"/>
                </a:cubicBezTo>
                <a:cubicBezTo>
                  <a:pt x="1436" y="50"/>
                  <a:pt x="1434" y="52"/>
                  <a:pt x="1434" y="50"/>
                </a:cubicBezTo>
                <a:cubicBezTo>
                  <a:pt x="1431" y="48"/>
                  <a:pt x="1432" y="48"/>
                  <a:pt x="1428" y="48"/>
                </a:cubicBezTo>
                <a:cubicBezTo>
                  <a:pt x="1426" y="48"/>
                  <a:pt x="1425" y="45"/>
                  <a:pt x="1423" y="44"/>
                </a:cubicBezTo>
                <a:cubicBezTo>
                  <a:pt x="1423" y="43"/>
                  <a:pt x="1423" y="43"/>
                  <a:pt x="1422" y="41"/>
                </a:cubicBezTo>
                <a:cubicBezTo>
                  <a:pt x="1421" y="41"/>
                  <a:pt x="1422" y="41"/>
                  <a:pt x="1423" y="41"/>
                </a:cubicBezTo>
                <a:cubicBezTo>
                  <a:pt x="1423" y="41"/>
                  <a:pt x="1424" y="41"/>
                  <a:pt x="1425" y="41"/>
                </a:cubicBezTo>
                <a:cubicBezTo>
                  <a:pt x="1428" y="40"/>
                  <a:pt x="1427" y="40"/>
                  <a:pt x="1431" y="40"/>
                </a:cubicBezTo>
                <a:cubicBezTo>
                  <a:pt x="1432" y="40"/>
                  <a:pt x="1431" y="39"/>
                  <a:pt x="1436" y="39"/>
                </a:cubicBezTo>
                <a:cubicBezTo>
                  <a:pt x="1438" y="36"/>
                  <a:pt x="1443" y="35"/>
                  <a:pt x="1439" y="35"/>
                </a:cubicBezTo>
                <a:cubicBezTo>
                  <a:pt x="1438" y="35"/>
                  <a:pt x="1437" y="38"/>
                  <a:pt x="1433" y="38"/>
                </a:cubicBezTo>
                <a:cubicBezTo>
                  <a:pt x="1432" y="38"/>
                  <a:pt x="1431" y="37"/>
                  <a:pt x="1432" y="36"/>
                </a:cubicBezTo>
                <a:cubicBezTo>
                  <a:pt x="1433" y="35"/>
                  <a:pt x="1432" y="33"/>
                  <a:pt x="1431" y="36"/>
                </a:cubicBezTo>
                <a:cubicBezTo>
                  <a:pt x="1430" y="36"/>
                  <a:pt x="1430" y="36"/>
                  <a:pt x="1429" y="36"/>
                </a:cubicBezTo>
                <a:cubicBezTo>
                  <a:pt x="1428" y="37"/>
                  <a:pt x="1428" y="36"/>
                  <a:pt x="1427" y="35"/>
                </a:cubicBezTo>
                <a:cubicBezTo>
                  <a:pt x="1426" y="35"/>
                  <a:pt x="1426" y="36"/>
                  <a:pt x="1426" y="36"/>
                </a:cubicBezTo>
                <a:cubicBezTo>
                  <a:pt x="1426" y="36"/>
                  <a:pt x="1427" y="37"/>
                  <a:pt x="1427" y="38"/>
                </a:cubicBezTo>
                <a:cubicBezTo>
                  <a:pt x="1428" y="38"/>
                  <a:pt x="1427" y="38"/>
                  <a:pt x="1426" y="38"/>
                </a:cubicBezTo>
                <a:cubicBezTo>
                  <a:pt x="1426" y="39"/>
                  <a:pt x="1425" y="38"/>
                  <a:pt x="1425" y="38"/>
                </a:cubicBezTo>
                <a:cubicBezTo>
                  <a:pt x="1424" y="38"/>
                  <a:pt x="1423" y="39"/>
                  <a:pt x="1423" y="39"/>
                </a:cubicBezTo>
                <a:cubicBezTo>
                  <a:pt x="1423" y="39"/>
                  <a:pt x="1421" y="39"/>
                  <a:pt x="1420" y="39"/>
                </a:cubicBezTo>
                <a:cubicBezTo>
                  <a:pt x="1415" y="39"/>
                  <a:pt x="1415" y="39"/>
                  <a:pt x="1415" y="39"/>
                </a:cubicBezTo>
                <a:cubicBezTo>
                  <a:pt x="1414" y="39"/>
                  <a:pt x="1414" y="37"/>
                  <a:pt x="1413" y="37"/>
                </a:cubicBezTo>
                <a:cubicBezTo>
                  <a:pt x="1410" y="34"/>
                  <a:pt x="1409" y="37"/>
                  <a:pt x="1408" y="34"/>
                </a:cubicBezTo>
                <a:cubicBezTo>
                  <a:pt x="1406" y="34"/>
                  <a:pt x="1405" y="34"/>
                  <a:pt x="1406" y="32"/>
                </a:cubicBezTo>
                <a:cubicBezTo>
                  <a:pt x="1409" y="32"/>
                  <a:pt x="1409" y="32"/>
                  <a:pt x="1412" y="31"/>
                </a:cubicBezTo>
                <a:cubicBezTo>
                  <a:pt x="1408" y="30"/>
                  <a:pt x="1409" y="31"/>
                  <a:pt x="1408" y="31"/>
                </a:cubicBezTo>
                <a:cubicBezTo>
                  <a:pt x="1408" y="31"/>
                  <a:pt x="1406" y="31"/>
                  <a:pt x="1406" y="30"/>
                </a:cubicBezTo>
                <a:cubicBezTo>
                  <a:pt x="1405" y="30"/>
                  <a:pt x="1405" y="28"/>
                  <a:pt x="1405" y="28"/>
                </a:cubicBezTo>
                <a:close/>
                <a:moveTo>
                  <a:pt x="1267" y="101"/>
                </a:moveTo>
                <a:cubicBezTo>
                  <a:pt x="1267" y="100"/>
                  <a:pt x="1272" y="99"/>
                  <a:pt x="1273" y="99"/>
                </a:cubicBezTo>
                <a:cubicBezTo>
                  <a:pt x="1274" y="99"/>
                  <a:pt x="1275" y="99"/>
                  <a:pt x="1276" y="99"/>
                </a:cubicBezTo>
                <a:cubicBezTo>
                  <a:pt x="1273" y="101"/>
                  <a:pt x="1271" y="100"/>
                  <a:pt x="1270" y="101"/>
                </a:cubicBezTo>
                <a:cubicBezTo>
                  <a:pt x="1269" y="101"/>
                  <a:pt x="1268" y="102"/>
                  <a:pt x="1268" y="102"/>
                </a:cubicBezTo>
                <a:cubicBezTo>
                  <a:pt x="1267" y="102"/>
                  <a:pt x="1267" y="101"/>
                  <a:pt x="1267" y="101"/>
                </a:cubicBezTo>
                <a:close/>
                <a:moveTo>
                  <a:pt x="1385" y="172"/>
                </a:moveTo>
                <a:cubicBezTo>
                  <a:pt x="1385" y="172"/>
                  <a:pt x="1386" y="172"/>
                  <a:pt x="1386" y="172"/>
                </a:cubicBezTo>
                <a:cubicBezTo>
                  <a:pt x="1386" y="172"/>
                  <a:pt x="1386" y="172"/>
                  <a:pt x="1386" y="172"/>
                </a:cubicBezTo>
                <a:cubicBezTo>
                  <a:pt x="1386" y="173"/>
                  <a:pt x="1388" y="173"/>
                  <a:pt x="1386" y="174"/>
                </a:cubicBezTo>
                <a:cubicBezTo>
                  <a:pt x="1385" y="174"/>
                  <a:pt x="1385" y="174"/>
                  <a:pt x="1385" y="174"/>
                </a:cubicBezTo>
                <a:cubicBezTo>
                  <a:pt x="1382" y="174"/>
                  <a:pt x="1384" y="172"/>
                  <a:pt x="1385" y="172"/>
                </a:cubicBezTo>
                <a:close/>
                <a:moveTo>
                  <a:pt x="1531" y="25"/>
                </a:moveTo>
                <a:cubicBezTo>
                  <a:pt x="1530" y="25"/>
                  <a:pt x="1530" y="24"/>
                  <a:pt x="1529" y="24"/>
                </a:cubicBezTo>
                <a:cubicBezTo>
                  <a:pt x="1529" y="24"/>
                  <a:pt x="1534" y="23"/>
                  <a:pt x="1535" y="24"/>
                </a:cubicBezTo>
                <a:cubicBezTo>
                  <a:pt x="1535" y="24"/>
                  <a:pt x="1542" y="22"/>
                  <a:pt x="1542" y="24"/>
                </a:cubicBezTo>
                <a:cubicBezTo>
                  <a:pt x="1542" y="25"/>
                  <a:pt x="1538" y="24"/>
                  <a:pt x="1535" y="24"/>
                </a:cubicBezTo>
                <a:cubicBezTo>
                  <a:pt x="1534" y="25"/>
                  <a:pt x="1532" y="24"/>
                  <a:pt x="1531" y="25"/>
                </a:cubicBezTo>
                <a:close/>
                <a:moveTo>
                  <a:pt x="1509" y="34"/>
                </a:moveTo>
                <a:cubicBezTo>
                  <a:pt x="1510" y="33"/>
                  <a:pt x="1511" y="33"/>
                  <a:pt x="1512" y="32"/>
                </a:cubicBezTo>
                <a:cubicBezTo>
                  <a:pt x="1512" y="32"/>
                  <a:pt x="1516" y="33"/>
                  <a:pt x="1516" y="33"/>
                </a:cubicBezTo>
                <a:cubicBezTo>
                  <a:pt x="1517" y="33"/>
                  <a:pt x="1521" y="33"/>
                  <a:pt x="1521" y="33"/>
                </a:cubicBezTo>
                <a:cubicBezTo>
                  <a:pt x="1521" y="33"/>
                  <a:pt x="1521" y="34"/>
                  <a:pt x="1521" y="34"/>
                </a:cubicBezTo>
                <a:cubicBezTo>
                  <a:pt x="1521" y="34"/>
                  <a:pt x="1517" y="34"/>
                  <a:pt x="1516" y="34"/>
                </a:cubicBezTo>
                <a:cubicBezTo>
                  <a:pt x="1515" y="34"/>
                  <a:pt x="1509" y="34"/>
                  <a:pt x="1509" y="34"/>
                </a:cubicBezTo>
                <a:close/>
                <a:moveTo>
                  <a:pt x="1447" y="25"/>
                </a:moveTo>
                <a:cubicBezTo>
                  <a:pt x="1448" y="24"/>
                  <a:pt x="1450" y="23"/>
                  <a:pt x="1451" y="24"/>
                </a:cubicBezTo>
                <a:cubicBezTo>
                  <a:pt x="1451" y="24"/>
                  <a:pt x="1454" y="23"/>
                  <a:pt x="1454" y="23"/>
                </a:cubicBezTo>
                <a:cubicBezTo>
                  <a:pt x="1454" y="23"/>
                  <a:pt x="1454" y="23"/>
                  <a:pt x="1453" y="23"/>
                </a:cubicBezTo>
                <a:cubicBezTo>
                  <a:pt x="1456" y="22"/>
                  <a:pt x="1456" y="23"/>
                  <a:pt x="1456" y="23"/>
                </a:cubicBezTo>
                <a:cubicBezTo>
                  <a:pt x="1456" y="23"/>
                  <a:pt x="1456" y="22"/>
                  <a:pt x="1456" y="22"/>
                </a:cubicBezTo>
                <a:cubicBezTo>
                  <a:pt x="1458" y="21"/>
                  <a:pt x="1457" y="22"/>
                  <a:pt x="1459" y="22"/>
                </a:cubicBezTo>
                <a:cubicBezTo>
                  <a:pt x="1461" y="22"/>
                  <a:pt x="1463" y="23"/>
                  <a:pt x="1465" y="23"/>
                </a:cubicBezTo>
                <a:cubicBezTo>
                  <a:pt x="1466" y="23"/>
                  <a:pt x="1467" y="22"/>
                  <a:pt x="1469" y="23"/>
                </a:cubicBezTo>
                <a:cubicBezTo>
                  <a:pt x="1470" y="24"/>
                  <a:pt x="1472" y="23"/>
                  <a:pt x="1472" y="24"/>
                </a:cubicBezTo>
                <a:cubicBezTo>
                  <a:pt x="1472" y="24"/>
                  <a:pt x="1474" y="26"/>
                  <a:pt x="1474" y="25"/>
                </a:cubicBezTo>
                <a:cubicBezTo>
                  <a:pt x="1475" y="24"/>
                  <a:pt x="1474" y="23"/>
                  <a:pt x="1473" y="23"/>
                </a:cubicBezTo>
                <a:cubicBezTo>
                  <a:pt x="1473" y="23"/>
                  <a:pt x="1474" y="22"/>
                  <a:pt x="1475" y="22"/>
                </a:cubicBezTo>
                <a:cubicBezTo>
                  <a:pt x="1476" y="22"/>
                  <a:pt x="1478" y="21"/>
                  <a:pt x="1478" y="22"/>
                </a:cubicBezTo>
                <a:cubicBezTo>
                  <a:pt x="1478" y="24"/>
                  <a:pt x="1481" y="24"/>
                  <a:pt x="1482" y="23"/>
                </a:cubicBezTo>
                <a:cubicBezTo>
                  <a:pt x="1482" y="23"/>
                  <a:pt x="1482" y="23"/>
                  <a:pt x="1483" y="23"/>
                </a:cubicBezTo>
                <a:cubicBezTo>
                  <a:pt x="1484" y="23"/>
                  <a:pt x="1485" y="23"/>
                  <a:pt x="1485" y="23"/>
                </a:cubicBezTo>
                <a:cubicBezTo>
                  <a:pt x="1487" y="23"/>
                  <a:pt x="1488" y="23"/>
                  <a:pt x="1489" y="23"/>
                </a:cubicBezTo>
                <a:cubicBezTo>
                  <a:pt x="1489" y="23"/>
                  <a:pt x="1493" y="23"/>
                  <a:pt x="1493" y="23"/>
                </a:cubicBezTo>
                <a:cubicBezTo>
                  <a:pt x="1493" y="23"/>
                  <a:pt x="1498" y="23"/>
                  <a:pt x="1498" y="23"/>
                </a:cubicBezTo>
                <a:cubicBezTo>
                  <a:pt x="1499" y="23"/>
                  <a:pt x="1504" y="23"/>
                  <a:pt x="1504" y="25"/>
                </a:cubicBezTo>
                <a:cubicBezTo>
                  <a:pt x="1503" y="28"/>
                  <a:pt x="1499" y="26"/>
                  <a:pt x="1498" y="27"/>
                </a:cubicBezTo>
                <a:cubicBezTo>
                  <a:pt x="1498" y="28"/>
                  <a:pt x="1496" y="28"/>
                  <a:pt x="1496" y="28"/>
                </a:cubicBezTo>
                <a:cubicBezTo>
                  <a:pt x="1496" y="28"/>
                  <a:pt x="1497" y="28"/>
                  <a:pt x="1497" y="29"/>
                </a:cubicBezTo>
                <a:cubicBezTo>
                  <a:pt x="1497" y="29"/>
                  <a:pt x="1495" y="30"/>
                  <a:pt x="1495" y="30"/>
                </a:cubicBezTo>
                <a:cubicBezTo>
                  <a:pt x="1489" y="30"/>
                  <a:pt x="1492" y="29"/>
                  <a:pt x="1487" y="31"/>
                </a:cubicBezTo>
                <a:cubicBezTo>
                  <a:pt x="1487" y="31"/>
                  <a:pt x="1486" y="31"/>
                  <a:pt x="1485" y="31"/>
                </a:cubicBezTo>
                <a:cubicBezTo>
                  <a:pt x="1484" y="31"/>
                  <a:pt x="1480" y="31"/>
                  <a:pt x="1479" y="31"/>
                </a:cubicBezTo>
                <a:cubicBezTo>
                  <a:pt x="1479" y="31"/>
                  <a:pt x="1478" y="30"/>
                  <a:pt x="1478" y="30"/>
                </a:cubicBezTo>
                <a:cubicBezTo>
                  <a:pt x="1477" y="30"/>
                  <a:pt x="1467" y="30"/>
                  <a:pt x="1465" y="30"/>
                </a:cubicBezTo>
                <a:cubicBezTo>
                  <a:pt x="1465" y="30"/>
                  <a:pt x="1465" y="29"/>
                  <a:pt x="1464" y="29"/>
                </a:cubicBezTo>
                <a:cubicBezTo>
                  <a:pt x="1462" y="29"/>
                  <a:pt x="1460" y="29"/>
                  <a:pt x="1458" y="29"/>
                </a:cubicBezTo>
                <a:cubicBezTo>
                  <a:pt x="1458" y="29"/>
                  <a:pt x="1456" y="28"/>
                  <a:pt x="1459" y="28"/>
                </a:cubicBezTo>
                <a:cubicBezTo>
                  <a:pt x="1464" y="27"/>
                  <a:pt x="1464" y="27"/>
                  <a:pt x="1464" y="27"/>
                </a:cubicBezTo>
                <a:cubicBezTo>
                  <a:pt x="1465" y="27"/>
                  <a:pt x="1467" y="27"/>
                  <a:pt x="1467" y="26"/>
                </a:cubicBezTo>
                <a:cubicBezTo>
                  <a:pt x="1466" y="26"/>
                  <a:pt x="1458" y="28"/>
                  <a:pt x="1455" y="28"/>
                </a:cubicBezTo>
                <a:cubicBezTo>
                  <a:pt x="1455" y="28"/>
                  <a:pt x="1453" y="27"/>
                  <a:pt x="1453" y="27"/>
                </a:cubicBezTo>
                <a:cubicBezTo>
                  <a:pt x="1451" y="27"/>
                  <a:pt x="1449" y="27"/>
                  <a:pt x="1449" y="26"/>
                </a:cubicBezTo>
                <a:cubicBezTo>
                  <a:pt x="1448" y="26"/>
                  <a:pt x="1451" y="26"/>
                  <a:pt x="1450" y="25"/>
                </a:cubicBezTo>
                <a:cubicBezTo>
                  <a:pt x="1449" y="25"/>
                  <a:pt x="1448" y="25"/>
                  <a:pt x="1447" y="25"/>
                </a:cubicBezTo>
                <a:cubicBezTo>
                  <a:pt x="1447" y="25"/>
                  <a:pt x="1447" y="25"/>
                  <a:pt x="1447" y="25"/>
                </a:cubicBezTo>
                <a:close/>
                <a:moveTo>
                  <a:pt x="1504" y="36"/>
                </a:moveTo>
                <a:cubicBezTo>
                  <a:pt x="1504" y="36"/>
                  <a:pt x="1504" y="37"/>
                  <a:pt x="1504" y="37"/>
                </a:cubicBezTo>
                <a:cubicBezTo>
                  <a:pt x="1503" y="36"/>
                  <a:pt x="1501" y="34"/>
                  <a:pt x="1501" y="34"/>
                </a:cubicBezTo>
                <a:cubicBezTo>
                  <a:pt x="1503" y="34"/>
                  <a:pt x="1504" y="34"/>
                  <a:pt x="1504" y="36"/>
                </a:cubicBezTo>
                <a:close/>
                <a:moveTo>
                  <a:pt x="1440" y="259"/>
                </a:moveTo>
                <a:cubicBezTo>
                  <a:pt x="1440" y="259"/>
                  <a:pt x="1438" y="258"/>
                  <a:pt x="1438" y="257"/>
                </a:cubicBezTo>
                <a:cubicBezTo>
                  <a:pt x="1438" y="257"/>
                  <a:pt x="1438" y="257"/>
                  <a:pt x="1438" y="257"/>
                </a:cubicBezTo>
                <a:cubicBezTo>
                  <a:pt x="1438" y="257"/>
                  <a:pt x="1439" y="256"/>
                  <a:pt x="1439" y="256"/>
                </a:cubicBezTo>
                <a:cubicBezTo>
                  <a:pt x="1440" y="256"/>
                  <a:pt x="1442" y="257"/>
                  <a:pt x="1442" y="257"/>
                </a:cubicBezTo>
                <a:cubicBezTo>
                  <a:pt x="1443" y="257"/>
                  <a:pt x="1442" y="259"/>
                  <a:pt x="1440" y="259"/>
                </a:cubicBezTo>
                <a:close/>
                <a:moveTo>
                  <a:pt x="1480" y="206"/>
                </a:moveTo>
                <a:cubicBezTo>
                  <a:pt x="1480" y="206"/>
                  <a:pt x="1481" y="206"/>
                  <a:pt x="1480" y="207"/>
                </a:cubicBezTo>
                <a:cubicBezTo>
                  <a:pt x="1479" y="207"/>
                  <a:pt x="1477" y="207"/>
                  <a:pt x="1476" y="207"/>
                </a:cubicBezTo>
                <a:cubicBezTo>
                  <a:pt x="1476" y="206"/>
                  <a:pt x="1475" y="205"/>
                  <a:pt x="1475" y="204"/>
                </a:cubicBezTo>
                <a:cubicBezTo>
                  <a:pt x="1477" y="203"/>
                  <a:pt x="1477" y="203"/>
                  <a:pt x="1477" y="203"/>
                </a:cubicBezTo>
                <a:cubicBezTo>
                  <a:pt x="1476" y="202"/>
                  <a:pt x="1480" y="204"/>
                  <a:pt x="1480" y="204"/>
                </a:cubicBezTo>
                <a:cubicBezTo>
                  <a:pt x="1480" y="204"/>
                  <a:pt x="1481" y="206"/>
                  <a:pt x="1480" y="206"/>
                </a:cubicBezTo>
                <a:close/>
                <a:moveTo>
                  <a:pt x="1465" y="235"/>
                </a:moveTo>
                <a:cubicBezTo>
                  <a:pt x="1465" y="233"/>
                  <a:pt x="1465" y="232"/>
                  <a:pt x="1466" y="231"/>
                </a:cubicBezTo>
                <a:cubicBezTo>
                  <a:pt x="1466" y="231"/>
                  <a:pt x="1468" y="230"/>
                  <a:pt x="1468" y="230"/>
                </a:cubicBezTo>
                <a:cubicBezTo>
                  <a:pt x="1469" y="229"/>
                  <a:pt x="1470" y="228"/>
                  <a:pt x="1472" y="229"/>
                </a:cubicBezTo>
                <a:cubicBezTo>
                  <a:pt x="1472" y="229"/>
                  <a:pt x="1470" y="231"/>
                  <a:pt x="1470" y="231"/>
                </a:cubicBezTo>
                <a:cubicBezTo>
                  <a:pt x="1470" y="232"/>
                  <a:pt x="1470" y="232"/>
                  <a:pt x="1470" y="232"/>
                </a:cubicBezTo>
                <a:cubicBezTo>
                  <a:pt x="1472" y="234"/>
                  <a:pt x="1472" y="233"/>
                  <a:pt x="1469" y="235"/>
                </a:cubicBezTo>
                <a:cubicBezTo>
                  <a:pt x="1468" y="237"/>
                  <a:pt x="1468" y="238"/>
                  <a:pt x="1466" y="239"/>
                </a:cubicBezTo>
                <a:cubicBezTo>
                  <a:pt x="1465" y="238"/>
                  <a:pt x="1465" y="238"/>
                  <a:pt x="1465" y="238"/>
                </a:cubicBezTo>
                <a:cubicBezTo>
                  <a:pt x="1467" y="238"/>
                  <a:pt x="1465" y="237"/>
                  <a:pt x="1465" y="235"/>
                </a:cubicBezTo>
                <a:close/>
                <a:moveTo>
                  <a:pt x="1405" y="248"/>
                </a:moveTo>
                <a:cubicBezTo>
                  <a:pt x="1405" y="248"/>
                  <a:pt x="1406" y="249"/>
                  <a:pt x="1406" y="249"/>
                </a:cubicBezTo>
                <a:cubicBezTo>
                  <a:pt x="1404" y="248"/>
                  <a:pt x="1404" y="248"/>
                  <a:pt x="1404" y="248"/>
                </a:cubicBezTo>
                <a:cubicBezTo>
                  <a:pt x="1404" y="248"/>
                  <a:pt x="1405" y="248"/>
                  <a:pt x="1405" y="248"/>
                </a:cubicBezTo>
                <a:close/>
                <a:moveTo>
                  <a:pt x="1410" y="234"/>
                </a:moveTo>
                <a:cubicBezTo>
                  <a:pt x="1410" y="236"/>
                  <a:pt x="1410" y="236"/>
                  <a:pt x="1410" y="236"/>
                </a:cubicBezTo>
                <a:cubicBezTo>
                  <a:pt x="1408" y="236"/>
                  <a:pt x="1408" y="236"/>
                  <a:pt x="1407" y="235"/>
                </a:cubicBezTo>
                <a:cubicBezTo>
                  <a:pt x="1409" y="234"/>
                  <a:pt x="1408" y="234"/>
                  <a:pt x="1410" y="234"/>
                </a:cubicBezTo>
                <a:close/>
                <a:moveTo>
                  <a:pt x="1273" y="188"/>
                </a:moveTo>
                <a:cubicBezTo>
                  <a:pt x="1273" y="189"/>
                  <a:pt x="1275" y="189"/>
                  <a:pt x="1273" y="190"/>
                </a:cubicBezTo>
                <a:cubicBezTo>
                  <a:pt x="1271" y="190"/>
                  <a:pt x="1270" y="189"/>
                  <a:pt x="1270" y="189"/>
                </a:cubicBezTo>
                <a:cubicBezTo>
                  <a:pt x="1270" y="188"/>
                  <a:pt x="1270" y="188"/>
                  <a:pt x="1270" y="188"/>
                </a:cubicBezTo>
                <a:cubicBezTo>
                  <a:pt x="1268" y="186"/>
                  <a:pt x="1268" y="186"/>
                  <a:pt x="1267" y="187"/>
                </a:cubicBezTo>
                <a:cubicBezTo>
                  <a:pt x="1266" y="186"/>
                  <a:pt x="1268" y="183"/>
                  <a:pt x="1270" y="184"/>
                </a:cubicBezTo>
                <a:cubicBezTo>
                  <a:pt x="1273" y="185"/>
                  <a:pt x="1272" y="184"/>
                  <a:pt x="1274" y="184"/>
                </a:cubicBezTo>
                <a:cubicBezTo>
                  <a:pt x="1276" y="184"/>
                  <a:pt x="1275" y="186"/>
                  <a:pt x="1274" y="187"/>
                </a:cubicBezTo>
                <a:cubicBezTo>
                  <a:pt x="1273" y="187"/>
                  <a:pt x="1273" y="187"/>
                  <a:pt x="1273" y="188"/>
                </a:cubicBezTo>
                <a:close/>
                <a:moveTo>
                  <a:pt x="1415" y="251"/>
                </a:moveTo>
                <a:cubicBezTo>
                  <a:pt x="1416" y="251"/>
                  <a:pt x="1419" y="251"/>
                  <a:pt x="1416" y="249"/>
                </a:cubicBezTo>
                <a:cubicBezTo>
                  <a:pt x="1417" y="247"/>
                  <a:pt x="1416" y="247"/>
                  <a:pt x="1419" y="246"/>
                </a:cubicBezTo>
                <a:cubicBezTo>
                  <a:pt x="1420" y="248"/>
                  <a:pt x="1419" y="248"/>
                  <a:pt x="1421" y="248"/>
                </a:cubicBezTo>
                <a:cubicBezTo>
                  <a:pt x="1422" y="252"/>
                  <a:pt x="1422" y="252"/>
                  <a:pt x="1420" y="252"/>
                </a:cubicBezTo>
                <a:cubicBezTo>
                  <a:pt x="1418" y="253"/>
                  <a:pt x="1420" y="253"/>
                  <a:pt x="1421" y="256"/>
                </a:cubicBezTo>
                <a:cubicBezTo>
                  <a:pt x="1422" y="257"/>
                  <a:pt x="1419" y="255"/>
                  <a:pt x="1417" y="257"/>
                </a:cubicBezTo>
                <a:cubicBezTo>
                  <a:pt x="1420" y="259"/>
                  <a:pt x="1420" y="259"/>
                  <a:pt x="1420" y="259"/>
                </a:cubicBezTo>
                <a:cubicBezTo>
                  <a:pt x="1416" y="263"/>
                  <a:pt x="1417" y="262"/>
                  <a:pt x="1415" y="262"/>
                </a:cubicBezTo>
                <a:cubicBezTo>
                  <a:pt x="1415" y="262"/>
                  <a:pt x="1414" y="262"/>
                  <a:pt x="1413" y="262"/>
                </a:cubicBezTo>
                <a:cubicBezTo>
                  <a:pt x="1412" y="262"/>
                  <a:pt x="1410" y="262"/>
                  <a:pt x="1409" y="261"/>
                </a:cubicBezTo>
                <a:cubicBezTo>
                  <a:pt x="1409" y="260"/>
                  <a:pt x="1410" y="259"/>
                  <a:pt x="1410" y="259"/>
                </a:cubicBezTo>
                <a:cubicBezTo>
                  <a:pt x="1410" y="259"/>
                  <a:pt x="1413" y="259"/>
                  <a:pt x="1413" y="259"/>
                </a:cubicBezTo>
                <a:cubicBezTo>
                  <a:pt x="1415" y="258"/>
                  <a:pt x="1415" y="258"/>
                  <a:pt x="1415" y="258"/>
                </a:cubicBezTo>
                <a:cubicBezTo>
                  <a:pt x="1414" y="258"/>
                  <a:pt x="1413" y="256"/>
                  <a:pt x="1412" y="256"/>
                </a:cubicBezTo>
                <a:cubicBezTo>
                  <a:pt x="1412" y="256"/>
                  <a:pt x="1412" y="255"/>
                  <a:pt x="1412" y="255"/>
                </a:cubicBezTo>
                <a:cubicBezTo>
                  <a:pt x="1409" y="253"/>
                  <a:pt x="1407" y="253"/>
                  <a:pt x="1407" y="251"/>
                </a:cubicBezTo>
                <a:cubicBezTo>
                  <a:pt x="1413" y="252"/>
                  <a:pt x="1411" y="251"/>
                  <a:pt x="1412" y="249"/>
                </a:cubicBezTo>
                <a:cubicBezTo>
                  <a:pt x="1413" y="248"/>
                  <a:pt x="1414" y="249"/>
                  <a:pt x="1414" y="250"/>
                </a:cubicBezTo>
                <a:cubicBezTo>
                  <a:pt x="1414" y="251"/>
                  <a:pt x="1415" y="251"/>
                  <a:pt x="1415" y="251"/>
                </a:cubicBezTo>
                <a:close/>
                <a:moveTo>
                  <a:pt x="1272" y="191"/>
                </a:moveTo>
                <a:cubicBezTo>
                  <a:pt x="1272" y="192"/>
                  <a:pt x="1273" y="193"/>
                  <a:pt x="1272" y="193"/>
                </a:cubicBezTo>
                <a:cubicBezTo>
                  <a:pt x="1272" y="193"/>
                  <a:pt x="1271" y="195"/>
                  <a:pt x="1270" y="194"/>
                </a:cubicBezTo>
                <a:cubicBezTo>
                  <a:pt x="1269" y="192"/>
                  <a:pt x="1269" y="192"/>
                  <a:pt x="1270" y="190"/>
                </a:cubicBezTo>
                <a:cubicBezTo>
                  <a:pt x="1270" y="190"/>
                  <a:pt x="1272" y="190"/>
                  <a:pt x="1272" y="191"/>
                </a:cubicBezTo>
                <a:close/>
                <a:moveTo>
                  <a:pt x="1519" y="463"/>
                </a:moveTo>
                <a:cubicBezTo>
                  <a:pt x="1519" y="460"/>
                  <a:pt x="1519" y="460"/>
                  <a:pt x="1519" y="460"/>
                </a:cubicBezTo>
                <a:cubicBezTo>
                  <a:pt x="1521" y="460"/>
                  <a:pt x="1521" y="460"/>
                  <a:pt x="1521" y="460"/>
                </a:cubicBezTo>
                <a:cubicBezTo>
                  <a:pt x="1521" y="463"/>
                  <a:pt x="1521" y="462"/>
                  <a:pt x="1519" y="463"/>
                </a:cubicBezTo>
                <a:close/>
                <a:moveTo>
                  <a:pt x="1536" y="449"/>
                </a:moveTo>
                <a:cubicBezTo>
                  <a:pt x="1536" y="447"/>
                  <a:pt x="1536" y="447"/>
                  <a:pt x="1536" y="447"/>
                </a:cubicBezTo>
                <a:cubicBezTo>
                  <a:pt x="1538" y="446"/>
                  <a:pt x="1538" y="449"/>
                  <a:pt x="1536" y="449"/>
                </a:cubicBezTo>
                <a:close/>
                <a:moveTo>
                  <a:pt x="1536" y="441"/>
                </a:moveTo>
                <a:cubicBezTo>
                  <a:pt x="1537" y="443"/>
                  <a:pt x="1543" y="447"/>
                  <a:pt x="1539" y="448"/>
                </a:cubicBezTo>
                <a:cubicBezTo>
                  <a:pt x="1538" y="445"/>
                  <a:pt x="1538" y="446"/>
                  <a:pt x="1537" y="445"/>
                </a:cubicBezTo>
                <a:cubicBezTo>
                  <a:pt x="1535" y="443"/>
                  <a:pt x="1535" y="443"/>
                  <a:pt x="1535" y="443"/>
                </a:cubicBezTo>
                <a:lnTo>
                  <a:pt x="1536" y="441"/>
                </a:lnTo>
                <a:close/>
                <a:moveTo>
                  <a:pt x="1539" y="419"/>
                </a:moveTo>
                <a:cubicBezTo>
                  <a:pt x="1542" y="419"/>
                  <a:pt x="1541" y="422"/>
                  <a:pt x="1539" y="422"/>
                </a:cubicBezTo>
                <a:cubicBezTo>
                  <a:pt x="1537" y="422"/>
                  <a:pt x="1537" y="421"/>
                  <a:pt x="1536" y="419"/>
                </a:cubicBezTo>
                <a:cubicBezTo>
                  <a:pt x="1536" y="419"/>
                  <a:pt x="1539" y="419"/>
                  <a:pt x="1539" y="419"/>
                </a:cubicBezTo>
                <a:close/>
                <a:moveTo>
                  <a:pt x="1534" y="452"/>
                </a:moveTo>
                <a:cubicBezTo>
                  <a:pt x="1536" y="452"/>
                  <a:pt x="1536" y="452"/>
                  <a:pt x="1536" y="454"/>
                </a:cubicBezTo>
                <a:cubicBezTo>
                  <a:pt x="1534" y="454"/>
                  <a:pt x="1535" y="454"/>
                  <a:pt x="1534" y="452"/>
                </a:cubicBezTo>
                <a:close/>
                <a:moveTo>
                  <a:pt x="1542" y="459"/>
                </a:moveTo>
                <a:cubicBezTo>
                  <a:pt x="1545" y="458"/>
                  <a:pt x="1543" y="461"/>
                  <a:pt x="1542" y="461"/>
                </a:cubicBezTo>
                <a:cubicBezTo>
                  <a:pt x="1540" y="460"/>
                  <a:pt x="1542" y="460"/>
                  <a:pt x="1542" y="459"/>
                </a:cubicBezTo>
                <a:close/>
                <a:moveTo>
                  <a:pt x="1535" y="456"/>
                </a:moveTo>
                <a:cubicBezTo>
                  <a:pt x="1534" y="459"/>
                  <a:pt x="1529" y="455"/>
                  <a:pt x="1534" y="455"/>
                </a:cubicBezTo>
                <a:cubicBezTo>
                  <a:pt x="1534" y="455"/>
                  <a:pt x="1535" y="456"/>
                  <a:pt x="1535" y="456"/>
                </a:cubicBezTo>
                <a:close/>
                <a:moveTo>
                  <a:pt x="1541" y="416"/>
                </a:moveTo>
                <a:cubicBezTo>
                  <a:pt x="1540" y="415"/>
                  <a:pt x="1540" y="415"/>
                  <a:pt x="1540" y="415"/>
                </a:cubicBezTo>
                <a:cubicBezTo>
                  <a:pt x="1542" y="413"/>
                  <a:pt x="1542" y="414"/>
                  <a:pt x="1541" y="416"/>
                </a:cubicBezTo>
                <a:close/>
                <a:moveTo>
                  <a:pt x="1540" y="457"/>
                </a:moveTo>
                <a:cubicBezTo>
                  <a:pt x="1540" y="456"/>
                  <a:pt x="1542" y="454"/>
                  <a:pt x="1542" y="455"/>
                </a:cubicBezTo>
                <a:cubicBezTo>
                  <a:pt x="1542" y="459"/>
                  <a:pt x="1540" y="457"/>
                  <a:pt x="1540" y="457"/>
                </a:cubicBezTo>
                <a:close/>
                <a:moveTo>
                  <a:pt x="1541" y="448"/>
                </a:moveTo>
                <a:cubicBezTo>
                  <a:pt x="1541" y="448"/>
                  <a:pt x="1541" y="448"/>
                  <a:pt x="1541" y="448"/>
                </a:cubicBezTo>
                <a:cubicBezTo>
                  <a:pt x="1540" y="446"/>
                  <a:pt x="1542" y="448"/>
                  <a:pt x="1542" y="448"/>
                </a:cubicBezTo>
                <a:cubicBezTo>
                  <a:pt x="1541" y="448"/>
                  <a:pt x="1541" y="449"/>
                  <a:pt x="1541" y="448"/>
                </a:cubicBezTo>
                <a:close/>
                <a:moveTo>
                  <a:pt x="1532" y="447"/>
                </a:moveTo>
                <a:cubicBezTo>
                  <a:pt x="1531" y="448"/>
                  <a:pt x="1529" y="446"/>
                  <a:pt x="1531" y="445"/>
                </a:cubicBezTo>
                <a:cubicBezTo>
                  <a:pt x="1533" y="444"/>
                  <a:pt x="1533" y="446"/>
                  <a:pt x="1532" y="447"/>
                </a:cubicBezTo>
                <a:close/>
                <a:moveTo>
                  <a:pt x="1555" y="456"/>
                </a:moveTo>
                <a:cubicBezTo>
                  <a:pt x="1555" y="456"/>
                  <a:pt x="1558" y="454"/>
                  <a:pt x="1558" y="453"/>
                </a:cubicBezTo>
                <a:cubicBezTo>
                  <a:pt x="1560" y="453"/>
                  <a:pt x="1559" y="456"/>
                  <a:pt x="1558" y="456"/>
                </a:cubicBezTo>
                <a:cubicBezTo>
                  <a:pt x="1558" y="456"/>
                  <a:pt x="1555" y="457"/>
                  <a:pt x="1555" y="456"/>
                </a:cubicBezTo>
                <a:close/>
                <a:moveTo>
                  <a:pt x="1556" y="454"/>
                </a:moveTo>
                <a:cubicBezTo>
                  <a:pt x="1555" y="453"/>
                  <a:pt x="1555" y="453"/>
                  <a:pt x="1555" y="453"/>
                </a:cubicBezTo>
                <a:cubicBezTo>
                  <a:pt x="1556" y="451"/>
                  <a:pt x="1556" y="451"/>
                  <a:pt x="1556" y="451"/>
                </a:cubicBezTo>
                <a:cubicBezTo>
                  <a:pt x="1558" y="452"/>
                  <a:pt x="1558" y="452"/>
                  <a:pt x="1558" y="452"/>
                </a:cubicBezTo>
                <a:lnTo>
                  <a:pt x="1556" y="454"/>
                </a:lnTo>
                <a:close/>
                <a:moveTo>
                  <a:pt x="1542" y="451"/>
                </a:moveTo>
                <a:cubicBezTo>
                  <a:pt x="1542" y="450"/>
                  <a:pt x="1542" y="450"/>
                  <a:pt x="1542" y="450"/>
                </a:cubicBezTo>
                <a:cubicBezTo>
                  <a:pt x="1544" y="451"/>
                  <a:pt x="1544" y="451"/>
                  <a:pt x="1544" y="451"/>
                </a:cubicBezTo>
                <a:cubicBezTo>
                  <a:pt x="1542" y="454"/>
                  <a:pt x="1542" y="454"/>
                  <a:pt x="1542" y="454"/>
                </a:cubicBezTo>
                <a:cubicBezTo>
                  <a:pt x="1542" y="453"/>
                  <a:pt x="1542" y="453"/>
                  <a:pt x="1542" y="453"/>
                </a:cubicBezTo>
                <a:cubicBezTo>
                  <a:pt x="1541" y="454"/>
                  <a:pt x="1540" y="455"/>
                  <a:pt x="1540" y="454"/>
                </a:cubicBezTo>
                <a:cubicBezTo>
                  <a:pt x="1538" y="453"/>
                  <a:pt x="1538" y="453"/>
                  <a:pt x="1539" y="452"/>
                </a:cubicBezTo>
                <a:cubicBezTo>
                  <a:pt x="1539" y="451"/>
                  <a:pt x="1539" y="451"/>
                  <a:pt x="1539" y="451"/>
                </a:cubicBezTo>
                <a:cubicBezTo>
                  <a:pt x="1541" y="450"/>
                  <a:pt x="1540" y="451"/>
                  <a:pt x="1542" y="451"/>
                </a:cubicBezTo>
                <a:close/>
                <a:moveTo>
                  <a:pt x="1559" y="468"/>
                </a:moveTo>
                <a:cubicBezTo>
                  <a:pt x="1558" y="470"/>
                  <a:pt x="1560" y="469"/>
                  <a:pt x="1558" y="471"/>
                </a:cubicBezTo>
                <a:cubicBezTo>
                  <a:pt x="1558" y="471"/>
                  <a:pt x="1558" y="472"/>
                  <a:pt x="1557" y="471"/>
                </a:cubicBezTo>
                <a:cubicBezTo>
                  <a:pt x="1556" y="468"/>
                  <a:pt x="1558" y="468"/>
                  <a:pt x="1559" y="466"/>
                </a:cubicBezTo>
                <a:cubicBezTo>
                  <a:pt x="1561" y="466"/>
                  <a:pt x="1559" y="466"/>
                  <a:pt x="1559" y="468"/>
                </a:cubicBezTo>
                <a:close/>
                <a:moveTo>
                  <a:pt x="1565" y="455"/>
                </a:moveTo>
                <a:cubicBezTo>
                  <a:pt x="1564" y="455"/>
                  <a:pt x="1564" y="455"/>
                  <a:pt x="1564" y="455"/>
                </a:cubicBezTo>
                <a:cubicBezTo>
                  <a:pt x="1562" y="456"/>
                  <a:pt x="1562" y="457"/>
                  <a:pt x="1559" y="456"/>
                </a:cubicBezTo>
                <a:cubicBezTo>
                  <a:pt x="1558" y="455"/>
                  <a:pt x="1564" y="455"/>
                  <a:pt x="1565" y="455"/>
                </a:cubicBezTo>
                <a:close/>
                <a:moveTo>
                  <a:pt x="1532" y="432"/>
                </a:moveTo>
                <a:cubicBezTo>
                  <a:pt x="1532" y="432"/>
                  <a:pt x="1531" y="431"/>
                  <a:pt x="1532" y="431"/>
                </a:cubicBezTo>
                <a:cubicBezTo>
                  <a:pt x="1537" y="430"/>
                  <a:pt x="1533" y="437"/>
                  <a:pt x="1532" y="432"/>
                </a:cubicBezTo>
                <a:close/>
                <a:moveTo>
                  <a:pt x="1532" y="450"/>
                </a:moveTo>
                <a:cubicBezTo>
                  <a:pt x="1532" y="448"/>
                  <a:pt x="1532" y="448"/>
                  <a:pt x="1532" y="448"/>
                </a:cubicBezTo>
                <a:cubicBezTo>
                  <a:pt x="1534" y="447"/>
                  <a:pt x="1533" y="449"/>
                  <a:pt x="1532" y="450"/>
                </a:cubicBezTo>
                <a:close/>
                <a:moveTo>
                  <a:pt x="1533" y="439"/>
                </a:moveTo>
                <a:cubicBezTo>
                  <a:pt x="1534" y="439"/>
                  <a:pt x="1534" y="442"/>
                  <a:pt x="1532" y="442"/>
                </a:cubicBezTo>
                <a:cubicBezTo>
                  <a:pt x="1531" y="442"/>
                  <a:pt x="1529" y="439"/>
                  <a:pt x="1529" y="438"/>
                </a:cubicBezTo>
                <a:cubicBezTo>
                  <a:pt x="1528" y="437"/>
                  <a:pt x="1523" y="437"/>
                  <a:pt x="1521" y="432"/>
                </a:cubicBezTo>
                <a:cubicBezTo>
                  <a:pt x="1518" y="432"/>
                  <a:pt x="1518" y="432"/>
                  <a:pt x="1518" y="432"/>
                </a:cubicBezTo>
                <a:cubicBezTo>
                  <a:pt x="1521" y="431"/>
                  <a:pt x="1521" y="429"/>
                  <a:pt x="1524" y="432"/>
                </a:cubicBezTo>
                <a:cubicBezTo>
                  <a:pt x="1524" y="433"/>
                  <a:pt x="1526" y="434"/>
                  <a:pt x="1528" y="434"/>
                </a:cubicBezTo>
                <a:cubicBezTo>
                  <a:pt x="1530" y="435"/>
                  <a:pt x="1529" y="439"/>
                  <a:pt x="1533" y="439"/>
                </a:cubicBezTo>
                <a:close/>
                <a:moveTo>
                  <a:pt x="1528" y="468"/>
                </a:moveTo>
                <a:cubicBezTo>
                  <a:pt x="1531" y="469"/>
                  <a:pt x="1532" y="468"/>
                  <a:pt x="1532" y="470"/>
                </a:cubicBezTo>
                <a:cubicBezTo>
                  <a:pt x="1532" y="470"/>
                  <a:pt x="1533" y="471"/>
                  <a:pt x="1534" y="471"/>
                </a:cubicBezTo>
                <a:cubicBezTo>
                  <a:pt x="1537" y="471"/>
                  <a:pt x="1540" y="470"/>
                  <a:pt x="1543" y="472"/>
                </a:cubicBezTo>
                <a:cubicBezTo>
                  <a:pt x="1546" y="471"/>
                  <a:pt x="1546" y="471"/>
                  <a:pt x="1546" y="471"/>
                </a:cubicBezTo>
                <a:cubicBezTo>
                  <a:pt x="1547" y="473"/>
                  <a:pt x="1547" y="473"/>
                  <a:pt x="1547" y="473"/>
                </a:cubicBezTo>
                <a:cubicBezTo>
                  <a:pt x="1549" y="473"/>
                  <a:pt x="1549" y="473"/>
                  <a:pt x="1550" y="472"/>
                </a:cubicBezTo>
                <a:cubicBezTo>
                  <a:pt x="1550" y="472"/>
                  <a:pt x="1552" y="471"/>
                  <a:pt x="1552" y="471"/>
                </a:cubicBezTo>
                <a:cubicBezTo>
                  <a:pt x="1552" y="476"/>
                  <a:pt x="1549" y="475"/>
                  <a:pt x="1546" y="474"/>
                </a:cubicBezTo>
                <a:cubicBezTo>
                  <a:pt x="1546" y="474"/>
                  <a:pt x="1541" y="476"/>
                  <a:pt x="1539" y="476"/>
                </a:cubicBezTo>
                <a:cubicBezTo>
                  <a:pt x="1537" y="476"/>
                  <a:pt x="1537" y="476"/>
                  <a:pt x="1536" y="474"/>
                </a:cubicBezTo>
                <a:cubicBezTo>
                  <a:pt x="1533" y="474"/>
                  <a:pt x="1533" y="474"/>
                  <a:pt x="1533" y="474"/>
                </a:cubicBezTo>
                <a:cubicBezTo>
                  <a:pt x="1533" y="474"/>
                  <a:pt x="1533" y="473"/>
                  <a:pt x="1532" y="473"/>
                </a:cubicBezTo>
                <a:cubicBezTo>
                  <a:pt x="1529" y="473"/>
                  <a:pt x="1529" y="473"/>
                  <a:pt x="1527" y="472"/>
                </a:cubicBezTo>
                <a:cubicBezTo>
                  <a:pt x="1525" y="472"/>
                  <a:pt x="1525" y="472"/>
                  <a:pt x="1525" y="472"/>
                </a:cubicBezTo>
                <a:cubicBezTo>
                  <a:pt x="1526" y="470"/>
                  <a:pt x="1526" y="470"/>
                  <a:pt x="1526" y="470"/>
                </a:cubicBezTo>
                <a:cubicBezTo>
                  <a:pt x="1525" y="470"/>
                  <a:pt x="1524" y="467"/>
                  <a:pt x="1526" y="468"/>
                </a:cubicBezTo>
                <a:cubicBezTo>
                  <a:pt x="1527" y="468"/>
                  <a:pt x="1527" y="468"/>
                  <a:pt x="1527" y="468"/>
                </a:cubicBezTo>
                <a:cubicBezTo>
                  <a:pt x="1527" y="468"/>
                  <a:pt x="1527" y="468"/>
                  <a:pt x="1527" y="467"/>
                </a:cubicBezTo>
                <a:cubicBezTo>
                  <a:pt x="1527" y="466"/>
                  <a:pt x="1528" y="468"/>
                  <a:pt x="1528" y="468"/>
                </a:cubicBezTo>
                <a:close/>
                <a:moveTo>
                  <a:pt x="1497" y="441"/>
                </a:moveTo>
                <a:cubicBezTo>
                  <a:pt x="1496" y="440"/>
                  <a:pt x="1493" y="440"/>
                  <a:pt x="1495" y="438"/>
                </a:cubicBezTo>
                <a:cubicBezTo>
                  <a:pt x="1497" y="436"/>
                  <a:pt x="1496" y="436"/>
                  <a:pt x="1498" y="439"/>
                </a:cubicBezTo>
                <a:cubicBezTo>
                  <a:pt x="1499" y="441"/>
                  <a:pt x="1499" y="441"/>
                  <a:pt x="1497" y="441"/>
                </a:cubicBezTo>
                <a:close/>
                <a:moveTo>
                  <a:pt x="1547" y="446"/>
                </a:moveTo>
                <a:cubicBezTo>
                  <a:pt x="1548" y="446"/>
                  <a:pt x="1549" y="446"/>
                  <a:pt x="1550" y="446"/>
                </a:cubicBezTo>
                <a:cubicBezTo>
                  <a:pt x="1548" y="448"/>
                  <a:pt x="1548" y="448"/>
                  <a:pt x="1548" y="448"/>
                </a:cubicBezTo>
                <a:cubicBezTo>
                  <a:pt x="1547" y="448"/>
                  <a:pt x="1544" y="446"/>
                  <a:pt x="1547" y="446"/>
                </a:cubicBezTo>
                <a:close/>
                <a:moveTo>
                  <a:pt x="1565" y="459"/>
                </a:moveTo>
                <a:cubicBezTo>
                  <a:pt x="1569" y="457"/>
                  <a:pt x="1568" y="460"/>
                  <a:pt x="1567" y="462"/>
                </a:cubicBezTo>
                <a:cubicBezTo>
                  <a:pt x="1564" y="465"/>
                  <a:pt x="1564" y="466"/>
                  <a:pt x="1563" y="463"/>
                </a:cubicBezTo>
                <a:cubicBezTo>
                  <a:pt x="1563" y="461"/>
                  <a:pt x="1564" y="460"/>
                  <a:pt x="1565" y="459"/>
                </a:cubicBezTo>
                <a:close/>
                <a:moveTo>
                  <a:pt x="1544" y="417"/>
                </a:moveTo>
                <a:cubicBezTo>
                  <a:pt x="1545" y="420"/>
                  <a:pt x="1542" y="418"/>
                  <a:pt x="1542" y="418"/>
                </a:cubicBezTo>
                <a:lnTo>
                  <a:pt x="1544" y="417"/>
                </a:lnTo>
                <a:close/>
                <a:moveTo>
                  <a:pt x="1545" y="439"/>
                </a:moveTo>
                <a:cubicBezTo>
                  <a:pt x="1544" y="437"/>
                  <a:pt x="1544" y="437"/>
                  <a:pt x="1544" y="437"/>
                </a:cubicBezTo>
                <a:cubicBezTo>
                  <a:pt x="1545" y="436"/>
                  <a:pt x="1545" y="436"/>
                  <a:pt x="1545" y="436"/>
                </a:cubicBezTo>
                <a:cubicBezTo>
                  <a:pt x="1545" y="433"/>
                  <a:pt x="1547" y="433"/>
                  <a:pt x="1547" y="437"/>
                </a:cubicBezTo>
                <a:cubicBezTo>
                  <a:pt x="1547" y="438"/>
                  <a:pt x="1545" y="440"/>
                  <a:pt x="1545" y="439"/>
                </a:cubicBezTo>
                <a:close/>
                <a:moveTo>
                  <a:pt x="1547" y="430"/>
                </a:moveTo>
                <a:cubicBezTo>
                  <a:pt x="1546" y="430"/>
                  <a:pt x="1545" y="429"/>
                  <a:pt x="1544" y="429"/>
                </a:cubicBezTo>
                <a:cubicBezTo>
                  <a:pt x="1545" y="428"/>
                  <a:pt x="1548" y="426"/>
                  <a:pt x="1549" y="426"/>
                </a:cubicBezTo>
                <a:cubicBezTo>
                  <a:pt x="1549" y="427"/>
                  <a:pt x="1551" y="430"/>
                  <a:pt x="1551" y="430"/>
                </a:cubicBezTo>
                <a:cubicBezTo>
                  <a:pt x="1549" y="432"/>
                  <a:pt x="1549" y="431"/>
                  <a:pt x="1547" y="430"/>
                </a:cubicBezTo>
                <a:close/>
                <a:moveTo>
                  <a:pt x="1622" y="472"/>
                </a:moveTo>
                <a:cubicBezTo>
                  <a:pt x="1622" y="474"/>
                  <a:pt x="1624" y="476"/>
                  <a:pt x="1623" y="476"/>
                </a:cubicBezTo>
                <a:cubicBezTo>
                  <a:pt x="1622" y="476"/>
                  <a:pt x="1622" y="476"/>
                  <a:pt x="1620" y="476"/>
                </a:cubicBezTo>
                <a:cubicBezTo>
                  <a:pt x="1618" y="476"/>
                  <a:pt x="1619" y="474"/>
                  <a:pt x="1615" y="479"/>
                </a:cubicBezTo>
                <a:cubicBezTo>
                  <a:pt x="1615" y="479"/>
                  <a:pt x="1614" y="479"/>
                  <a:pt x="1613" y="479"/>
                </a:cubicBezTo>
                <a:cubicBezTo>
                  <a:pt x="1611" y="479"/>
                  <a:pt x="1611" y="479"/>
                  <a:pt x="1609" y="479"/>
                </a:cubicBezTo>
                <a:cubicBezTo>
                  <a:pt x="1607" y="478"/>
                  <a:pt x="1607" y="478"/>
                  <a:pt x="1607" y="478"/>
                </a:cubicBezTo>
                <a:cubicBezTo>
                  <a:pt x="1605" y="474"/>
                  <a:pt x="1605" y="474"/>
                  <a:pt x="1605" y="474"/>
                </a:cubicBezTo>
                <a:cubicBezTo>
                  <a:pt x="1606" y="473"/>
                  <a:pt x="1610" y="473"/>
                  <a:pt x="1611" y="472"/>
                </a:cubicBezTo>
                <a:cubicBezTo>
                  <a:pt x="1611" y="472"/>
                  <a:pt x="1611" y="471"/>
                  <a:pt x="1612" y="471"/>
                </a:cubicBezTo>
                <a:cubicBezTo>
                  <a:pt x="1616" y="470"/>
                  <a:pt x="1618" y="472"/>
                  <a:pt x="1620" y="471"/>
                </a:cubicBezTo>
                <a:cubicBezTo>
                  <a:pt x="1622" y="470"/>
                  <a:pt x="1623" y="468"/>
                  <a:pt x="1624" y="468"/>
                </a:cubicBezTo>
                <a:cubicBezTo>
                  <a:pt x="1625" y="468"/>
                  <a:pt x="1627" y="468"/>
                  <a:pt x="1627" y="468"/>
                </a:cubicBezTo>
                <a:cubicBezTo>
                  <a:pt x="1627" y="468"/>
                  <a:pt x="1625" y="471"/>
                  <a:pt x="1624" y="471"/>
                </a:cubicBezTo>
                <a:cubicBezTo>
                  <a:pt x="1623" y="471"/>
                  <a:pt x="1622" y="471"/>
                  <a:pt x="1622" y="472"/>
                </a:cubicBezTo>
                <a:close/>
                <a:moveTo>
                  <a:pt x="1833" y="725"/>
                </a:moveTo>
                <a:cubicBezTo>
                  <a:pt x="1830" y="727"/>
                  <a:pt x="1831" y="726"/>
                  <a:pt x="1829" y="726"/>
                </a:cubicBezTo>
                <a:cubicBezTo>
                  <a:pt x="1826" y="726"/>
                  <a:pt x="1828" y="726"/>
                  <a:pt x="1825" y="725"/>
                </a:cubicBezTo>
                <a:cubicBezTo>
                  <a:pt x="1824" y="725"/>
                  <a:pt x="1821" y="723"/>
                  <a:pt x="1823" y="724"/>
                </a:cubicBezTo>
                <a:cubicBezTo>
                  <a:pt x="1823" y="724"/>
                  <a:pt x="1823" y="723"/>
                  <a:pt x="1824" y="722"/>
                </a:cubicBezTo>
                <a:cubicBezTo>
                  <a:pt x="1825" y="721"/>
                  <a:pt x="1824" y="722"/>
                  <a:pt x="1825" y="723"/>
                </a:cubicBezTo>
                <a:cubicBezTo>
                  <a:pt x="1826" y="723"/>
                  <a:pt x="1827" y="724"/>
                  <a:pt x="1827" y="723"/>
                </a:cubicBezTo>
                <a:cubicBezTo>
                  <a:pt x="1830" y="722"/>
                  <a:pt x="1831" y="723"/>
                  <a:pt x="1832" y="723"/>
                </a:cubicBezTo>
                <a:cubicBezTo>
                  <a:pt x="1833" y="723"/>
                  <a:pt x="1833" y="725"/>
                  <a:pt x="1833" y="725"/>
                </a:cubicBezTo>
                <a:close/>
                <a:moveTo>
                  <a:pt x="1775" y="707"/>
                </a:moveTo>
                <a:cubicBezTo>
                  <a:pt x="1775" y="707"/>
                  <a:pt x="1775" y="707"/>
                  <a:pt x="1775" y="707"/>
                </a:cubicBezTo>
                <a:cubicBezTo>
                  <a:pt x="1776" y="707"/>
                  <a:pt x="1775" y="707"/>
                  <a:pt x="1775" y="707"/>
                </a:cubicBezTo>
                <a:close/>
                <a:moveTo>
                  <a:pt x="1846" y="669"/>
                </a:moveTo>
                <a:cubicBezTo>
                  <a:pt x="1847" y="670"/>
                  <a:pt x="1847" y="670"/>
                  <a:pt x="1847" y="670"/>
                </a:cubicBezTo>
                <a:cubicBezTo>
                  <a:pt x="1844" y="670"/>
                  <a:pt x="1844" y="670"/>
                  <a:pt x="1844" y="670"/>
                </a:cubicBezTo>
                <a:cubicBezTo>
                  <a:pt x="1844" y="669"/>
                  <a:pt x="1844" y="669"/>
                  <a:pt x="1844" y="669"/>
                </a:cubicBezTo>
                <a:lnTo>
                  <a:pt x="1846" y="669"/>
                </a:lnTo>
                <a:close/>
                <a:moveTo>
                  <a:pt x="1871" y="633"/>
                </a:moveTo>
                <a:cubicBezTo>
                  <a:pt x="1873" y="636"/>
                  <a:pt x="1870" y="637"/>
                  <a:pt x="1869" y="639"/>
                </a:cubicBezTo>
                <a:cubicBezTo>
                  <a:pt x="1868" y="639"/>
                  <a:pt x="1868" y="639"/>
                  <a:pt x="1868" y="639"/>
                </a:cubicBezTo>
                <a:cubicBezTo>
                  <a:pt x="1868" y="639"/>
                  <a:pt x="1868" y="639"/>
                  <a:pt x="1868" y="639"/>
                </a:cubicBezTo>
                <a:cubicBezTo>
                  <a:pt x="1869" y="636"/>
                  <a:pt x="1869" y="636"/>
                  <a:pt x="1871" y="634"/>
                </a:cubicBezTo>
                <a:cubicBezTo>
                  <a:pt x="1871" y="634"/>
                  <a:pt x="1871" y="633"/>
                  <a:pt x="1871" y="633"/>
                </a:cubicBezTo>
                <a:close/>
                <a:moveTo>
                  <a:pt x="2453" y="598"/>
                </a:moveTo>
                <a:cubicBezTo>
                  <a:pt x="2456" y="590"/>
                  <a:pt x="2455" y="592"/>
                  <a:pt x="2455" y="590"/>
                </a:cubicBezTo>
                <a:cubicBezTo>
                  <a:pt x="2457" y="586"/>
                  <a:pt x="2457" y="586"/>
                  <a:pt x="2457" y="586"/>
                </a:cubicBezTo>
                <a:cubicBezTo>
                  <a:pt x="2460" y="585"/>
                  <a:pt x="2460" y="585"/>
                  <a:pt x="2460" y="585"/>
                </a:cubicBezTo>
                <a:cubicBezTo>
                  <a:pt x="2461" y="583"/>
                  <a:pt x="2461" y="583"/>
                  <a:pt x="2461" y="583"/>
                </a:cubicBezTo>
                <a:cubicBezTo>
                  <a:pt x="2461" y="583"/>
                  <a:pt x="2463" y="583"/>
                  <a:pt x="2463" y="583"/>
                </a:cubicBezTo>
                <a:cubicBezTo>
                  <a:pt x="2463" y="587"/>
                  <a:pt x="2464" y="585"/>
                  <a:pt x="2465" y="586"/>
                </a:cubicBezTo>
                <a:cubicBezTo>
                  <a:pt x="2465" y="586"/>
                  <a:pt x="2467" y="587"/>
                  <a:pt x="2466" y="588"/>
                </a:cubicBezTo>
                <a:cubicBezTo>
                  <a:pt x="2466" y="589"/>
                  <a:pt x="2465" y="589"/>
                  <a:pt x="2465" y="589"/>
                </a:cubicBezTo>
                <a:cubicBezTo>
                  <a:pt x="2466" y="592"/>
                  <a:pt x="2466" y="592"/>
                  <a:pt x="2466" y="593"/>
                </a:cubicBezTo>
                <a:cubicBezTo>
                  <a:pt x="2465" y="598"/>
                  <a:pt x="2465" y="596"/>
                  <a:pt x="2465" y="601"/>
                </a:cubicBezTo>
                <a:cubicBezTo>
                  <a:pt x="2465" y="602"/>
                  <a:pt x="2465" y="603"/>
                  <a:pt x="2465" y="604"/>
                </a:cubicBezTo>
                <a:cubicBezTo>
                  <a:pt x="2465" y="605"/>
                  <a:pt x="2465" y="608"/>
                  <a:pt x="2465" y="608"/>
                </a:cubicBezTo>
                <a:cubicBezTo>
                  <a:pt x="2465" y="608"/>
                  <a:pt x="2463" y="611"/>
                  <a:pt x="2463" y="611"/>
                </a:cubicBezTo>
                <a:cubicBezTo>
                  <a:pt x="2462" y="616"/>
                  <a:pt x="2462" y="616"/>
                  <a:pt x="2462" y="616"/>
                </a:cubicBezTo>
                <a:cubicBezTo>
                  <a:pt x="2462" y="618"/>
                  <a:pt x="2464" y="620"/>
                  <a:pt x="2462" y="621"/>
                </a:cubicBezTo>
                <a:cubicBezTo>
                  <a:pt x="2461" y="621"/>
                  <a:pt x="2462" y="623"/>
                  <a:pt x="2461" y="621"/>
                </a:cubicBezTo>
                <a:cubicBezTo>
                  <a:pt x="2460" y="619"/>
                  <a:pt x="2459" y="617"/>
                  <a:pt x="2457" y="616"/>
                </a:cubicBezTo>
                <a:cubicBezTo>
                  <a:pt x="2456" y="614"/>
                  <a:pt x="2454" y="614"/>
                  <a:pt x="2454" y="613"/>
                </a:cubicBezTo>
                <a:cubicBezTo>
                  <a:pt x="2454" y="612"/>
                  <a:pt x="2453" y="612"/>
                  <a:pt x="2453" y="610"/>
                </a:cubicBezTo>
                <a:cubicBezTo>
                  <a:pt x="2453" y="609"/>
                  <a:pt x="2454" y="611"/>
                  <a:pt x="2453" y="608"/>
                </a:cubicBezTo>
                <a:cubicBezTo>
                  <a:pt x="2452" y="603"/>
                  <a:pt x="2452" y="603"/>
                  <a:pt x="2453" y="598"/>
                </a:cubicBezTo>
                <a:close/>
                <a:moveTo>
                  <a:pt x="2358" y="662"/>
                </a:moveTo>
                <a:cubicBezTo>
                  <a:pt x="2356" y="661"/>
                  <a:pt x="2353" y="661"/>
                  <a:pt x="2353" y="661"/>
                </a:cubicBezTo>
                <a:cubicBezTo>
                  <a:pt x="2353" y="661"/>
                  <a:pt x="2351" y="658"/>
                  <a:pt x="2351" y="657"/>
                </a:cubicBezTo>
                <a:cubicBezTo>
                  <a:pt x="2351" y="657"/>
                  <a:pt x="2352" y="657"/>
                  <a:pt x="2351" y="656"/>
                </a:cubicBezTo>
                <a:cubicBezTo>
                  <a:pt x="2350" y="653"/>
                  <a:pt x="2349" y="652"/>
                  <a:pt x="2351" y="649"/>
                </a:cubicBezTo>
                <a:cubicBezTo>
                  <a:pt x="2353" y="647"/>
                  <a:pt x="2355" y="647"/>
                  <a:pt x="2355" y="645"/>
                </a:cubicBezTo>
                <a:cubicBezTo>
                  <a:pt x="2355" y="644"/>
                  <a:pt x="2352" y="643"/>
                  <a:pt x="2355" y="643"/>
                </a:cubicBezTo>
                <a:cubicBezTo>
                  <a:pt x="2359" y="644"/>
                  <a:pt x="2358" y="643"/>
                  <a:pt x="2360" y="643"/>
                </a:cubicBezTo>
                <a:cubicBezTo>
                  <a:pt x="2361" y="643"/>
                  <a:pt x="2362" y="643"/>
                  <a:pt x="2363" y="643"/>
                </a:cubicBezTo>
                <a:cubicBezTo>
                  <a:pt x="2364" y="643"/>
                  <a:pt x="2364" y="641"/>
                  <a:pt x="2365" y="641"/>
                </a:cubicBezTo>
                <a:cubicBezTo>
                  <a:pt x="2365" y="641"/>
                  <a:pt x="2366" y="641"/>
                  <a:pt x="2366" y="641"/>
                </a:cubicBezTo>
                <a:cubicBezTo>
                  <a:pt x="2367" y="642"/>
                  <a:pt x="2368" y="642"/>
                  <a:pt x="2369" y="641"/>
                </a:cubicBezTo>
                <a:cubicBezTo>
                  <a:pt x="2370" y="643"/>
                  <a:pt x="2370" y="643"/>
                  <a:pt x="2372" y="644"/>
                </a:cubicBezTo>
                <a:cubicBezTo>
                  <a:pt x="2372" y="646"/>
                  <a:pt x="2371" y="646"/>
                  <a:pt x="2370" y="648"/>
                </a:cubicBezTo>
                <a:cubicBezTo>
                  <a:pt x="2370" y="648"/>
                  <a:pt x="2369" y="649"/>
                  <a:pt x="2369" y="650"/>
                </a:cubicBezTo>
                <a:cubicBezTo>
                  <a:pt x="2368" y="651"/>
                  <a:pt x="2368" y="652"/>
                  <a:pt x="2368" y="653"/>
                </a:cubicBezTo>
                <a:cubicBezTo>
                  <a:pt x="2368" y="653"/>
                  <a:pt x="2369" y="655"/>
                  <a:pt x="2369" y="656"/>
                </a:cubicBezTo>
                <a:cubicBezTo>
                  <a:pt x="2368" y="658"/>
                  <a:pt x="2368" y="657"/>
                  <a:pt x="2365" y="659"/>
                </a:cubicBezTo>
                <a:cubicBezTo>
                  <a:pt x="2364" y="660"/>
                  <a:pt x="2363" y="661"/>
                  <a:pt x="2363" y="661"/>
                </a:cubicBezTo>
                <a:cubicBezTo>
                  <a:pt x="2362" y="662"/>
                  <a:pt x="2361" y="662"/>
                  <a:pt x="2360" y="662"/>
                </a:cubicBezTo>
                <a:cubicBezTo>
                  <a:pt x="2360" y="663"/>
                  <a:pt x="2361" y="663"/>
                  <a:pt x="2358" y="662"/>
                </a:cubicBezTo>
                <a:close/>
                <a:moveTo>
                  <a:pt x="2277" y="758"/>
                </a:moveTo>
                <a:cubicBezTo>
                  <a:pt x="2278" y="757"/>
                  <a:pt x="2278" y="757"/>
                  <a:pt x="2278" y="757"/>
                </a:cubicBezTo>
                <a:cubicBezTo>
                  <a:pt x="2279" y="758"/>
                  <a:pt x="2279" y="758"/>
                  <a:pt x="2279" y="758"/>
                </a:cubicBezTo>
                <a:cubicBezTo>
                  <a:pt x="2279" y="759"/>
                  <a:pt x="2279" y="759"/>
                  <a:pt x="2279" y="759"/>
                </a:cubicBezTo>
                <a:cubicBezTo>
                  <a:pt x="2277" y="759"/>
                  <a:pt x="2277" y="759"/>
                  <a:pt x="2277" y="759"/>
                </a:cubicBezTo>
                <a:lnTo>
                  <a:pt x="2277" y="758"/>
                </a:lnTo>
                <a:close/>
                <a:moveTo>
                  <a:pt x="2274" y="759"/>
                </a:moveTo>
                <a:cubicBezTo>
                  <a:pt x="2275" y="756"/>
                  <a:pt x="2275" y="756"/>
                  <a:pt x="2275" y="756"/>
                </a:cubicBezTo>
                <a:cubicBezTo>
                  <a:pt x="2276" y="758"/>
                  <a:pt x="2276" y="758"/>
                  <a:pt x="2276" y="758"/>
                </a:cubicBezTo>
                <a:cubicBezTo>
                  <a:pt x="2274" y="759"/>
                  <a:pt x="2274" y="759"/>
                  <a:pt x="2274" y="759"/>
                </a:cubicBezTo>
                <a:close/>
                <a:moveTo>
                  <a:pt x="2280" y="756"/>
                </a:moveTo>
                <a:cubicBezTo>
                  <a:pt x="2278" y="756"/>
                  <a:pt x="2278" y="756"/>
                  <a:pt x="2278" y="756"/>
                </a:cubicBezTo>
                <a:cubicBezTo>
                  <a:pt x="2278" y="755"/>
                  <a:pt x="2278" y="755"/>
                  <a:pt x="2278" y="755"/>
                </a:cubicBezTo>
                <a:lnTo>
                  <a:pt x="2280" y="756"/>
                </a:lnTo>
                <a:close/>
                <a:moveTo>
                  <a:pt x="1386" y="456"/>
                </a:moveTo>
                <a:cubicBezTo>
                  <a:pt x="1386" y="456"/>
                  <a:pt x="1386" y="456"/>
                  <a:pt x="1386" y="456"/>
                </a:cubicBezTo>
                <a:cubicBezTo>
                  <a:pt x="1386" y="456"/>
                  <a:pt x="1386" y="456"/>
                  <a:pt x="1386" y="456"/>
                </a:cubicBezTo>
                <a:close/>
                <a:moveTo>
                  <a:pt x="1387" y="455"/>
                </a:moveTo>
                <a:cubicBezTo>
                  <a:pt x="1387" y="455"/>
                  <a:pt x="1387" y="455"/>
                  <a:pt x="1387" y="455"/>
                </a:cubicBezTo>
                <a:cubicBezTo>
                  <a:pt x="1387" y="455"/>
                  <a:pt x="1387" y="455"/>
                  <a:pt x="1387" y="455"/>
                </a:cubicBezTo>
                <a:close/>
                <a:moveTo>
                  <a:pt x="1388" y="454"/>
                </a:moveTo>
                <a:cubicBezTo>
                  <a:pt x="1388" y="454"/>
                  <a:pt x="1388" y="454"/>
                  <a:pt x="1387" y="454"/>
                </a:cubicBezTo>
                <a:cubicBezTo>
                  <a:pt x="1388" y="454"/>
                  <a:pt x="1388" y="454"/>
                  <a:pt x="1388" y="454"/>
                </a:cubicBezTo>
                <a:close/>
                <a:moveTo>
                  <a:pt x="1291" y="477"/>
                </a:moveTo>
                <a:cubicBezTo>
                  <a:pt x="1291" y="477"/>
                  <a:pt x="1290" y="476"/>
                  <a:pt x="1290" y="475"/>
                </a:cubicBezTo>
                <a:cubicBezTo>
                  <a:pt x="1290" y="476"/>
                  <a:pt x="1291" y="477"/>
                  <a:pt x="1291" y="477"/>
                </a:cubicBezTo>
                <a:close/>
                <a:moveTo>
                  <a:pt x="1410" y="217"/>
                </a:moveTo>
                <a:cubicBezTo>
                  <a:pt x="1411" y="217"/>
                  <a:pt x="1411" y="217"/>
                  <a:pt x="1411" y="217"/>
                </a:cubicBezTo>
                <a:cubicBezTo>
                  <a:pt x="1410" y="217"/>
                  <a:pt x="1410" y="217"/>
                  <a:pt x="1410" y="217"/>
                </a:cubicBezTo>
                <a:close/>
                <a:moveTo>
                  <a:pt x="1390" y="259"/>
                </a:moveTo>
                <a:cubicBezTo>
                  <a:pt x="1392" y="259"/>
                  <a:pt x="1392" y="260"/>
                  <a:pt x="1393" y="260"/>
                </a:cubicBezTo>
                <a:cubicBezTo>
                  <a:pt x="1392" y="260"/>
                  <a:pt x="1392" y="259"/>
                  <a:pt x="1390" y="259"/>
                </a:cubicBezTo>
                <a:close/>
                <a:moveTo>
                  <a:pt x="2181" y="608"/>
                </a:moveTo>
                <a:cubicBezTo>
                  <a:pt x="2182" y="608"/>
                  <a:pt x="2181" y="607"/>
                  <a:pt x="2182" y="605"/>
                </a:cubicBezTo>
                <a:cubicBezTo>
                  <a:pt x="2181" y="607"/>
                  <a:pt x="2182" y="608"/>
                  <a:pt x="2181" y="608"/>
                </a:cubicBezTo>
                <a:close/>
                <a:moveTo>
                  <a:pt x="2194" y="620"/>
                </a:moveTo>
                <a:cubicBezTo>
                  <a:pt x="2194" y="620"/>
                  <a:pt x="2194" y="620"/>
                  <a:pt x="2194" y="620"/>
                </a:cubicBezTo>
                <a:cubicBezTo>
                  <a:pt x="2194" y="618"/>
                  <a:pt x="2189" y="611"/>
                  <a:pt x="2188" y="609"/>
                </a:cubicBezTo>
                <a:cubicBezTo>
                  <a:pt x="2189" y="611"/>
                  <a:pt x="2194" y="618"/>
                  <a:pt x="2194" y="620"/>
                </a:cubicBezTo>
                <a:close/>
                <a:moveTo>
                  <a:pt x="2192" y="619"/>
                </a:moveTo>
                <a:cubicBezTo>
                  <a:pt x="2192" y="619"/>
                  <a:pt x="2193" y="619"/>
                  <a:pt x="2193" y="619"/>
                </a:cubicBezTo>
                <a:cubicBezTo>
                  <a:pt x="2193" y="619"/>
                  <a:pt x="2192" y="619"/>
                  <a:pt x="2192" y="619"/>
                </a:cubicBezTo>
                <a:close/>
                <a:moveTo>
                  <a:pt x="2190" y="630"/>
                </a:moveTo>
                <a:cubicBezTo>
                  <a:pt x="2190" y="631"/>
                  <a:pt x="2190" y="631"/>
                  <a:pt x="2190" y="631"/>
                </a:cubicBezTo>
                <a:cubicBezTo>
                  <a:pt x="2191" y="632"/>
                  <a:pt x="2191" y="632"/>
                  <a:pt x="2191" y="632"/>
                </a:cubicBezTo>
                <a:cubicBezTo>
                  <a:pt x="2190" y="631"/>
                  <a:pt x="2190" y="630"/>
                  <a:pt x="2190" y="630"/>
                </a:cubicBezTo>
                <a:close/>
                <a:moveTo>
                  <a:pt x="2212" y="700"/>
                </a:moveTo>
                <a:cubicBezTo>
                  <a:pt x="2212" y="700"/>
                  <a:pt x="2212" y="700"/>
                  <a:pt x="2212" y="700"/>
                </a:cubicBezTo>
                <a:cubicBezTo>
                  <a:pt x="2212" y="698"/>
                  <a:pt x="2212" y="698"/>
                  <a:pt x="2212" y="698"/>
                </a:cubicBezTo>
                <a:cubicBezTo>
                  <a:pt x="2213" y="696"/>
                  <a:pt x="2212" y="700"/>
                  <a:pt x="2212" y="700"/>
                </a:cubicBezTo>
                <a:close/>
                <a:moveTo>
                  <a:pt x="2205" y="746"/>
                </a:moveTo>
                <a:cubicBezTo>
                  <a:pt x="2204" y="746"/>
                  <a:pt x="2203" y="747"/>
                  <a:pt x="2203" y="745"/>
                </a:cubicBezTo>
                <a:cubicBezTo>
                  <a:pt x="2203" y="744"/>
                  <a:pt x="2204" y="742"/>
                  <a:pt x="2204" y="742"/>
                </a:cubicBezTo>
                <a:cubicBezTo>
                  <a:pt x="2206" y="743"/>
                  <a:pt x="2206" y="744"/>
                  <a:pt x="2205" y="746"/>
                </a:cubicBezTo>
                <a:close/>
                <a:moveTo>
                  <a:pt x="2215" y="695"/>
                </a:moveTo>
                <a:cubicBezTo>
                  <a:pt x="2213" y="696"/>
                  <a:pt x="2213" y="696"/>
                  <a:pt x="2213" y="696"/>
                </a:cubicBezTo>
                <a:cubicBezTo>
                  <a:pt x="2213" y="695"/>
                  <a:pt x="2213" y="695"/>
                  <a:pt x="2213" y="695"/>
                </a:cubicBezTo>
                <a:cubicBezTo>
                  <a:pt x="2214" y="693"/>
                  <a:pt x="2214" y="693"/>
                  <a:pt x="2214" y="693"/>
                </a:cubicBezTo>
                <a:lnTo>
                  <a:pt x="2215" y="695"/>
                </a:lnTo>
                <a:close/>
                <a:moveTo>
                  <a:pt x="2208" y="715"/>
                </a:moveTo>
                <a:cubicBezTo>
                  <a:pt x="2207" y="718"/>
                  <a:pt x="2208" y="720"/>
                  <a:pt x="2208" y="723"/>
                </a:cubicBezTo>
                <a:cubicBezTo>
                  <a:pt x="2208" y="723"/>
                  <a:pt x="2207" y="727"/>
                  <a:pt x="2207" y="728"/>
                </a:cubicBezTo>
                <a:cubicBezTo>
                  <a:pt x="2207" y="731"/>
                  <a:pt x="2208" y="730"/>
                  <a:pt x="2206" y="733"/>
                </a:cubicBezTo>
                <a:cubicBezTo>
                  <a:pt x="2207" y="735"/>
                  <a:pt x="2207" y="735"/>
                  <a:pt x="2207" y="735"/>
                </a:cubicBezTo>
                <a:cubicBezTo>
                  <a:pt x="2205" y="738"/>
                  <a:pt x="2205" y="738"/>
                  <a:pt x="2205" y="738"/>
                </a:cubicBezTo>
                <a:cubicBezTo>
                  <a:pt x="2205" y="737"/>
                  <a:pt x="2205" y="737"/>
                  <a:pt x="2205" y="737"/>
                </a:cubicBezTo>
                <a:cubicBezTo>
                  <a:pt x="2205" y="732"/>
                  <a:pt x="2205" y="732"/>
                  <a:pt x="2205" y="732"/>
                </a:cubicBezTo>
                <a:cubicBezTo>
                  <a:pt x="2204" y="731"/>
                  <a:pt x="2204" y="731"/>
                  <a:pt x="2204" y="731"/>
                </a:cubicBezTo>
                <a:cubicBezTo>
                  <a:pt x="2204" y="729"/>
                  <a:pt x="2204" y="729"/>
                  <a:pt x="2204" y="729"/>
                </a:cubicBezTo>
                <a:cubicBezTo>
                  <a:pt x="2204" y="728"/>
                  <a:pt x="2206" y="726"/>
                  <a:pt x="2206" y="726"/>
                </a:cubicBezTo>
                <a:cubicBezTo>
                  <a:pt x="2206" y="724"/>
                  <a:pt x="2206" y="724"/>
                  <a:pt x="2206" y="724"/>
                </a:cubicBezTo>
                <a:cubicBezTo>
                  <a:pt x="2206" y="723"/>
                  <a:pt x="2205" y="721"/>
                  <a:pt x="2205" y="721"/>
                </a:cubicBezTo>
                <a:cubicBezTo>
                  <a:pt x="2206" y="718"/>
                  <a:pt x="2206" y="718"/>
                  <a:pt x="2206" y="718"/>
                </a:cubicBezTo>
                <a:cubicBezTo>
                  <a:pt x="2207" y="714"/>
                  <a:pt x="2207" y="717"/>
                  <a:pt x="2207" y="713"/>
                </a:cubicBezTo>
                <a:lnTo>
                  <a:pt x="2208" y="715"/>
                </a:lnTo>
                <a:close/>
                <a:moveTo>
                  <a:pt x="2260" y="747"/>
                </a:moveTo>
                <a:cubicBezTo>
                  <a:pt x="2261" y="747"/>
                  <a:pt x="2262" y="748"/>
                  <a:pt x="2261" y="748"/>
                </a:cubicBezTo>
                <a:cubicBezTo>
                  <a:pt x="2260" y="748"/>
                  <a:pt x="2259" y="749"/>
                  <a:pt x="2259" y="748"/>
                </a:cubicBezTo>
                <a:cubicBezTo>
                  <a:pt x="2259" y="747"/>
                  <a:pt x="2259" y="747"/>
                  <a:pt x="2260" y="747"/>
                </a:cubicBezTo>
                <a:close/>
                <a:moveTo>
                  <a:pt x="2259" y="739"/>
                </a:moveTo>
                <a:cubicBezTo>
                  <a:pt x="2260" y="739"/>
                  <a:pt x="2260" y="739"/>
                  <a:pt x="2260" y="739"/>
                </a:cubicBezTo>
                <a:cubicBezTo>
                  <a:pt x="2260" y="739"/>
                  <a:pt x="2260" y="739"/>
                  <a:pt x="2260" y="739"/>
                </a:cubicBezTo>
                <a:cubicBezTo>
                  <a:pt x="2260" y="739"/>
                  <a:pt x="2259" y="741"/>
                  <a:pt x="2259" y="739"/>
                </a:cubicBezTo>
                <a:close/>
                <a:moveTo>
                  <a:pt x="2258" y="743"/>
                </a:moveTo>
                <a:cubicBezTo>
                  <a:pt x="2260" y="742"/>
                  <a:pt x="2260" y="742"/>
                  <a:pt x="2260" y="742"/>
                </a:cubicBezTo>
                <a:cubicBezTo>
                  <a:pt x="2260" y="743"/>
                  <a:pt x="2260" y="744"/>
                  <a:pt x="2261" y="744"/>
                </a:cubicBezTo>
                <a:cubicBezTo>
                  <a:pt x="2260" y="746"/>
                  <a:pt x="2260" y="746"/>
                  <a:pt x="2260" y="746"/>
                </a:cubicBezTo>
                <a:cubicBezTo>
                  <a:pt x="2260" y="745"/>
                  <a:pt x="2260" y="744"/>
                  <a:pt x="2259" y="743"/>
                </a:cubicBezTo>
                <a:cubicBezTo>
                  <a:pt x="2258" y="744"/>
                  <a:pt x="2258" y="744"/>
                  <a:pt x="2258" y="744"/>
                </a:cubicBezTo>
                <a:lnTo>
                  <a:pt x="2258" y="743"/>
                </a:lnTo>
                <a:close/>
                <a:moveTo>
                  <a:pt x="2259" y="730"/>
                </a:moveTo>
                <a:cubicBezTo>
                  <a:pt x="2260" y="731"/>
                  <a:pt x="2260" y="731"/>
                  <a:pt x="2260" y="732"/>
                </a:cubicBezTo>
                <a:cubicBezTo>
                  <a:pt x="2259" y="732"/>
                  <a:pt x="2259" y="732"/>
                  <a:pt x="2259" y="732"/>
                </a:cubicBezTo>
                <a:cubicBezTo>
                  <a:pt x="2259" y="731"/>
                  <a:pt x="2259" y="731"/>
                  <a:pt x="2259" y="731"/>
                </a:cubicBezTo>
                <a:lnTo>
                  <a:pt x="2259" y="730"/>
                </a:lnTo>
                <a:close/>
                <a:moveTo>
                  <a:pt x="2256" y="727"/>
                </a:moveTo>
                <a:cubicBezTo>
                  <a:pt x="2258" y="726"/>
                  <a:pt x="2258" y="726"/>
                  <a:pt x="2258" y="726"/>
                </a:cubicBezTo>
                <a:cubicBezTo>
                  <a:pt x="2259" y="727"/>
                  <a:pt x="2259" y="727"/>
                  <a:pt x="2259" y="727"/>
                </a:cubicBezTo>
                <a:cubicBezTo>
                  <a:pt x="2259" y="730"/>
                  <a:pt x="2258" y="729"/>
                  <a:pt x="2257" y="729"/>
                </a:cubicBezTo>
                <a:cubicBezTo>
                  <a:pt x="2257" y="729"/>
                  <a:pt x="2256" y="727"/>
                  <a:pt x="2256" y="727"/>
                </a:cubicBezTo>
                <a:close/>
                <a:moveTo>
                  <a:pt x="2255" y="707"/>
                </a:moveTo>
                <a:cubicBezTo>
                  <a:pt x="2255" y="708"/>
                  <a:pt x="2257" y="711"/>
                  <a:pt x="2256" y="712"/>
                </a:cubicBezTo>
                <a:cubicBezTo>
                  <a:pt x="2255" y="712"/>
                  <a:pt x="2254" y="710"/>
                  <a:pt x="2254" y="710"/>
                </a:cubicBezTo>
                <a:lnTo>
                  <a:pt x="2255" y="707"/>
                </a:lnTo>
                <a:close/>
                <a:moveTo>
                  <a:pt x="2257" y="749"/>
                </a:moveTo>
                <a:cubicBezTo>
                  <a:pt x="2257" y="748"/>
                  <a:pt x="2257" y="748"/>
                  <a:pt x="2257" y="748"/>
                </a:cubicBezTo>
                <a:cubicBezTo>
                  <a:pt x="2257" y="747"/>
                  <a:pt x="2257" y="747"/>
                  <a:pt x="2257" y="747"/>
                </a:cubicBezTo>
                <a:cubicBezTo>
                  <a:pt x="2257" y="747"/>
                  <a:pt x="2259" y="748"/>
                  <a:pt x="2259" y="748"/>
                </a:cubicBezTo>
                <a:cubicBezTo>
                  <a:pt x="2259" y="749"/>
                  <a:pt x="2258" y="748"/>
                  <a:pt x="2257" y="749"/>
                </a:cubicBezTo>
                <a:close/>
                <a:moveTo>
                  <a:pt x="2259" y="754"/>
                </a:moveTo>
                <a:cubicBezTo>
                  <a:pt x="2260" y="753"/>
                  <a:pt x="2261" y="752"/>
                  <a:pt x="2260" y="751"/>
                </a:cubicBezTo>
                <a:cubicBezTo>
                  <a:pt x="2260" y="751"/>
                  <a:pt x="2260" y="751"/>
                  <a:pt x="2260" y="751"/>
                </a:cubicBezTo>
                <a:cubicBezTo>
                  <a:pt x="2260" y="750"/>
                  <a:pt x="2260" y="750"/>
                  <a:pt x="2260" y="750"/>
                </a:cubicBezTo>
                <a:cubicBezTo>
                  <a:pt x="2262" y="753"/>
                  <a:pt x="2261" y="751"/>
                  <a:pt x="2261" y="753"/>
                </a:cubicBezTo>
                <a:cubicBezTo>
                  <a:pt x="2261" y="754"/>
                  <a:pt x="2261" y="755"/>
                  <a:pt x="2260" y="755"/>
                </a:cubicBezTo>
                <a:cubicBezTo>
                  <a:pt x="2259" y="756"/>
                  <a:pt x="2257" y="756"/>
                  <a:pt x="2259" y="754"/>
                </a:cubicBezTo>
                <a:close/>
                <a:moveTo>
                  <a:pt x="2257" y="743"/>
                </a:moveTo>
                <a:cubicBezTo>
                  <a:pt x="2256" y="743"/>
                  <a:pt x="2256" y="743"/>
                  <a:pt x="2256" y="743"/>
                </a:cubicBezTo>
                <a:cubicBezTo>
                  <a:pt x="2257" y="742"/>
                  <a:pt x="2257" y="742"/>
                  <a:pt x="2257" y="742"/>
                </a:cubicBezTo>
                <a:lnTo>
                  <a:pt x="2257" y="743"/>
                </a:lnTo>
                <a:close/>
                <a:moveTo>
                  <a:pt x="2260" y="721"/>
                </a:moveTo>
                <a:cubicBezTo>
                  <a:pt x="2260" y="723"/>
                  <a:pt x="2260" y="723"/>
                  <a:pt x="2260" y="723"/>
                </a:cubicBezTo>
                <a:cubicBezTo>
                  <a:pt x="2260" y="724"/>
                  <a:pt x="2262" y="725"/>
                  <a:pt x="2260" y="727"/>
                </a:cubicBezTo>
                <a:cubicBezTo>
                  <a:pt x="2258" y="726"/>
                  <a:pt x="2259" y="726"/>
                  <a:pt x="2258" y="724"/>
                </a:cubicBezTo>
                <a:cubicBezTo>
                  <a:pt x="2258" y="722"/>
                  <a:pt x="2258" y="722"/>
                  <a:pt x="2258" y="722"/>
                </a:cubicBezTo>
                <a:lnTo>
                  <a:pt x="2260" y="721"/>
                </a:lnTo>
                <a:close/>
                <a:moveTo>
                  <a:pt x="2257" y="735"/>
                </a:moveTo>
                <a:cubicBezTo>
                  <a:pt x="2256" y="732"/>
                  <a:pt x="2256" y="732"/>
                  <a:pt x="2256" y="732"/>
                </a:cubicBezTo>
                <a:cubicBezTo>
                  <a:pt x="2257" y="732"/>
                  <a:pt x="2256" y="731"/>
                  <a:pt x="2258" y="733"/>
                </a:cubicBezTo>
                <a:cubicBezTo>
                  <a:pt x="2259" y="734"/>
                  <a:pt x="2258" y="734"/>
                  <a:pt x="2257" y="735"/>
                </a:cubicBezTo>
                <a:close/>
                <a:moveTo>
                  <a:pt x="2259" y="717"/>
                </a:moveTo>
                <a:cubicBezTo>
                  <a:pt x="2260" y="718"/>
                  <a:pt x="2260" y="718"/>
                  <a:pt x="2260" y="718"/>
                </a:cubicBezTo>
                <a:cubicBezTo>
                  <a:pt x="2259" y="721"/>
                  <a:pt x="2259" y="721"/>
                  <a:pt x="2259" y="721"/>
                </a:cubicBezTo>
                <a:cubicBezTo>
                  <a:pt x="2258" y="719"/>
                  <a:pt x="2258" y="719"/>
                  <a:pt x="2258" y="719"/>
                </a:cubicBezTo>
                <a:cubicBezTo>
                  <a:pt x="2257" y="717"/>
                  <a:pt x="2257" y="717"/>
                  <a:pt x="2259" y="717"/>
                </a:cubicBezTo>
                <a:close/>
                <a:moveTo>
                  <a:pt x="2255" y="725"/>
                </a:moveTo>
                <a:cubicBezTo>
                  <a:pt x="2253" y="725"/>
                  <a:pt x="2253" y="725"/>
                  <a:pt x="2253" y="725"/>
                </a:cubicBezTo>
                <a:cubicBezTo>
                  <a:pt x="2255" y="724"/>
                  <a:pt x="2255" y="724"/>
                  <a:pt x="2255" y="724"/>
                </a:cubicBezTo>
                <a:lnTo>
                  <a:pt x="2255" y="725"/>
                </a:lnTo>
                <a:close/>
                <a:moveTo>
                  <a:pt x="2253" y="732"/>
                </a:moveTo>
                <a:cubicBezTo>
                  <a:pt x="2255" y="731"/>
                  <a:pt x="2255" y="731"/>
                  <a:pt x="2255" y="731"/>
                </a:cubicBezTo>
                <a:cubicBezTo>
                  <a:pt x="2254" y="733"/>
                  <a:pt x="2254" y="733"/>
                  <a:pt x="2254" y="733"/>
                </a:cubicBezTo>
                <a:lnTo>
                  <a:pt x="2253" y="732"/>
                </a:lnTo>
                <a:close/>
                <a:moveTo>
                  <a:pt x="2256" y="722"/>
                </a:moveTo>
                <a:cubicBezTo>
                  <a:pt x="2255" y="723"/>
                  <a:pt x="2255" y="723"/>
                  <a:pt x="2255" y="723"/>
                </a:cubicBezTo>
                <a:cubicBezTo>
                  <a:pt x="2254" y="722"/>
                  <a:pt x="2254" y="722"/>
                  <a:pt x="2254" y="722"/>
                </a:cubicBezTo>
                <a:lnTo>
                  <a:pt x="2256" y="722"/>
                </a:lnTo>
                <a:close/>
                <a:moveTo>
                  <a:pt x="2103" y="784"/>
                </a:moveTo>
                <a:cubicBezTo>
                  <a:pt x="2103" y="786"/>
                  <a:pt x="2103" y="787"/>
                  <a:pt x="2102" y="787"/>
                </a:cubicBezTo>
                <a:cubicBezTo>
                  <a:pt x="2102" y="789"/>
                  <a:pt x="2103" y="791"/>
                  <a:pt x="2100" y="794"/>
                </a:cubicBezTo>
                <a:cubicBezTo>
                  <a:pt x="2100" y="795"/>
                  <a:pt x="2099" y="794"/>
                  <a:pt x="2098" y="795"/>
                </a:cubicBezTo>
                <a:cubicBezTo>
                  <a:pt x="2096" y="795"/>
                  <a:pt x="2097" y="795"/>
                  <a:pt x="2096" y="795"/>
                </a:cubicBezTo>
                <a:cubicBezTo>
                  <a:pt x="2095" y="795"/>
                  <a:pt x="2095" y="796"/>
                  <a:pt x="2094" y="797"/>
                </a:cubicBezTo>
                <a:cubicBezTo>
                  <a:pt x="2093" y="797"/>
                  <a:pt x="2093" y="797"/>
                  <a:pt x="2092" y="797"/>
                </a:cubicBezTo>
                <a:cubicBezTo>
                  <a:pt x="2091" y="797"/>
                  <a:pt x="2088" y="796"/>
                  <a:pt x="2087" y="796"/>
                </a:cubicBezTo>
                <a:cubicBezTo>
                  <a:pt x="2087" y="796"/>
                  <a:pt x="2087" y="794"/>
                  <a:pt x="2086" y="793"/>
                </a:cubicBezTo>
                <a:cubicBezTo>
                  <a:pt x="2086" y="792"/>
                  <a:pt x="2085" y="792"/>
                  <a:pt x="2085" y="791"/>
                </a:cubicBezTo>
                <a:cubicBezTo>
                  <a:pt x="2085" y="790"/>
                  <a:pt x="2085" y="788"/>
                  <a:pt x="2084" y="787"/>
                </a:cubicBezTo>
                <a:cubicBezTo>
                  <a:pt x="2083" y="784"/>
                  <a:pt x="2083" y="787"/>
                  <a:pt x="2083" y="779"/>
                </a:cubicBezTo>
                <a:cubicBezTo>
                  <a:pt x="2083" y="778"/>
                  <a:pt x="2082" y="773"/>
                  <a:pt x="2082" y="773"/>
                </a:cubicBezTo>
                <a:cubicBezTo>
                  <a:pt x="2082" y="773"/>
                  <a:pt x="2083" y="772"/>
                  <a:pt x="2084" y="771"/>
                </a:cubicBezTo>
                <a:cubicBezTo>
                  <a:pt x="2084" y="770"/>
                  <a:pt x="2083" y="769"/>
                  <a:pt x="2083" y="769"/>
                </a:cubicBezTo>
                <a:cubicBezTo>
                  <a:pt x="2082" y="764"/>
                  <a:pt x="2085" y="766"/>
                  <a:pt x="2084" y="765"/>
                </a:cubicBezTo>
                <a:cubicBezTo>
                  <a:pt x="2084" y="764"/>
                  <a:pt x="2081" y="764"/>
                  <a:pt x="2081" y="763"/>
                </a:cubicBezTo>
                <a:cubicBezTo>
                  <a:pt x="2081" y="762"/>
                  <a:pt x="2083" y="764"/>
                  <a:pt x="2084" y="763"/>
                </a:cubicBezTo>
                <a:cubicBezTo>
                  <a:pt x="2086" y="763"/>
                  <a:pt x="2085" y="757"/>
                  <a:pt x="2085" y="757"/>
                </a:cubicBezTo>
                <a:cubicBezTo>
                  <a:pt x="2084" y="756"/>
                  <a:pt x="2083" y="756"/>
                  <a:pt x="2083" y="755"/>
                </a:cubicBezTo>
                <a:cubicBezTo>
                  <a:pt x="2083" y="754"/>
                  <a:pt x="2084" y="754"/>
                  <a:pt x="2085" y="755"/>
                </a:cubicBezTo>
                <a:cubicBezTo>
                  <a:pt x="2087" y="755"/>
                  <a:pt x="2086" y="757"/>
                  <a:pt x="2087" y="758"/>
                </a:cubicBezTo>
                <a:cubicBezTo>
                  <a:pt x="2087" y="758"/>
                  <a:pt x="2088" y="757"/>
                  <a:pt x="2089" y="758"/>
                </a:cubicBezTo>
                <a:cubicBezTo>
                  <a:pt x="2090" y="759"/>
                  <a:pt x="2092" y="761"/>
                  <a:pt x="2092" y="763"/>
                </a:cubicBezTo>
                <a:cubicBezTo>
                  <a:pt x="2092" y="764"/>
                  <a:pt x="2094" y="765"/>
                  <a:pt x="2094" y="765"/>
                </a:cubicBezTo>
                <a:cubicBezTo>
                  <a:pt x="2096" y="769"/>
                  <a:pt x="2096" y="769"/>
                  <a:pt x="2096" y="769"/>
                </a:cubicBezTo>
                <a:cubicBezTo>
                  <a:pt x="2098" y="770"/>
                  <a:pt x="2098" y="770"/>
                  <a:pt x="2099" y="772"/>
                </a:cubicBezTo>
                <a:cubicBezTo>
                  <a:pt x="2099" y="774"/>
                  <a:pt x="2099" y="774"/>
                  <a:pt x="2100" y="775"/>
                </a:cubicBezTo>
                <a:cubicBezTo>
                  <a:pt x="2100" y="776"/>
                  <a:pt x="2100" y="776"/>
                  <a:pt x="2101" y="778"/>
                </a:cubicBezTo>
                <a:cubicBezTo>
                  <a:pt x="2104" y="783"/>
                  <a:pt x="2103" y="780"/>
                  <a:pt x="2103" y="784"/>
                </a:cubicBezTo>
                <a:close/>
                <a:moveTo>
                  <a:pt x="2449" y="782"/>
                </a:moveTo>
                <a:cubicBezTo>
                  <a:pt x="2450" y="785"/>
                  <a:pt x="2447" y="784"/>
                  <a:pt x="2446" y="784"/>
                </a:cubicBezTo>
                <a:cubicBezTo>
                  <a:pt x="2446" y="783"/>
                  <a:pt x="2446" y="783"/>
                  <a:pt x="2449" y="782"/>
                </a:cubicBezTo>
                <a:close/>
                <a:moveTo>
                  <a:pt x="2369" y="836"/>
                </a:moveTo>
                <a:cubicBezTo>
                  <a:pt x="2371" y="835"/>
                  <a:pt x="2371" y="835"/>
                  <a:pt x="2371" y="835"/>
                </a:cubicBezTo>
                <a:cubicBezTo>
                  <a:pt x="2375" y="836"/>
                  <a:pt x="2372" y="837"/>
                  <a:pt x="2369" y="836"/>
                </a:cubicBezTo>
                <a:close/>
                <a:moveTo>
                  <a:pt x="2450" y="778"/>
                </a:moveTo>
                <a:cubicBezTo>
                  <a:pt x="2448" y="779"/>
                  <a:pt x="2448" y="779"/>
                  <a:pt x="2448" y="779"/>
                </a:cubicBezTo>
                <a:cubicBezTo>
                  <a:pt x="2447" y="777"/>
                  <a:pt x="2448" y="777"/>
                  <a:pt x="2450" y="776"/>
                </a:cubicBezTo>
                <a:lnTo>
                  <a:pt x="2450" y="778"/>
                </a:lnTo>
                <a:close/>
                <a:moveTo>
                  <a:pt x="2359" y="812"/>
                </a:moveTo>
                <a:cubicBezTo>
                  <a:pt x="2357" y="812"/>
                  <a:pt x="2357" y="812"/>
                  <a:pt x="2357" y="812"/>
                </a:cubicBezTo>
                <a:cubicBezTo>
                  <a:pt x="2359" y="810"/>
                  <a:pt x="2359" y="810"/>
                  <a:pt x="2359" y="810"/>
                </a:cubicBezTo>
                <a:lnTo>
                  <a:pt x="2359" y="812"/>
                </a:lnTo>
                <a:close/>
                <a:moveTo>
                  <a:pt x="2472" y="810"/>
                </a:moveTo>
                <a:cubicBezTo>
                  <a:pt x="2472" y="812"/>
                  <a:pt x="2472" y="813"/>
                  <a:pt x="2469" y="813"/>
                </a:cubicBezTo>
                <a:cubicBezTo>
                  <a:pt x="2468" y="811"/>
                  <a:pt x="2471" y="810"/>
                  <a:pt x="2472" y="810"/>
                </a:cubicBezTo>
                <a:close/>
                <a:moveTo>
                  <a:pt x="2467" y="814"/>
                </a:moveTo>
                <a:cubicBezTo>
                  <a:pt x="2466" y="814"/>
                  <a:pt x="2466" y="814"/>
                  <a:pt x="2466" y="814"/>
                </a:cubicBezTo>
                <a:cubicBezTo>
                  <a:pt x="2466" y="814"/>
                  <a:pt x="2465" y="812"/>
                  <a:pt x="2466" y="812"/>
                </a:cubicBezTo>
                <a:cubicBezTo>
                  <a:pt x="2467" y="812"/>
                  <a:pt x="2468" y="811"/>
                  <a:pt x="2467" y="814"/>
                </a:cubicBezTo>
                <a:close/>
                <a:moveTo>
                  <a:pt x="2467" y="818"/>
                </a:moveTo>
                <a:cubicBezTo>
                  <a:pt x="2463" y="818"/>
                  <a:pt x="2464" y="818"/>
                  <a:pt x="2464" y="817"/>
                </a:cubicBezTo>
                <a:cubicBezTo>
                  <a:pt x="2465" y="816"/>
                  <a:pt x="2465" y="816"/>
                  <a:pt x="2465" y="816"/>
                </a:cubicBezTo>
                <a:cubicBezTo>
                  <a:pt x="2467" y="816"/>
                  <a:pt x="2468" y="816"/>
                  <a:pt x="2467" y="818"/>
                </a:cubicBezTo>
                <a:close/>
                <a:moveTo>
                  <a:pt x="2367" y="832"/>
                </a:moveTo>
                <a:cubicBezTo>
                  <a:pt x="2367" y="832"/>
                  <a:pt x="2368" y="830"/>
                  <a:pt x="2368" y="830"/>
                </a:cubicBezTo>
                <a:cubicBezTo>
                  <a:pt x="2369" y="832"/>
                  <a:pt x="2369" y="832"/>
                  <a:pt x="2369" y="832"/>
                </a:cubicBezTo>
                <a:cubicBezTo>
                  <a:pt x="2368" y="832"/>
                  <a:pt x="2367" y="833"/>
                  <a:pt x="2367" y="832"/>
                </a:cubicBezTo>
                <a:close/>
                <a:moveTo>
                  <a:pt x="2456" y="786"/>
                </a:moveTo>
                <a:cubicBezTo>
                  <a:pt x="2457" y="788"/>
                  <a:pt x="2454" y="788"/>
                  <a:pt x="2453" y="788"/>
                </a:cubicBezTo>
                <a:cubicBezTo>
                  <a:pt x="2453" y="788"/>
                  <a:pt x="2452" y="786"/>
                  <a:pt x="2454" y="786"/>
                </a:cubicBezTo>
                <a:cubicBezTo>
                  <a:pt x="2455" y="786"/>
                  <a:pt x="2455" y="786"/>
                  <a:pt x="2456" y="786"/>
                </a:cubicBezTo>
                <a:close/>
                <a:moveTo>
                  <a:pt x="2446" y="774"/>
                </a:moveTo>
                <a:cubicBezTo>
                  <a:pt x="2447" y="776"/>
                  <a:pt x="2446" y="777"/>
                  <a:pt x="2445" y="777"/>
                </a:cubicBezTo>
                <a:cubicBezTo>
                  <a:pt x="2445" y="777"/>
                  <a:pt x="2444" y="776"/>
                  <a:pt x="2444" y="775"/>
                </a:cubicBezTo>
                <a:cubicBezTo>
                  <a:pt x="2444" y="775"/>
                  <a:pt x="2444" y="774"/>
                  <a:pt x="2445" y="774"/>
                </a:cubicBezTo>
                <a:cubicBezTo>
                  <a:pt x="2445" y="774"/>
                  <a:pt x="2446" y="774"/>
                  <a:pt x="2446" y="774"/>
                </a:cubicBezTo>
                <a:close/>
                <a:moveTo>
                  <a:pt x="2449" y="786"/>
                </a:moveTo>
                <a:cubicBezTo>
                  <a:pt x="2450" y="783"/>
                  <a:pt x="2449" y="785"/>
                  <a:pt x="2449" y="783"/>
                </a:cubicBezTo>
                <a:cubicBezTo>
                  <a:pt x="2449" y="783"/>
                  <a:pt x="2450" y="781"/>
                  <a:pt x="2451" y="782"/>
                </a:cubicBezTo>
                <a:cubicBezTo>
                  <a:pt x="2453" y="785"/>
                  <a:pt x="2451" y="785"/>
                  <a:pt x="2449" y="786"/>
                </a:cubicBezTo>
                <a:close/>
                <a:moveTo>
                  <a:pt x="2361" y="822"/>
                </a:moveTo>
                <a:cubicBezTo>
                  <a:pt x="2359" y="820"/>
                  <a:pt x="2359" y="820"/>
                  <a:pt x="2361" y="817"/>
                </a:cubicBezTo>
                <a:cubicBezTo>
                  <a:pt x="2362" y="817"/>
                  <a:pt x="2362" y="817"/>
                  <a:pt x="2362" y="817"/>
                </a:cubicBezTo>
                <a:cubicBezTo>
                  <a:pt x="2363" y="820"/>
                  <a:pt x="2363" y="820"/>
                  <a:pt x="2363" y="820"/>
                </a:cubicBezTo>
                <a:cubicBezTo>
                  <a:pt x="2364" y="821"/>
                  <a:pt x="2365" y="822"/>
                  <a:pt x="2361" y="822"/>
                </a:cubicBezTo>
                <a:close/>
                <a:moveTo>
                  <a:pt x="2561" y="902"/>
                </a:moveTo>
                <a:cubicBezTo>
                  <a:pt x="2561" y="903"/>
                  <a:pt x="2564" y="904"/>
                  <a:pt x="2562" y="904"/>
                </a:cubicBezTo>
                <a:cubicBezTo>
                  <a:pt x="2561" y="905"/>
                  <a:pt x="2561" y="904"/>
                  <a:pt x="2560" y="904"/>
                </a:cubicBezTo>
                <a:cubicBezTo>
                  <a:pt x="2560" y="904"/>
                  <a:pt x="2560" y="903"/>
                  <a:pt x="2558" y="904"/>
                </a:cubicBezTo>
                <a:cubicBezTo>
                  <a:pt x="2556" y="905"/>
                  <a:pt x="2554" y="906"/>
                  <a:pt x="2554" y="906"/>
                </a:cubicBezTo>
                <a:cubicBezTo>
                  <a:pt x="2554" y="906"/>
                  <a:pt x="2551" y="906"/>
                  <a:pt x="2553" y="905"/>
                </a:cubicBezTo>
                <a:cubicBezTo>
                  <a:pt x="2556" y="904"/>
                  <a:pt x="2557" y="903"/>
                  <a:pt x="2558" y="903"/>
                </a:cubicBezTo>
                <a:cubicBezTo>
                  <a:pt x="2559" y="903"/>
                  <a:pt x="2561" y="903"/>
                  <a:pt x="2560" y="902"/>
                </a:cubicBezTo>
                <a:cubicBezTo>
                  <a:pt x="2558" y="900"/>
                  <a:pt x="2558" y="901"/>
                  <a:pt x="2557" y="899"/>
                </a:cubicBezTo>
                <a:cubicBezTo>
                  <a:pt x="2556" y="898"/>
                  <a:pt x="2556" y="897"/>
                  <a:pt x="2556" y="896"/>
                </a:cubicBezTo>
                <a:cubicBezTo>
                  <a:pt x="2557" y="896"/>
                  <a:pt x="2558" y="895"/>
                  <a:pt x="2559" y="895"/>
                </a:cubicBezTo>
                <a:cubicBezTo>
                  <a:pt x="2559" y="895"/>
                  <a:pt x="2559" y="896"/>
                  <a:pt x="2560" y="896"/>
                </a:cubicBezTo>
                <a:cubicBezTo>
                  <a:pt x="2561" y="896"/>
                  <a:pt x="2566" y="896"/>
                  <a:pt x="2566" y="896"/>
                </a:cubicBezTo>
                <a:cubicBezTo>
                  <a:pt x="2566" y="896"/>
                  <a:pt x="2566" y="896"/>
                  <a:pt x="2566" y="896"/>
                </a:cubicBezTo>
                <a:cubicBezTo>
                  <a:pt x="2567" y="896"/>
                  <a:pt x="2569" y="895"/>
                  <a:pt x="2569" y="895"/>
                </a:cubicBezTo>
                <a:cubicBezTo>
                  <a:pt x="2570" y="895"/>
                  <a:pt x="2573" y="897"/>
                  <a:pt x="2573" y="897"/>
                </a:cubicBezTo>
                <a:cubicBezTo>
                  <a:pt x="2574" y="898"/>
                  <a:pt x="2578" y="897"/>
                  <a:pt x="2578" y="897"/>
                </a:cubicBezTo>
                <a:cubicBezTo>
                  <a:pt x="2579" y="898"/>
                  <a:pt x="2579" y="898"/>
                  <a:pt x="2579" y="899"/>
                </a:cubicBezTo>
                <a:cubicBezTo>
                  <a:pt x="2581" y="901"/>
                  <a:pt x="2582" y="902"/>
                  <a:pt x="2583" y="903"/>
                </a:cubicBezTo>
                <a:cubicBezTo>
                  <a:pt x="2584" y="904"/>
                  <a:pt x="2584" y="905"/>
                  <a:pt x="2583" y="906"/>
                </a:cubicBezTo>
                <a:cubicBezTo>
                  <a:pt x="2582" y="906"/>
                  <a:pt x="2582" y="906"/>
                  <a:pt x="2581" y="906"/>
                </a:cubicBezTo>
                <a:cubicBezTo>
                  <a:pt x="2581" y="906"/>
                  <a:pt x="2578" y="905"/>
                  <a:pt x="2578" y="904"/>
                </a:cubicBezTo>
                <a:cubicBezTo>
                  <a:pt x="2578" y="904"/>
                  <a:pt x="2577" y="903"/>
                  <a:pt x="2576" y="903"/>
                </a:cubicBezTo>
                <a:cubicBezTo>
                  <a:pt x="2575" y="903"/>
                  <a:pt x="2576" y="902"/>
                  <a:pt x="2574" y="902"/>
                </a:cubicBezTo>
                <a:cubicBezTo>
                  <a:pt x="2571" y="901"/>
                  <a:pt x="2572" y="901"/>
                  <a:pt x="2569" y="901"/>
                </a:cubicBezTo>
                <a:cubicBezTo>
                  <a:pt x="2570" y="903"/>
                  <a:pt x="2570" y="903"/>
                  <a:pt x="2567" y="902"/>
                </a:cubicBezTo>
                <a:cubicBezTo>
                  <a:pt x="2564" y="901"/>
                  <a:pt x="2563" y="899"/>
                  <a:pt x="2562" y="900"/>
                </a:cubicBezTo>
                <a:cubicBezTo>
                  <a:pt x="2562" y="900"/>
                  <a:pt x="2561" y="900"/>
                  <a:pt x="2561" y="902"/>
                </a:cubicBezTo>
                <a:close/>
                <a:moveTo>
                  <a:pt x="2510" y="877"/>
                </a:moveTo>
                <a:cubicBezTo>
                  <a:pt x="2510" y="878"/>
                  <a:pt x="2509" y="880"/>
                  <a:pt x="2508" y="880"/>
                </a:cubicBezTo>
                <a:cubicBezTo>
                  <a:pt x="2506" y="881"/>
                  <a:pt x="2506" y="881"/>
                  <a:pt x="2505" y="881"/>
                </a:cubicBezTo>
                <a:cubicBezTo>
                  <a:pt x="2505" y="881"/>
                  <a:pt x="2504" y="878"/>
                  <a:pt x="2506" y="878"/>
                </a:cubicBezTo>
                <a:cubicBezTo>
                  <a:pt x="2507" y="877"/>
                  <a:pt x="2510" y="876"/>
                  <a:pt x="2510" y="877"/>
                </a:cubicBezTo>
                <a:close/>
                <a:moveTo>
                  <a:pt x="2502" y="899"/>
                </a:moveTo>
                <a:cubicBezTo>
                  <a:pt x="2502" y="899"/>
                  <a:pt x="2504" y="900"/>
                  <a:pt x="2505" y="900"/>
                </a:cubicBezTo>
                <a:cubicBezTo>
                  <a:pt x="2506" y="900"/>
                  <a:pt x="2507" y="901"/>
                  <a:pt x="2507" y="902"/>
                </a:cubicBezTo>
                <a:cubicBezTo>
                  <a:pt x="2508" y="902"/>
                  <a:pt x="2508" y="903"/>
                  <a:pt x="2508" y="904"/>
                </a:cubicBezTo>
                <a:cubicBezTo>
                  <a:pt x="2508" y="906"/>
                  <a:pt x="2507" y="904"/>
                  <a:pt x="2507" y="904"/>
                </a:cubicBezTo>
                <a:cubicBezTo>
                  <a:pt x="2506" y="902"/>
                  <a:pt x="2506" y="902"/>
                  <a:pt x="2506" y="902"/>
                </a:cubicBezTo>
                <a:cubicBezTo>
                  <a:pt x="2504" y="901"/>
                  <a:pt x="2503" y="902"/>
                  <a:pt x="2502" y="899"/>
                </a:cubicBezTo>
                <a:close/>
                <a:moveTo>
                  <a:pt x="2506" y="911"/>
                </a:moveTo>
                <a:cubicBezTo>
                  <a:pt x="2506" y="910"/>
                  <a:pt x="2505" y="909"/>
                  <a:pt x="2505" y="909"/>
                </a:cubicBezTo>
                <a:cubicBezTo>
                  <a:pt x="2505" y="908"/>
                  <a:pt x="2508" y="908"/>
                  <a:pt x="2509" y="908"/>
                </a:cubicBezTo>
                <a:cubicBezTo>
                  <a:pt x="2510" y="910"/>
                  <a:pt x="2507" y="911"/>
                  <a:pt x="2506" y="911"/>
                </a:cubicBezTo>
                <a:cubicBezTo>
                  <a:pt x="2506" y="911"/>
                  <a:pt x="2506" y="911"/>
                  <a:pt x="2506" y="911"/>
                </a:cubicBezTo>
                <a:cubicBezTo>
                  <a:pt x="2506" y="911"/>
                  <a:pt x="2506" y="911"/>
                  <a:pt x="2506" y="911"/>
                </a:cubicBezTo>
                <a:close/>
                <a:moveTo>
                  <a:pt x="2440" y="960"/>
                </a:moveTo>
                <a:cubicBezTo>
                  <a:pt x="2440" y="961"/>
                  <a:pt x="2441" y="961"/>
                  <a:pt x="2440" y="961"/>
                </a:cubicBezTo>
                <a:cubicBezTo>
                  <a:pt x="2439" y="962"/>
                  <a:pt x="2438" y="963"/>
                  <a:pt x="2437" y="962"/>
                </a:cubicBezTo>
                <a:cubicBezTo>
                  <a:pt x="2435" y="962"/>
                  <a:pt x="2435" y="962"/>
                  <a:pt x="2434" y="961"/>
                </a:cubicBezTo>
                <a:cubicBezTo>
                  <a:pt x="2434" y="961"/>
                  <a:pt x="2436" y="961"/>
                  <a:pt x="2436" y="960"/>
                </a:cubicBezTo>
                <a:cubicBezTo>
                  <a:pt x="2436" y="957"/>
                  <a:pt x="2435" y="957"/>
                  <a:pt x="2437" y="955"/>
                </a:cubicBezTo>
                <a:cubicBezTo>
                  <a:pt x="2437" y="955"/>
                  <a:pt x="2439" y="954"/>
                  <a:pt x="2440" y="954"/>
                </a:cubicBezTo>
                <a:cubicBezTo>
                  <a:pt x="2441" y="955"/>
                  <a:pt x="2442" y="955"/>
                  <a:pt x="2442" y="955"/>
                </a:cubicBezTo>
                <a:cubicBezTo>
                  <a:pt x="2442" y="955"/>
                  <a:pt x="2442" y="956"/>
                  <a:pt x="2442" y="956"/>
                </a:cubicBezTo>
                <a:cubicBezTo>
                  <a:pt x="2442" y="958"/>
                  <a:pt x="2441" y="959"/>
                  <a:pt x="2440" y="960"/>
                </a:cubicBezTo>
                <a:close/>
                <a:moveTo>
                  <a:pt x="2519" y="928"/>
                </a:moveTo>
                <a:cubicBezTo>
                  <a:pt x="2518" y="929"/>
                  <a:pt x="2517" y="929"/>
                  <a:pt x="2517" y="928"/>
                </a:cubicBezTo>
                <a:cubicBezTo>
                  <a:pt x="2518" y="926"/>
                  <a:pt x="2519" y="927"/>
                  <a:pt x="2519" y="928"/>
                </a:cubicBezTo>
                <a:close/>
                <a:moveTo>
                  <a:pt x="2494" y="922"/>
                </a:moveTo>
                <a:cubicBezTo>
                  <a:pt x="2494" y="919"/>
                  <a:pt x="2497" y="921"/>
                  <a:pt x="2496" y="924"/>
                </a:cubicBezTo>
                <a:cubicBezTo>
                  <a:pt x="2496" y="925"/>
                  <a:pt x="2494" y="926"/>
                  <a:pt x="2494" y="922"/>
                </a:cubicBezTo>
                <a:close/>
                <a:moveTo>
                  <a:pt x="2511" y="880"/>
                </a:moveTo>
                <a:cubicBezTo>
                  <a:pt x="2510" y="880"/>
                  <a:pt x="2510" y="880"/>
                  <a:pt x="2510" y="879"/>
                </a:cubicBezTo>
                <a:cubicBezTo>
                  <a:pt x="2510" y="879"/>
                  <a:pt x="2510" y="878"/>
                  <a:pt x="2511" y="878"/>
                </a:cubicBezTo>
                <a:cubicBezTo>
                  <a:pt x="2513" y="879"/>
                  <a:pt x="2512" y="879"/>
                  <a:pt x="2511" y="880"/>
                </a:cubicBezTo>
                <a:close/>
                <a:moveTo>
                  <a:pt x="2622" y="931"/>
                </a:moveTo>
                <a:cubicBezTo>
                  <a:pt x="2622" y="930"/>
                  <a:pt x="2622" y="930"/>
                  <a:pt x="2622" y="930"/>
                </a:cubicBezTo>
                <a:cubicBezTo>
                  <a:pt x="2622" y="929"/>
                  <a:pt x="2620" y="925"/>
                  <a:pt x="2620" y="924"/>
                </a:cubicBezTo>
                <a:cubicBezTo>
                  <a:pt x="2622" y="920"/>
                  <a:pt x="2622" y="925"/>
                  <a:pt x="2623" y="929"/>
                </a:cubicBezTo>
                <a:cubicBezTo>
                  <a:pt x="2624" y="932"/>
                  <a:pt x="2623" y="931"/>
                  <a:pt x="2623" y="933"/>
                </a:cubicBezTo>
                <a:cubicBezTo>
                  <a:pt x="2622" y="934"/>
                  <a:pt x="2622" y="932"/>
                  <a:pt x="2622" y="931"/>
                </a:cubicBezTo>
                <a:close/>
                <a:moveTo>
                  <a:pt x="2562" y="860"/>
                </a:moveTo>
                <a:cubicBezTo>
                  <a:pt x="2561" y="860"/>
                  <a:pt x="2559" y="859"/>
                  <a:pt x="2558" y="859"/>
                </a:cubicBezTo>
                <a:cubicBezTo>
                  <a:pt x="2558" y="859"/>
                  <a:pt x="2558" y="858"/>
                  <a:pt x="2557" y="859"/>
                </a:cubicBezTo>
                <a:cubicBezTo>
                  <a:pt x="2556" y="859"/>
                  <a:pt x="2556" y="858"/>
                  <a:pt x="2556" y="859"/>
                </a:cubicBezTo>
                <a:cubicBezTo>
                  <a:pt x="2555" y="860"/>
                  <a:pt x="2555" y="860"/>
                  <a:pt x="2555" y="862"/>
                </a:cubicBezTo>
                <a:cubicBezTo>
                  <a:pt x="2555" y="864"/>
                  <a:pt x="2555" y="866"/>
                  <a:pt x="2556" y="867"/>
                </a:cubicBezTo>
                <a:cubicBezTo>
                  <a:pt x="2556" y="868"/>
                  <a:pt x="2557" y="869"/>
                  <a:pt x="2558" y="870"/>
                </a:cubicBezTo>
                <a:cubicBezTo>
                  <a:pt x="2559" y="871"/>
                  <a:pt x="2558" y="873"/>
                  <a:pt x="2560" y="873"/>
                </a:cubicBezTo>
                <a:cubicBezTo>
                  <a:pt x="2561" y="874"/>
                  <a:pt x="2563" y="874"/>
                  <a:pt x="2562" y="874"/>
                </a:cubicBezTo>
                <a:cubicBezTo>
                  <a:pt x="2561" y="874"/>
                  <a:pt x="2558" y="874"/>
                  <a:pt x="2558" y="874"/>
                </a:cubicBezTo>
                <a:cubicBezTo>
                  <a:pt x="2557" y="873"/>
                  <a:pt x="2556" y="872"/>
                  <a:pt x="2555" y="872"/>
                </a:cubicBezTo>
                <a:cubicBezTo>
                  <a:pt x="2555" y="871"/>
                  <a:pt x="2554" y="867"/>
                  <a:pt x="2553" y="866"/>
                </a:cubicBezTo>
                <a:cubicBezTo>
                  <a:pt x="2553" y="866"/>
                  <a:pt x="2553" y="867"/>
                  <a:pt x="2553" y="865"/>
                </a:cubicBezTo>
                <a:cubicBezTo>
                  <a:pt x="2553" y="864"/>
                  <a:pt x="2553" y="863"/>
                  <a:pt x="2553" y="862"/>
                </a:cubicBezTo>
                <a:cubicBezTo>
                  <a:pt x="2553" y="861"/>
                  <a:pt x="2550" y="855"/>
                  <a:pt x="2552" y="855"/>
                </a:cubicBezTo>
                <a:cubicBezTo>
                  <a:pt x="2553" y="855"/>
                  <a:pt x="2553" y="855"/>
                  <a:pt x="2554" y="855"/>
                </a:cubicBezTo>
                <a:cubicBezTo>
                  <a:pt x="2558" y="854"/>
                  <a:pt x="2556" y="850"/>
                  <a:pt x="2557" y="850"/>
                </a:cubicBezTo>
                <a:cubicBezTo>
                  <a:pt x="2558" y="850"/>
                  <a:pt x="2559" y="847"/>
                  <a:pt x="2561" y="847"/>
                </a:cubicBezTo>
                <a:cubicBezTo>
                  <a:pt x="2562" y="847"/>
                  <a:pt x="2563" y="847"/>
                  <a:pt x="2563" y="848"/>
                </a:cubicBezTo>
                <a:cubicBezTo>
                  <a:pt x="2563" y="850"/>
                  <a:pt x="2565" y="850"/>
                  <a:pt x="2563" y="852"/>
                </a:cubicBezTo>
                <a:cubicBezTo>
                  <a:pt x="2561" y="853"/>
                  <a:pt x="2561" y="852"/>
                  <a:pt x="2559" y="854"/>
                </a:cubicBezTo>
                <a:cubicBezTo>
                  <a:pt x="2558" y="855"/>
                  <a:pt x="2557" y="856"/>
                  <a:pt x="2558" y="856"/>
                </a:cubicBezTo>
                <a:cubicBezTo>
                  <a:pt x="2559" y="857"/>
                  <a:pt x="2558" y="857"/>
                  <a:pt x="2560" y="857"/>
                </a:cubicBezTo>
                <a:cubicBezTo>
                  <a:pt x="2563" y="857"/>
                  <a:pt x="2565" y="857"/>
                  <a:pt x="2564" y="858"/>
                </a:cubicBezTo>
                <a:cubicBezTo>
                  <a:pt x="2564" y="859"/>
                  <a:pt x="2563" y="860"/>
                  <a:pt x="2562" y="860"/>
                </a:cubicBezTo>
                <a:close/>
                <a:moveTo>
                  <a:pt x="2601" y="928"/>
                </a:moveTo>
                <a:cubicBezTo>
                  <a:pt x="2601" y="927"/>
                  <a:pt x="2601" y="927"/>
                  <a:pt x="2601" y="925"/>
                </a:cubicBezTo>
                <a:cubicBezTo>
                  <a:pt x="2600" y="923"/>
                  <a:pt x="2599" y="923"/>
                  <a:pt x="2603" y="923"/>
                </a:cubicBezTo>
                <a:cubicBezTo>
                  <a:pt x="2604" y="923"/>
                  <a:pt x="2604" y="921"/>
                  <a:pt x="2604" y="923"/>
                </a:cubicBezTo>
                <a:cubicBezTo>
                  <a:pt x="2604" y="925"/>
                  <a:pt x="2606" y="925"/>
                  <a:pt x="2602" y="929"/>
                </a:cubicBezTo>
                <a:cubicBezTo>
                  <a:pt x="2601" y="931"/>
                  <a:pt x="2601" y="931"/>
                  <a:pt x="2599" y="929"/>
                </a:cubicBezTo>
                <a:cubicBezTo>
                  <a:pt x="2599" y="929"/>
                  <a:pt x="2599" y="927"/>
                  <a:pt x="2600" y="927"/>
                </a:cubicBezTo>
                <a:cubicBezTo>
                  <a:pt x="2600" y="927"/>
                  <a:pt x="2600" y="926"/>
                  <a:pt x="2600" y="927"/>
                </a:cubicBezTo>
                <a:cubicBezTo>
                  <a:pt x="2601" y="928"/>
                  <a:pt x="2601" y="929"/>
                  <a:pt x="2601" y="928"/>
                </a:cubicBezTo>
                <a:close/>
                <a:moveTo>
                  <a:pt x="2458" y="961"/>
                </a:moveTo>
                <a:cubicBezTo>
                  <a:pt x="2458" y="960"/>
                  <a:pt x="2457" y="960"/>
                  <a:pt x="2457" y="958"/>
                </a:cubicBezTo>
                <a:cubicBezTo>
                  <a:pt x="2457" y="957"/>
                  <a:pt x="2456" y="957"/>
                  <a:pt x="2455" y="957"/>
                </a:cubicBezTo>
                <a:cubicBezTo>
                  <a:pt x="2455" y="957"/>
                  <a:pt x="2453" y="955"/>
                  <a:pt x="2453" y="955"/>
                </a:cubicBezTo>
                <a:cubicBezTo>
                  <a:pt x="2453" y="954"/>
                  <a:pt x="2453" y="954"/>
                  <a:pt x="2454" y="954"/>
                </a:cubicBezTo>
                <a:cubicBezTo>
                  <a:pt x="2455" y="953"/>
                  <a:pt x="2455" y="954"/>
                  <a:pt x="2456" y="954"/>
                </a:cubicBezTo>
                <a:cubicBezTo>
                  <a:pt x="2456" y="955"/>
                  <a:pt x="2456" y="955"/>
                  <a:pt x="2456" y="955"/>
                </a:cubicBezTo>
                <a:cubicBezTo>
                  <a:pt x="2456" y="955"/>
                  <a:pt x="2457" y="956"/>
                  <a:pt x="2457" y="956"/>
                </a:cubicBezTo>
                <a:cubicBezTo>
                  <a:pt x="2458" y="956"/>
                  <a:pt x="2458" y="955"/>
                  <a:pt x="2458" y="955"/>
                </a:cubicBezTo>
                <a:cubicBezTo>
                  <a:pt x="2458" y="955"/>
                  <a:pt x="2459" y="955"/>
                  <a:pt x="2460" y="955"/>
                </a:cubicBezTo>
                <a:cubicBezTo>
                  <a:pt x="2461" y="955"/>
                  <a:pt x="2460" y="955"/>
                  <a:pt x="2461" y="956"/>
                </a:cubicBezTo>
                <a:cubicBezTo>
                  <a:pt x="2461" y="957"/>
                  <a:pt x="2462" y="956"/>
                  <a:pt x="2463" y="955"/>
                </a:cubicBezTo>
                <a:cubicBezTo>
                  <a:pt x="2464" y="955"/>
                  <a:pt x="2463" y="956"/>
                  <a:pt x="2464" y="956"/>
                </a:cubicBezTo>
                <a:cubicBezTo>
                  <a:pt x="2465" y="957"/>
                  <a:pt x="2464" y="957"/>
                  <a:pt x="2464" y="957"/>
                </a:cubicBezTo>
                <a:cubicBezTo>
                  <a:pt x="2464" y="958"/>
                  <a:pt x="2464" y="958"/>
                  <a:pt x="2464" y="958"/>
                </a:cubicBezTo>
                <a:cubicBezTo>
                  <a:pt x="2466" y="961"/>
                  <a:pt x="2466" y="961"/>
                  <a:pt x="2465" y="961"/>
                </a:cubicBezTo>
                <a:cubicBezTo>
                  <a:pt x="2462" y="961"/>
                  <a:pt x="2463" y="960"/>
                  <a:pt x="2462" y="960"/>
                </a:cubicBezTo>
                <a:cubicBezTo>
                  <a:pt x="2461" y="960"/>
                  <a:pt x="2461" y="962"/>
                  <a:pt x="2460" y="962"/>
                </a:cubicBezTo>
                <a:cubicBezTo>
                  <a:pt x="2457" y="962"/>
                  <a:pt x="2458" y="962"/>
                  <a:pt x="2458" y="961"/>
                </a:cubicBezTo>
                <a:close/>
                <a:moveTo>
                  <a:pt x="2490" y="962"/>
                </a:moveTo>
                <a:cubicBezTo>
                  <a:pt x="2489" y="962"/>
                  <a:pt x="2489" y="961"/>
                  <a:pt x="2488" y="961"/>
                </a:cubicBezTo>
                <a:cubicBezTo>
                  <a:pt x="2487" y="962"/>
                  <a:pt x="2487" y="964"/>
                  <a:pt x="2484" y="963"/>
                </a:cubicBezTo>
                <a:cubicBezTo>
                  <a:pt x="2482" y="962"/>
                  <a:pt x="2484" y="961"/>
                  <a:pt x="2481" y="962"/>
                </a:cubicBezTo>
                <a:cubicBezTo>
                  <a:pt x="2474" y="961"/>
                  <a:pt x="2474" y="961"/>
                  <a:pt x="2474" y="961"/>
                </a:cubicBezTo>
                <a:cubicBezTo>
                  <a:pt x="2474" y="961"/>
                  <a:pt x="2474" y="962"/>
                  <a:pt x="2474" y="961"/>
                </a:cubicBezTo>
                <a:cubicBezTo>
                  <a:pt x="2472" y="960"/>
                  <a:pt x="2473" y="959"/>
                  <a:pt x="2474" y="957"/>
                </a:cubicBezTo>
                <a:cubicBezTo>
                  <a:pt x="2474" y="957"/>
                  <a:pt x="2476" y="956"/>
                  <a:pt x="2477" y="956"/>
                </a:cubicBezTo>
                <a:cubicBezTo>
                  <a:pt x="2477" y="955"/>
                  <a:pt x="2480" y="955"/>
                  <a:pt x="2480" y="955"/>
                </a:cubicBezTo>
                <a:cubicBezTo>
                  <a:pt x="2481" y="956"/>
                  <a:pt x="2482" y="956"/>
                  <a:pt x="2483" y="956"/>
                </a:cubicBezTo>
                <a:cubicBezTo>
                  <a:pt x="2487" y="958"/>
                  <a:pt x="2487" y="958"/>
                  <a:pt x="2487" y="958"/>
                </a:cubicBezTo>
                <a:cubicBezTo>
                  <a:pt x="2489" y="958"/>
                  <a:pt x="2490" y="958"/>
                  <a:pt x="2492" y="957"/>
                </a:cubicBezTo>
                <a:cubicBezTo>
                  <a:pt x="2493" y="958"/>
                  <a:pt x="2494" y="958"/>
                  <a:pt x="2496" y="958"/>
                </a:cubicBezTo>
                <a:cubicBezTo>
                  <a:pt x="2497" y="958"/>
                  <a:pt x="2499" y="958"/>
                  <a:pt x="2499" y="958"/>
                </a:cubicBezTo>
                <a:cubicBezTo>
                  <a:pt x="2499" y="957"/>
                  <a:pt x="2500" y="957"/>
                  <a:pt x="2500" y="956"/>
                </a:cubicBezTo>
                <a:cubicBezTo>
                  <a:pt x="2501" y="956"/>
                  <a:pt x="2502" y="956"/>
                  <a:pt x="2503" y="955"/>
                </a:cubicBezTo>
                <a:cubicBezTo>
                  <a:pt x="2503" y="955"/>
                  <a:pt x="2503" y="954"/>
                  <a:pt x="2503" y="953"/>
                </a:cubicBezTo>
                <a:cubicBezTo>
                  <a:pt x="2503" y="958"/>
                  <a:pt x="2503" y="956"/>
                  <a:pt x="2501" y="959"/>
                </a:cubicBezTo>
                <a:cubicBezTo>
                  <a:pt x="2501" y="959"/>
                  <a:pt x="2502" y="961"/>
                  <a:pt x="2501" y="961"/>
                </a:cubicBezTo>
                <a:cubicBezTo>
                  <a:pt x="2500" y="961"/>
                  <a:pt x="2497" y="961"/>
                  <a:pt x="2497" y="961"/>
                </a:cubicBezTo>
                <a:cubicBezTo>
                  <a:pt x="2496" y="961"/>
                  <a:pt x="2495" y="960"/>
                  <a:pt x="2493" y="961"/>
                </a:cubicBezTo>
                <a:cubicBezTo>
                  <a:pt x="2492" y="961"/>
                  <a:pt x="2493" y="962"/>
                  <a:pt x="2490" y="962"/>
                </a:cubicBezTo>
                <a:close/>
                <a:moveTo>
                  <a:pt x="2492" y="981"/>
                </a:moveTo>
                <a:cubicBezTo>
                  <a:pt x="2491" y="981"/>
                  <a:pt x="2491" y="982"/>
                  <a:pt x="2489" y="982"/>
                </a:cubicBezTo>
                <a:cubicBezTo>
                  <a:pt x="2489" y="981"/>
                  <a:pt x="2489" y="980"/>
                  <a:pt x="2489" y="980"/>
                </a:cubicBezTo>
                <a:cubicBezTo>
                  <a:pt x="2492" y="978"/>
                  <a:pt x="2491" y="979"/>
                  <a:pt x="2492" y="981"/>
                </a:cubicBezTo>
                <a:close/>
                <a:moveTo>
                  <a:pt x="2562" y="944"/>
                </a:moveTo>
                <a:cubicBezTo>
                  <a:pt x="2562" y="944"/>
                  <a:pt x="2561" y="945"/>
                  <a:pt x="2560" y="945"/>
                </a:cubicBezTo>
                <a:cubicBezTo>
                  <a:pt x="2560" y="945"/>
                  <a:pt x="2559" y="944"/>
                  <a:pt x="2558" y="944"/>
                </a:cubicBezTo>
                <a:cubicBezTo>
                  <a:pt x="2559" y="940"/>
                  <a:pt x="2562" y="942"/>
                  <a:pt x="2562" y="944"/>
                </a:cubicBezTo>
                <a:close/>
                <a:moveTo>
                  <a:pt x="2619" y="939"/>
                </a:moveTo>
                <a:cubicBezTo>
                  <a:pt x="2619" y="937"/>
                  <a:pt x="2619" y="937"/>
                  <a:pt x="2621" y="937"/>
                </a:cubicBezTo>
                <a:cubicBezTo>
                  <a:pt x="2621" y="936"/>
                  <a:pt x="2623" y="937"/>
                  <a:pt x="2621" y="938"/>
                </a:cubicBezTo>
                <a:cubicBezTo>
                  <a:pt x="2620" y="939"/>
                  <a:pt x="2620" y="940"/>
                  <a:pt x="2619" y="939"/>
                </a:cubicBezTo>
                <a:close/>
                <a:moveTo>
                  <a:pt x="2616" y="934"/>
                </a:moveTo>
                <a:cubicBezTo>
                  <a:pt x="2617" y="936"/>
                  <a:pt x="2618" y="936"/>
                  <a:pt x="2617" y="937"/>
                </a:cubicBezTo>
                <a:cubicBezTo>
                  <a:pt x="2616" y="939"/>
                  <a:pt x="2615" y="939"/>
                  <a:pt x="2614" y="940"/>
                </a:cubicBezTo>
                <a:cubicBezTo>
                  <a:pt x="2614" y="939"/>
                  <a:pt x="2614" y="939"/>
                  <a:pt x="2614" y="938"/>
                </a:cubicBezTo>
                <a:cubicBezTo>
                  <a:pt x="2614" y="938"/>
                  <a:pt x="2613" y="932"/>
                  <a:pt x="2614" y="932"/>
                </a:cubicBezTo>
                <a:cubicBezTo>
                  <a:pt x="2614" y="932"/>
                  <a:pt x="2616" y="933"/>
                  <a:pt x="2616" y="934"/>
                </a:cubicBezTo>
                <a:close/>
                <a:moveTo>
                  <a:pt x="2519" y="931"/>
                </a:moveTo>
                <a:cubicBezTo>
                  <a:pt x="2522" y="929"/>
                  <a:pt x="2520" y="933"/>
                  <a:pt x="2519" y="932"/>
                </a:cubicBezTo>
                <a:cubicBezTo>
                  <a:pt x="2519" y="931"/>
                  <a:pt x="2519" y="931"/>
                  <a:pt x="2519" y="931"/>
                </a:cubicBezTo>
                <a:close/>
                <a:moveTo>
                  <a:pt x="2563" y="848"/>
                </a:moveTo>
                <a:cubicBezTo>
                  <a:pt x="2563" y="847"/>
                  <a:pt x="2563" y="847"/>
                  <a:pt x="2563" y="846"/>
                </a:cubicBezTo>
                <a:cubicBezTo>
                  <a:pt x="2563" y="846"/>
                  <a:pt x="2564" y="846"/>
                  <a:pt x="2565" y="846"/>
                </a:cubicBezTo>
                <a:cubicBezTo>
                  <a:pt x="2566" y="848"/>
                  <a:pt x="2566" y="848"/>
                  <a:pt x="2563" y="848"/>
                </a:cubicBezTo>
                <a:close/>
                <a:moveTo>
                  <a:pt x="2457" y="946"/>
                </a:moveTo>
                <a:cubicBezTo>
                  <a:pt x="2457" y="946"/>
                  <a:pt x="2459" y="950"/>
                  <a:pt x="2456" y="947"/>
                </a:cubicBezTo>
                <a:cubicBezTo>
                  <a:pt x="2450" y="943"/>
                  <a:pt x="2453" y="944"/>
                  <a:pt x="2457" y="946"/>
                </a:cubicBezTo>
                <a:close/>
                <a:moveTo>
                  <a:pt x="2567" y="862"/>
                </a:moveTo>
                <a:cubicBezTo>
                  <a:pt x="2565" y="862"/>
                  <a:pt x="2564" y="862"/>
                  <a:pt x="2564" y="862"/>
                </a:cubicBezTo>
                <a:cubicBezTo>
                  <a:pt x="2564" y="862"/>
                  <a:pt x="2564" y="859"/>
                  <a:pt x="2565" y="860"/>
                </a:cubicBezTo>
                <a:cubicBezTo>
                  <a:pt x="2566" y="860"/>
                  <a:pt x="2568" y="862"/>
                  <a:pt x="2567" y="862"/>
                </a:cubicBezTo>
                <a:close/>
                <a:moveTo>
                  <a:pt x="2548" y="869"/>
                </a:moveTo>
                <a:cubicBezTo>
                  <a:pt x="2547" y="867"/>
                  <a:pt x="2547" y="867"/>
                  <a:pt x="2551" y="867"/>
                </a:cubicBezTo>
                <a:cubicBezTo>
                  <a:pt x="2552" y="869"/>
                  <a:pt x="2553" y="872"/>
                  <a:pt x="2553" y="873"/>
                </a:cubicBezTo>
                <a:cubicBezTo>
                  <a:pt x="2552" y="875"/>
                  <a:pt x="2550" y="873"/>
                  <a:pt x="2549" y="872"/>
                </a:cubicBezTo>
                <a:cubicBezTo>
                  <a:pt x="2549" y="871"/>
                  <a:pt x="2549" y="870"/>
                  <a:pt x="2548" y="869"/>
                </a:cubicBezTo>
                <a:close/>
                <a:moveTo>
                  <a:pt x="2552" y="852"/>
                </a:moveTo>
                <a:cubicBezTo>
                  <a:pt x="2552" y="852"/>
                  <a:pt x="2549" y="854"/>
                  <a:pt x="2551" y="853"/>
                </a:cubicBezTo>
                <a:cubicBezTo>
                  <a:pt x="2550" y="850"/>
                  <a:pt x="2550" y="850"/>
                  <a:pt x="2552" y="847"/>
                </a:cubicBezTo>
                <a:cubicBezTo>
                  <a:pt x="2552" y="846"/>
                  <a:pt x="2552" y="846"/>
                  <a:pt x="2552" y="845"/>
                </a:cubicBezTo>
                <a:cubicBezTo>
                  <a:pt x="2552" y="844"/>
                  <a:pt x="2553" y="841"/>
                  <a:pt x="2553" y="841"/>
                </a:cubicBezTo>
                <a:cubicBezTo>
                  <a:pt x="2553" y="840"/>
                  <a:pt x="2554" y="839"/>
                  <a:pt x="2554" y="838"/>
                </a:cubicBezTo>
                <a:cubicBezTo>
                  <a:pt x="2557" y="842"/>
                  <a:pt x="2555" y="841"/>
                  <a:pt x="2555" y="844"/>
                </a:cubicBezTo>
                <a:cubicBezTo>
                  <a:pt x="2555" y="845"/>
                  <a:pt x="2557" y="845"/>
                  <a:pt x="2556" y="848"/>
                </a:cubicBezTo>
                <a:cubicBezTo>
                  <a:pt x="2554" y="852"/>
                  <a:pt x="2555" y="850"/>
                  <a:pt x="2552" y="852"/>
                </a:cubicBezTo>
                <a:close/>
                <a:moveTo>
                  <a:pt x="2559" y="840"/>
                </a:moveTo>
                <a:cubicBezTo>
                  <a:pt x="2556" y="836"/>
                  <a:pt x="2557" y="837"/>
                  <a:pt x="2561" y="834"/>
                </a:cubicBezTo>
                <a:cubicBezTo>
                  <a:pt x="2561" y="836"/>
                  <a:pt x="2562" y="837"/>
                  <a:pt x="2562" y="839"/>
                </a:cubicBezTo>
                <a:cubicBezTo>
                  <a:pt x="2562" y="839"/>
                  <a:pt x="2561" y="839"/>
                  <a:pt x="2560" y="840"/>
                </a:cubicBezTo>
                <a:cubicBezTo>
                  <a:pt x="2559" y="840"/>
                  <a:pt x="2559" y="840"/>
                  <a:pt x="2559" y="840"/>
                </a:cubicBezTo>
                <a:close/>
                <a:moveTo>
                  <a:pt x="2450" y="890"/>
                </a:moveTo>
                <a:cubicBezTo>
                  <a:pt x="2448" y="890"/>
                  <a:pt x="2447" y="891"/>
                  <a:pt x="2448" y="887"/>
                </a:cubicBezTo>
                <a:cubicBezTo>
                  <a:pt x="2449" y="887"/>
                  <a:pt x="2450" y="887"/>
                  <a:pt x="2451" y="888"/>
                </a:cubicBezTo>
                <a:cubicBezTo>
                  <a:pt x="2451" y="888"/>
                  <a:pt x="2452" y="889"/>
                  <a:pt x="2450" y="890"/>
                </a:cubicBezTo>
                <a:close/>
                <a:moveTo>
                  <a:pt x="2517" y="956"/>
                </a:moveTo>
                <a:cubicBezTo>
                  <a:pt x="2517" y="953"/>
                  <a:pt x="2518" y="954"/>
                  <a:pt x="2522" y="955"/>
                </a:cubicBezTo>
                <a:cubicBezTo>
                  <a:pt x="2523" y="955"/>
                  <a:pt x="2524" y="954"/>
                  <a:pt x="2525" y="955"/>
                </a:cubicBezTo>
                <a:cubicBezTo>
                  <a:pt x="2525" y="955"/>
                  <a:pt x="2524" y="956"/>
                  <a:pt x="2524" y="956"/>
                </a:cubicBezTo>
                <a:cubicBezTo>
                  <a:pt x="2522" y="957"/>
                  <a:pt x="2519" y="957"/>
                  <a:pt x="2517" y="958"/>
                </a:cubicBezTo>
                <a:cubicBezTo>
                  <a:pt x="2517" y="958"/>
                  <a:pt x="2517" y="957"/>
                  <a:pt x="2517" y="956"/>
                </a:cubicBezTo>
                <a:close/>
                <a:moveTo>
                  <a:pt x="2453" y="891"/>
                </a:moveTo>
                <a:cubicBezTo>
                  <a:pt x="2455" y="889"/>
                  <a:pt x="2454" y="888"/>
                  <a:pt x="2455" y="888"/>
                </a:cubicBezTo>
                <a:cubicBezTo>
                  <a:pt x="2456" y="888"/>
                  <a:pt x="2457" y="888"/>
                  <a:pt x="2456" y="889"/>
                </a:cubicBezTo>
                <a:cubicBezTo>
                  <a:pt x="2455" y="891"/>
                  <a:pt x="2455" y="891"/>
                  <a:pt x="2453" y="891"/>
                </a:cubicBezTo>
                <a:close/>
                <a:moveTo>
                  <a:pt x="2457" y="941"/>
                </a:moveTo>
                <a:cubicBezTo>
                  <a:pt x="2458" y="941"/>
                  <a:pt x="2460" y="941"/>
                  <a:pt x="2460" y="941"/>
                </a:cubicBezTo>
                <a:cubicBezTo>
                  <a:pt x="2460" y="943"/>
                  <a:pt x="2458" y="943"/>
                  <a:pt x="2457" y="941"/>
                </a:cubicBezTo>
                <a:close/>
                <a:moveTo>
                  <a:pt x="2449" y="948"/>
                </a:moveTo>
                <a:cubicBezTo>
                  <a:pt x="2449" y="947"/>
                  <a:pt x="2450" y="947"/>
                  <a:pt x="2451" y="947"/>
                </a:cubicBezTo>
                <a:cubicBezTo>
                  <a:pt x="2451" y="947"/>
                  <a:pt x="2451" y="948"/>
                  <a:pt x="2451" y="948"/>
                </a:cubicBezTo>
                <a:cubicBezTo>
                  <a:pt x="2450" y="948"/>
                  <a:pt x="2449" y="948"/>
                  <a:pt x="2449" y="948"/>
                </a:cubicBezTo>
                <a:close/>
                <a:moveTo>
                  <a:pt x="2513" y="957"/>
                </a:moveTo>
                <a:cubicBezTo>
                  <a:pt x="2514" y="956"/>
                  <a:pt x="2514" y="954"/>
                  <a:pt x="2516" y="954"/>
                </a:cubicBezTo>
                <a:cubicBezTo>
                  <a:pt x="2516" y="953"/>
                  <a:pt x="2516" y="955"/>
                  <a:pt x="2516" y="956"/>
                </a:cubicBezTo>
                <a:cubicBezTo>
                  <a:pt x="2516" y="956"/>
                  <a:pt x="2517" y="958"/>
                  <a:pt x="2516" y="958"/>
                </a:cubicBezTo>
                <a:cubicBezTo>
                  <a:pt x="2515" y="958"/>
                  <a:pt x="2513" y="957"/>
                  <a:pt x="2513" y="957"/>
                </a:cubicBezTo>
                <a:close/>
                <a:moveTo>
                  <a:pt x="2618" y="938"/>
                </a:moveTo>
                <a:cubicBezTo>
                  <a:pt x="2619" y="938"/>
                  <a:pt x="2619" y="939"/>
                  <a:pt x="2619" y="940"/>
                </a:cubicBezTo>
                <a:cubicBezTo>
                  <a:pt x="2616" y="942"/>
                  <a:pt x="2617" y="940"/>
                  <a:pt x="2618" y="938"/>
                </a:cubicBezTo>
                <a:close/>
                <a:moveTo>
                  <a:pt x="2620" y="935"/>
                </a:moveTo>
                <a:cubicBezTo>
                  <a:pt x="2619" y="935"/>
                  <a:pt x="2618" y="936"/>
                  <a:pt x="2617" y="933"/>
                </a:cubicBezTo>
                <a:cubicBezTo>
                  <a:pt x="2616" y="932"/>
                  <a:pt x="2615" y="930"/>
                  <a:pt x="2615" y="929"/>
                </a:cubicBezTo>
                <a:cubicBezTo>
                  <a:pt x="2615" y="928"/>
                  <a:pt x="2616" y="926"/>
                  <a:pt x="2617" y="926"/>
                </a:cubicBezTo>
                <a:cubicBezTo>
                  <a:pt x="2617" y="926"/>
                  <a:pt x="2618" y="925"/>
                  <a:pt x="2618" y="925"/>
                </a:cubicBezTo>
                <a:cubicBezTo>
                  <a:pt x="2620" y="924"/>
                  <a:pt x="2621" y="929"/>
                  <a:pt x="2620" y="931"/>
                </a:cubicBezTo>
                <a:cubicBezTo>
                  <a:pt x="2620" y="933"/>
                  <a:pt x="2621" y="934"/>
                  <a:pt x="2620" y="935"/>
                </a:cubicBezTo>
                <a:close/>
                <a:moveTo>
                  <a:pt x="2513" y="888"/>
                </a:moveTo>
                <a:cubicBezTo>
                  <a:pt x="2512" y="889"/>
                  <a:pt x="2512" y="888"/>
                  <a:pt x="2512" y="888"/>
                </a:cubicBezTo>
                <a:cubicBezTo>
                  <a:pt x="2512" y="888"/>
                  <a:pt x="2513" y="886"/>
                  <a:pt x="2513" y="887"/>
                </a:cubicBezTo>
                <a:cubicBezTo>
                  <a:pt x="2513" y="887"/>
                  <a:pt x="2514" y="888"/>
                  <a:pt x="2513" y="888"/>
                </a:cubicBezTo>
                <a:close/>
                <a:moveTo>
                  <a:pt x="2522" y="929"/>
                </a:moveTo>
                <a:cubicBezTo>
                  <a:pt x="2521" y="930"/>
                  <a:pt x="2521" y="929"/>
                  <a:pt x="2521" y="929"/>
                </a:cubicBezTo>
                <a:cubicBezTo>
                  <a:pt x="2520" y="928"/>
                  <a:pt x="2520" y="927"/>
                  <a:pt x="2521" y="927"/>
                </a:cubicBezTo>
                <a:cubicBezTo>
                  <a:pt x="2522" y="927"/>
                  <a:pt x="2522" y="928"/>
                  <a:pt x="2522" y="929"/>
                </a:cubicBezTo>
                <a:close/>
                <a:moveTo>
                  <a:pt x="2550" y="856"/>
                </a:moveTo>
                <a:cubicBezTo>
                  <a:pt x="2550" y="857"/>
                  <a:pt x="2549" y="857"/>
                  <a:pt x="2549" y="856"/>
                </a:cubicBezTo>
                <a:cubicBezTo>
                  <a:pt x="2549" y="855"/>
                  <a:pt x="2549" y="854"/>
                  <a:pt x="2550" y="854"/>
                </a:cubicBezTo>
                <a:cubicBezTo>
                  <a:pt x="2551" y="854"/>
                  <a:pt x="2551" y="855"/>
                  <a:pt x="2550" y="856"/>
                </a:cubicBezTo>
                <a:close/>
                <a:moveTo>
                  <a:pt x="2521" y="933"/>
                </a:moveTo>
                <a:cubicBezTo>
                  <a:pt x="2521" y="932"/>
                  <a:pt x="2522" y="931"/>
                  <a:pt x="2522" y="931"/>
                </a:cubicBezTo>
                <a:cubicBezTo>
                  <a:pt x="2525" y="932"/>
                  <a:pt x="2524" y="932"/>
                  <a:pt x="2521" y="933"/>
                </a:cubicBezTo>
                <a:close/>
                <a:moveTo>
                  <a:pt x="2516" y="860"/>
                </a:moveTo>
                <a:cubicBezTo>
                  <a:pt x="2511" y="860"/>
                  <a:pt x="2511" y="859"/>
                  <a:pt x="2508" y="858"/>
                </a:cubicBezTo>
                <a:cubicBezTo>
                  <a:pt x="2505" y="858"/>
                  <a:pt x="2498" y="859"/>
                  <a:pt x="2496" y="859"/>
                </a:cubicBezTo>
                <a:cubicBezTo>
                  <a:pt x="2495" y="858"/>
                  <a:pt x="2496" y="858"/>
                  <a:pt x="2493" y="858"/>
                </a:cubicBezTo>
                <a:cubicBezTo>
                  <a:pt x="2491" y="858"/>
                  <a:pt x="2492" y="858"/>
                  <a:pt x="2491" y="858"/>
                </a:cubicBezTo>
                <a:cubicBezTo>
                  <a:pt x="2489" y="858"/>
                  <a:pt x="2487" y="859"/>
                  <a:pt x="2486" y="859"/>
                </a:cubicBezTo>
                <a:cubicBezTo>
                  <a:pt x="2485" y="859"/>
                  <a:pt x="2485" y="858"/>
                  <a:pt x="2484" y="858"/>
                </a:cubicBezTo>
                <a:cubicBezTo>
                  <a:pt x="2483" y="858"/>
                  <a:pt x="2481" y="859"/>
                  <a:pt x="2481" y="860"/>
                </a:cubicBezTo>
                <a:cubicBezTo>
                  <a:pt x="2479" y="864"/>
                  <a:pt x="2481" y="862"/>
                  <a:pt x="2479" y="867"/>
                </a:cubicBezTo>
                <a:cubicBezTo>
                  <a:pt x="2479" y="867"/>
                  <a:pt x="2480" y="870"/>
                  <a:pt x="2480" y="872"/>
                </a:cubicBezTo>
                <a:cubicBezTo>
                  <a:pt x="2480" y="873"/>
                  <a:pt x="2480" y="871"/>
                  <a:pt x="2484" y="874"/>
                </a:cubicBezTo>
                <a:cubicBezTo>
                  <a:pt x="2484" y="874"/>
                  <a:pt x="2484" y="875"/>
                  <a:pt x="2484" y="877"/>
                </a:cubicBezTo>
                <a:cubicBezTo>
                  <a:pt x="2485" y="879"/>
                  <a:pt x="2485" y="878"/>
                  <a:pt x="2486" y="878"/>
                </a:cubicBezTo>
                <a:cubicBezTo>
                  <a:pt x="2486" y="878"/>
                  <a:pt x="2487" y="879"/>
                  <a:pt x="2488" y="879"/>
                </a:cubicBezTo>
                <a:cubicBezTo>
                  <a:pt x="2489" y="878"/>
                  <a:pt x="2490" y="878"/>
                  <a:pt x="2490" y="878"/>
                </a:cubicBezTo>
                <a:cubicBezTo>
                  <a:pt x="2490" y="877"/>
                  <a:pt x="2491" y="876"/>
                  <a:pt x="2491" y="875"/>
                </a:cubicBezTo>
                <a:cubicBezTo>
                  <a:pt x="2495" y="871"/>
                  <a:pt x="2493" y="872"/>
                  <a:pt x="2496" y="874"/>
                </a:cubicBezTo>
                <a:cubicBezTo>
                  <a:pt x="2498" y="874"/>
                  <a:pt x="2498" y="872"/>
                  <a:pt x="2500" y="872"/>
                </a:cubicBezTo>
                <a:cubicBezTo>
                  <a:pt x="2501" y="871"/>
                  <a:pt x="2504" y="874"/>
                  <a:pt x="2505" y="872"/>
                </a:cubicBezTo>
                <a:cubicBezTo>
                  <a:pt x="2505" y="872"/>
                  <a:pt x="2505" y="871"/>
                  <a:pt x="2504" y="871"/>
                </a:cubicBezTo>
                <a:cubicBezTo>
                  <a:pt x="2506" y="871"/>
                  <a:pt x="2507" y="870"/>
                  <a:pt x="2509" y="870"/>
                </a:cubicBezTo>
                <a:cubicBezTo>
                  <a:pt x="2511" y="870"/>
                  <a:pt x="2510" y="870"/>
                  <a:pt x="2511" y="870"/>
                </a:cubicBezTo>
                <a:cubicBezTo>
                  <a:pt x="2512" y="871"/>
                  <a:pt x="2512" y="875"/>
                  <a:pt x="2510" y="875"/>
                </a:cubicBezTo>
                <a:cubicBezTo>
                  <a:pt x="2509" y="876"/>
                  <a:pt x="2508" y="874"/>
                  <a:pt x="2508" y="874"/>
                </a:cubicBezTo>
                <a:cubicBezTo>
                  <a:pt x="2505" y="875"/>
                  <a:pt x="2505" y="873"/>
                  <a:pt x="2504" y="876"/>
                </a:cubicBezTo>
                <a:cubicBezTo>
                  <a:pt x="2503" y="877"/>
                  <a:pt x="2502" y="878"/>
                  <a:pt x="2500" y="880"/>
                </a:cubicBezTo>
                <a:cubicBezTo>
                  <a:pt x="2500" y="880"/>
                  <a:pt x="2500" y="881"/>
                  <a:pt x="2499" y="881"/>
                </a:cubicBezTo>
                <a:cubicBezTo>
                  <a:pt x="2498" y="882"/>
                  <a:pt x="2497" y="881"/>
                  <a:pt x="2496" y="882"/>
                </a:cubicBezTo>
                <a:cubicBezTo>
                  <a:pt x="2496" y="882"/>
                  <a:pt x="2494" y="885"/>
                  <a:pt x="2493" y="885"/>
                </a:cubicBezTo>
                <a:cubicBezTo>
                  <a:pt x="2492" y="885"/>
                  <a:pt x="2493" y="883"/>
                  <a:pt x="2491" y="884"/>
                </a:cubicBezTo>
                <a:cubicBezTo>
                  <a:pt x="2490" y="885"/>
                  <a:pt x="2491" y="885"/>
                  <a:pt x="2491" y="886"/>
                </a:cubicBezTo>
                <a:cubicBezTo>
                  <a:pt x="2492" y="888"/>
                  <a:pt x="2492" y="887"/>
                  <a:pt x="2494" y="888"/>
                </a:cubicBezTo>
                <a:cubicBezTo>
                  <a:pt x="2495" y="888"/>
                  <a:pt x="2495" y="890"/>
                  <a:pt x="2495" y="890"/>
                </a:cubicBezTo>
                <a:cubicBezTo>
                  <a:pt x="2495" y="892"/>
                  <a:pt x="2500" y="897"/>
                  <a:pt x="2500" y="899"/>
                </a:cubicBezTo>
                <a:cubicBezTo>
                  <a:pt x="2500" y="901"/>
                  <a:pt x="2499" y="900"/>
                  <a:pt x="2499" y="900"/>
                </a:cubicBezTo>
                <a:cubicBezTo>
                  <a:pt x="2499" y="904"/>
                  <a:pt x="2499" y="904"/>
                  <a:pt x="2499" y="904"/>
                </a:cubicBezTo>
                <a:cubicBezTo>
                  <a:pt x="2499" y="905"/>
                  <a:pt x="2501" y="907"/>
                  <a:pt x="2501" y="908"/>
                </a:cubicBezTo>
                <a:cubicBezTo>
                  <a:pt x="2502" y="909"/>
                  <a:pt x="2504" y="909"/>
                  <a:pt x="2505" y="910"/>
                </a:cubicBezTo>
                <a:cubicBezTo>
                  <a:pt x="2505" y="911"/>
                  <a:pt x="2505" y="912"/>
                  <a:pt x="2504" y="913"/>
                </a:cubicBezTo>
                <a:cubicBezTo>
                  <a:pt x="2503" y="914"/>
                  <a:pt x="2502" y="913"/>
                  <a:pt x="2501" y="913"/>
                </a:cubicBezTo>
                <a:cubicBezTo>
                  <a:pt x="2501" y="913"/>
                  <a:pt x="2501" y="913"/>
                  <a:pt x="2501" y="913"/>
                </a:cubicBezTo>
                <a:cubicBezTo>
                  <a:pt x="2501" y="912"/>
                  <a:pt x="2501" y="914"/>
                  <a:pt x="2501" y="914"/>
                </a:cubicBezTo>
                <a:cubicBezTo>
                  <a:pt x="2501" y="914"/>
                  <a:pt x="2499" y="914"/>
                  <a:pt x="2497" y="914"/>
                </a:cubicBezTo>
                <a:cubicBezTo>
                  <a:pt x="2494" y="914"/>
                  <a:pt x="2497" y="915"/>
                  <a:pt x="2497" y="916"/>
                </a:cubicBezTo>
                <a:cubicBezTo>
                  <a:pt x="2497" y="918"/>
                  <a:pt x="2495" y="919"/>
                  <a:pt x="2495" y="919"/>
                </a:cubicBezTo>
                <a:cubicBezTo>
                  <a:pt x="2495" y="919"/>
                  <a:pt x="2492" y="918"/>
                  <a:pt x="2491" y="917"/>
                </a:cubicBezTo>
                <a:cubicBezTo>
                  <a:pt x="2490" y="916"/>
                  <a:pt x="2491" y="916"/>
                  <a:pt x="2491" y="914"/>
                </a:cubicBezTo>
                <a:cubicBezTo>
                  <a:pt x="2491" y="912"/>
                  <a:pt x="2491" y="913"/>
                  <a:pt x="2491" y="911"/>
                </a:cubicBezTo>
                <a:cubicBezTo>
                  <a:pt x="2491" y="910"/>
                  <a:pt x="2491" y="911"/>
                  <a:pt x="2493" y="910"/>
                </a:cubicBezTo>
                <a:cubicBezTo>
                  <a:pt x="2494" y="909"/>
                  <a:pt x="2491" y="909"/>
                  <a:pt x="2491" y="909"/>
                </a:cubicBezTo>
                <a:cubicBezTo>
                  <a:pt x="2491" y="908"/>
                  <a:pt x="2487" y="905"/>
                  <a:pt x="2485" y="903"/>
                </a:cubicBezTo>
                <a:cubicBezTo>
                  <a:pt x="2482" y="900"/>
                  <a:pt x="2485" y="901"/>
                  <a:pt x="2487" y="900"/>
                </a:cubicBezTo>
                <a:cubicBezTo>
                  <a:pt x="2488" y="899"/>
                  <a:pt x="2488" y="898"/>
                  <a:pt x="2488" y="898"/>
                </a:cubicBezTo>
                <a:cubicBezTo>
                  <a:pt x="2488" y="898"/>
                  <a:pt x="2488" y="895"/>
                  <a:pt x="2488" y="894"/>
                </a:cubicBezTo>
                <a:cubicBezTo>
                  <a:pt x="2488" y="894"/>
                  <a:pt x="2486" y="893"/>
                  <a:pt x="2486" y="893"/>
                </a:cubicBezTo>
                <a:cubicBezTo>
                  <a:pt x="2485" y="893"/>
                  <a:pt x="2481" y="896"/>
                  <a:pt x="2478" y="896"/>
                </a:cubicBezTo>
                <a:cubicBezTo>
                  <a:pt x="2476" y="896"/>
                  <a:pt x="2479" y="897"/>
                  <a:pt x="2479" y="898"/>
                </a:cubicBezTo>
                <a:cubicBezTo>
                  <a:pt x="2481" y="901"/>
                  <a:pt x="2481" y="902"/>
                  <a:pt x="2481" y="906"/>
                </a:cubicBezTo>
                <a:cubicBezTo>
                  <a:pt x="2481" y="908"/>
                  <a:pt x="2480" y="910"/>
                  <a:pt x="2481" y="913"/>
                </a:cubicBezTo>
                <a:cubicBezTo>
                  <a:pt x="2482" y="917"/>
                  <a:pt x="2482" y="915"/>
                  <a:pt x="2479" y="917"/>
                </a:cubicBezTo>
                <a:cubicBezTo>
                  <a:pt x="2477" y="918"/>
                  <a:pt x="2479" y="918"/>
                  <a:pt x="2480" y="922"/>
                </a:cubicBezTo>
                <a:cubicBezTo>
                  <a:pt x="2482" y="925"/>
                  <a:pt x="2482" y="922"/>
                  <a:pt x="2482" y="923"/>
                </a:cubicBezTo>
                <a:cubicBezTo>
                  <a:pt x="2482" y="925"/>
                  <a:pt x="2482" y="923"/>
                  <a:pt x="2478" y="925"/>
                </a:cubicBezTo>
                <a:cubicBezTo>
                  <a:pt x="2473" y="927"/>
                  <a:pt x="2475" y="925"/>
                  <a:pt x="2473" y="925"/>
                </a:cubicBezTo>
                <a:cubicBezTo>
                  <a:pt x="2468" y="925"/>
                  <a:pt x="2471" y="924"/>
                  <a:pt x="2471" y="923"/>
                </a:cubicBezTo>
                <a:cubicBezTo>
                  <a:pt x="2472" y="920"/>
                  <a:pt x="2472" y="918"/>
                  <a:pt x="2473" y="916"/>
                </a:cubicBezTo>
                <a:cubicBezTo>
                  <a:pt x="2474" y="914"/>
                  <a:pt x="2474" y="913"/>
                  <a:pt x="2474" y="912"/>
                </a:cubicBezTo>
                <a:cubicBezTo>
                  <a:pt x="2475" y="911"/>
                  <a:pt x="2472" y="908"/>
                  <a:pt x="2473" y="906"/>
                </a:cubicBezTo>
                <a:cubicBezTo>
                  <a:pt x="2473" y="905"/>
                  <a:pt x="2473" y="904"/>
                  <a:pt x="2472" y="902"/>
                </a:cubicBezTo>
                <a:cubicBezTo>
                  <a:pt x="2472" y="901"/>
                  <a:pt x="2470" y="902"/>
                  <a:pt x="2469" y="902"/>
                </a:cubicBezTo>
                <a:cubicBezTo>
                  <a:pt x="2466" y="902"/>
                  <a:pt x="2466" y="902"/>
                  <a:pt x="2465" y="899"/>
                </a:cubicBezTo>
                <a:cubicBezTo>
                  <a:pt x="2466" y="899"/>
                  <a:pt x="2470" y="894"/>
                  <a:pt x="2466" y="896"/>
                </a:cubicBezTo>
                <a:cubicBezTo>
                  <a:pt x="2466" y="891"/>
                  <a:pt x="2466" y="893"/>
                  <a:pt x="2468" y="892"/>
                </a:cubicBezTo>
                <a:cubicBezTo>
                  <a:pt x="2469" y="892"/>
                  <a:pt x="2470" y="890"/>
                  <a:pt x="2469" y="889"/>
                </a:cubicBezTo>
                <a:cubicBezTo>
                  <a:pt x="2469" y="888"/>
                  <a:pt x="2471" y="884"/>
                  <a:pt x="2471" y="884"/>
                </a:cubicBezTo>
                <a:cubicBezTo>
                  <a:pt x="2472" y="884"/>
                  <a:pt x="2471" y="881"/>
                  <a:pt x="2471" y="881"/>
                </a:cubicBezTo>
                <a:cubicBezTo>
                  <a:pt x="2471" y="880"/>
                  <a:pt x="2472" y="878"/>
                  <a:pt x="2472" y="878"/>
                </a:cubicBezTo>
                <a:cubicBezTo>
                  <a:pt x="2474" y="872"/>
                  <a:pt x="2474" y="872"/>
                  <a:pt x="2474" y="872"/>
                </a:cubicBezTo>
                <a:cubicBezTo>
                  <a:pt x="2476" y="870"/>
                  <a:pt x="2476" y="870"/>
                  <a:pt x="2476" y="870"/>
                </a:cubicBezTo>
                <a:cubicBezTo>
                  <a:pt x="2477" y="871"/>
                  <a:pt x="2477" y="871"/>
                  <a:pt x="2477" y="871"/>
                </a:cubicBezTo>
                <a:cubicBezTo>
                  <a:pt x="2477" y="871"/>
                  <a:pt x="2476" y="869"/>
                  <a:pt x="2476" y="869"/>
                </a:cubicBezTo>
                <a:cubicBezTo>
                  <a:pt x="2476" y="867"/>
                  <a:pt x="2475" y="866"/>
                  <a:pt x="2476" y="865"/>
                </a:cubicBezTo>
                <a:cubicBezTo>
                  <a:pt x="2478" y="862"/>
                  <a:pt x="2474" y="861"/>
                  <a:pt x="2479" y="857"/>
                </a:cubicBezTo>
                <a:cubicBezTo>
                  <a:pt x="2480" y="854"/>
                  <a:pt x="2480" y="854"/>
                  <a:pt x="2480" y="854"/>
                </a:cubicBezTo>
                <a:cubicBezTo>
                  <a:pt x="2482" y="852"/>
                  <a:pt x="2482" y="852"/>
                  <a:pt x="2482" y="852"/>
                </a:cubicBezTo>
                <a:cubicBezTo>
                  <a:pt x="2486" y="857"/>
                  <a:pt x="2485" y="853"/>
                  <a:pt x="2485" y="852"/>
                </a:cubicBezTo>
                <a:cubicBezTo>
                  <a:pt x="2485" y="852"/>
                  <a:pt x="2486" y="851"/>
                  <a:pt x="2486" y="851"/>
                </a:cubicBezTo>
                <a:cubicBezTo>
                  <a:pt x="2487" y="850"/>
                  <a:pt x="2485" y="849"/>
                  <a:pt x="2488" y="848"/>
                </a:cubicBezTo>
                <a:cubicBezTo>
                  <a:pt x="2488" y="848"/>
                  <a:pt x="2490" y="849"/>
                  <a:pt x="2491" y="849"/>
                </a:cubicBezTo>
                <a:cubicBezTo>
                  <a:pt x="2491" y="849"/>
                  <a:pt x="2493" y="849"/>
                  <a:pt x="2493" y="849"/>
                </a:cubicBezTo>
                <a:cubicBezTo>
                  <a:pt x="2495" y="851"/>
                  <a:pt x="2495" y="851"/>
                  <a:pt x="2495" y="851"/>
                </a:cubicBezTo>
                <a:cubicBezTo>
                  <a:pt x="2495" y="851"/>
                  <a:pt x="2498" y="851"/>
                  <a:pt x="2500" y="852"/>
                </a:cubicBezTo>
                <a:cubicBezTo>
                  <a:pt x="2503" y="852"/>
                  <a:pt x="2505" y="851"/>
                  <a:pt x="2507" y="853"/>
                </a:cubicBezTo>
                <a:cubicBezTo>
                  <a:pt x="2511" y="853"/>
                  <a:pt x="2509" y="853"/>
                  <a:pt x="2513" y="853"/>
                </a:cubicBezTo>
                <a:cubicBezTo>
                  <a:pt x="2517" y="853"/>
                  <a:pt x="2516" y="855"/>
                  <a:pt x="2521" y="852"/>
                </a:cubicBezTo>
                <a:cubicBezTo>
                  <a:pt x="2524" y="850"/>
                  <a:pt x="2527" y="845"/>
                  <a:pt x="2528" y="844"/>
                </a:cubicBezTo>
                <a:cubicBezTo>
                  <a:pt x="2528" y="844"/>
                  <a:pt x="2530" y="845"/>
                  <a:pt x="2530" y="846"/>
                </a:cubicBezTo>
                <a:cubicBezTo>
                  <a:pt x="2530" y="847"/>
                  <a:pt x="2529" y="848"/>
                  <a:pt x="2529" y="848"/>
                </a:cubicBezTo>
                <a:cubicBezTo>
                  <a:pt x="2528" y="849"/>
                  <a:pt x="2529" y="849"/>
                  <a:pt x="2528" y="852"/>
                </a:cubicBezTo>
                <a:cubicBezTo>
                  <a:pt x="2527" y="854"/>
                  <a:pt x="2527" y="852"/>
                  <a:pt x="2525" y="854"/>
                </a:cubicBezTo>
                <a:cubicBezTo>
                  <a:pt x="2524" y="855"/>
                  <a:pt x="2525" y="856"/>
                  <a:pt x="2524" y="858"/>
                </a:cubicBezTo>
                <a:cubicBezTo>
                  <a:pt x="2523" y="859"/>
                  <a:pt x="2523" y="858"/>
                  <a:pt x="2522" y="858"/>
                </a:cubicBezTo>
                <a:cubicBezTo>
                  <a:pt x="2521" y="857"/>
                  <a:pt x="2516" y="860"/>
                  <a:pt x="2516" y="860"/>
                </a:cubicBezTo>
                <a:close/>
                <a:moveTo>
                  <a:pt x="2550" y="860"/>
                </a:moveTo>
                <a:cubicBezTo>
                  <a:pt x="2550" y="860"/>
                  <a:pt x="2551" y="862"/>
                  <a:pt x="2550" y="862"/>
                </a:cubicBezTo>
                <a:cubicBezTo>
                  <a:pt x="2547" y="862"/>
                  <a:pt x="2549" y="863"/>
                  <a:pt x="2548" y="860"/>
                </a:cubicBezTo>
                <a:cubicBezTo>
                  <a:pt x="2548" y="860"/>
                  <a:pt x="2549" y="860"/>
                  <a:pt x="2550" y="860"/>
                </a:cubicBezTo>
                <a:close/>
                <a:moveTo>
                  <a:pt x="2598" y="925"/>
                </a:moveTo>
                <a:cubicBezTo>
                  <a:pt x="2600" y="925"/>
                  <a:pt x="2597" y="927"/>
                  <a:pt x="2596" y="928"/>
                </a:cubicBezTo>
                <a:cubicBezTo>
                  <a:pt x="2596" y="927"/>
                  <a:pt x="2597" y="925"/>
                  <a:pt x="2598" y="925"/>
                </a:cubicBezTo>
                <a:close/>
                <a:moveTo>
                  <a:pt x="2590" y="854"/>
                </a:moveTo>
                <a:cubicBezTo>
                  <a:pt x="2589" y="853"/>
                  <a:pt x="2588" y="853"/>
                  <a:pt x="2588" y="852"/>
                </a:cubicBezTo>
                <a:cubicBezTo>
                  <a:pt x="2590" y="851"/>
                  <a:pt x="2591" y="851"/>
                  <a:pt x="2590" y="854"/>
                </a:cubicBezTo>
                <a:close/>
                <a:moveTo>
                  <a:pt x="2431" y="958"/>
                </a:moveTo>
                <a:cubicBezTo>
                  <a:pt x="2431" y="958"/>
                  <a:pt x="2431" y="961"/>
                  <a:pt x="2430" y="960"/>
                </a:cubicBezTo>
                <a:cubicBezTo>
                  <a:pt x="2429" y="960"/>
                  <a:pt x="2429" y="960"/>
                  <a:pt x="2427" y="960"/>
                </a:cubicBezTo>
                <a:cubicBezTo>
                  <a:pt x="2426" y="960"/>
                  <a:pt x="2426" y="958"/>
                  <a:pt x="2424" y="957"/>
                </a:cubicBezTo>
                <a:cubicBezTo>
                  <a:pt x="2421" y="956"/>
                  <a:pt x="2421" y="956"/>
                  <a:pt x="2420" y="954"/>
                </a:cubicBezTo>
                <a:cubicBezTo>
                  <a:pt x="2420" y="954"/>
                  <a:pt x="2420" y="954"/>
                  <a:pt x="2420" y="954"/>
                </a:cubicBezTo>
                <a:cubicBezTo>
                  <a:pt x="2420" y="954"/>
                  <a:pt x="2421" y="954"/>
                  <a:pt x="2421" y="954"/>
                </a:cubicBezTo>
                <a:cubicBezTo>
                  <a:pt x="2421" y="954"/>
                  <a:pt x="2422" y="954"/>
                  <a:pt x="2422" y="954"/>
                </a:cubicBezTo>
                <a:cubicBezTo>
                  <a:pt x="2422" y="954"/>
                  <a:pt x="2425" y="954"/>
                  <a:pt x="2426" y="954"/>
                </a:cubicBezTo>
                <a:cubicBezTo>
                  <a:pt x="2428" y="953"/>
                  <a:pt x="2426" y="951"/>
                  <a:pt x="2429" y="953"/>
                </a:cubicBezTo>
                <a:cubicBezTo>
                  <a:pt x="2434" y="956"/>
                  <a:pt x="2433" y="957"/>
                  <a:pt x="2431" y="958"/>
                </a:cubicBezTo>
                <a:close/>
                <a:moveTo>
                  <a:pt x="2465" y="932"/>
                </a:moveTo>
                <a:cubicBezTo>
                  <a:pt x="2465" y="931"/>
                  <a:pt x="2466" y="930"/>
                  <a:pt x="2466" y="930"/>
                </a:cubicBezTo>
                <a:cubicBezTo>
                  <a:pt x="2467" y="930"/>
                  <a:pt x="2467" y="932"/>
                  <a:pt x="2467" y="932"/>
                </a:cubicBezTo>
                <a:cubicBezTo>
                  <a:pt x="2467" y="932"/>
                  <a:pt x="2466" y="932"/>
                  <a:pt x="2465" y="932"/>
                </a:cubicBezTo>
                <a:close/>
                <a:moveTo>
                  <a:pt x="2568" y="864"/>
                </a:moveTo>
                <a:cubicBezTo>
                  <a:pt x="2569" y="865"/>
                  <a:pt x="2571" y="866"/>
                  <a:pt x="2572" y="867"/>
                </a:cubicBezTo>
                <a:cubicBezTo>
                  <a:pt x="2572" y="867"/>
                  <a:pt x="2570" y="867"/>
                  <a:pt x="2569" y="867"/>
                </a:cubicBezTo>
                <a:cubicBezTo>
                  <a:pt x="2568" y="867"/>
                  <a:pt x="2567" y="864"/>
                  <a:pt x="2568" y="864"/>
                </a:cubicBezTo>
                <a:close/>
                <a:moveTo>
                  <a:pt x="2470" y="960"/>
                </a:moveTo>
                <a:cubicBezTo>
                  <a:pt x="2469" y="960"/>
                  <a:pt x="2468" y="960"/>
                  <a:pt x="2468" y="960"/>
                </a:cubicBezTo>
                <a:cubicBezTo>
                  <a:pt x="2468" y="959"/>
                  <a:pt x="2468" y="958"/>
                  <a:pt x="2468" y="958"/>
                </a:cubicBezTo>
                <a:cubicBezTo>
                  <a:pt x="2469" y="957"/>
                  <a:pt x="2469" y="957"/>
                  <a:pt x="2469" y="957"/>
                </a:cubicBezTo>
                <a:cubicBezTo>
                  <a:pt x="2471" y="957"/>
                  <a:pt x="2470" y="960"/>
                  <a:pt x="2470" y="960"/>
                </a:cubicBezTo>
                <a:close/>
                <a:moveTo>
                  <a:pt x="2464" y="847"/>
                </a:moveTo>
                <a:cubicBezTo>
                  <a:pt x="2463" y="847"/>
                  <a:pt x="2462" y="846"/>
                  <a:pt x="2462" y="846"/>
                </a:cubicBezTo>
                <a:cubicBezTo>
                  <a:pt x="2462" y="846"/>
                  <a:pt x="2463" y="844"/>
                  <a:pt x="2464" y="844"/>
                </a:cubicBezTo>
                <a:cubicBezTo>
                  <a:pt x="2468" y="846"/>
                  <a:pt x="2465" y="847"/>
                  <a:pt x="2464" y="847"/>
                </a:cubicBezTo>
                <a:close/>
                <a:moveTo>
                  <a:pt x="2585" y="867"/>
                </a:moveTo>
                <a:cubicBezTo>
                  <a:pt x="2584" y="866"/>
                  <a:pt x="2584" y="866"/>
                  <a:pt x="2583" y="865"/>
                </a:cubicBezTo>
                <a:cubicBezTo>
                  <a:pt x="2583" y="865"/>
                  <a:pt x="2581" y="864"/>
                  <a:pt x="2583" y="864"/>
                </a:cubicBezTo>
                <a:cubicBezTo>
                  <a:pt x="2585" y="864"/>
                  <a:pt x="2587" y="864"/>
                  <a:pt x="2588" y="866"/>
                </a:cubicBezTo>
                <a:cubicBezTo>
                  <a:pt x="2588" y="867"/>
                  <a:pt x="2589" y="867"/>
                  <a:pt x="2588" y="867"/>
                </a:cubicBezTo>
                <a:cubicBezTo>
                  <a:pt x="2588" y="867"/>
                  <a:pt x="2585" y="867"/>
                  <a:pt x="2585" y="867"/>
                </a:cubicBezTo>
                <a:close/>
                <a:moveTo>
                  <a:pt x="2530" y="833"/>
                </a:moveTo>
                <a:cubicBezTo>
                  <a:pt x="2530" y="833"/>
                  <a:pt x="2531" y="834"/>
                  <a:pt x="2530" y="835"/>
                </a:cubicBezTo>
                <a:cubicBezTo>
                  <a:pt x="2530" y="835"/>
                  <a:pt x="2529" y="835"/>
                  <a:pt x="2529" y="834"/>
                </a:cubicBezTo>
                <a:cubicBezTo>
                  <a:pt x="2529" y="834"/>
                  <a:pt x="2529" y="833"/>
                  <a:pt x="2530" y="833"/>
                </a:cubicBezTo>
                <a:close/>
                <a:moveTo>
                  <a:pt x="2530" y="822"/>
                </a:moveTo>
                <a:cubicBezTo>
                  <a:pt x="2533" y="821"/>
                  <a:pt x="2532" y="822"/>
                  <a:pt x="2532" y="827"/>
                </a:cubicBezTo>
                <a:cubicBezTo>
                  <a:pt x="2531" y="825"/>
                  <a:pt x="2531" y="825"/>
                  <a:pt x="2531" y="825"/>
                </a:cubicBezTo>
                <a:lnTo>
                  <a:pt x="2530" y="822"/>
                </a:lnTo>
                <a:close/>
                <a:moveTo>
                  <a:pt x="2483" y="940"/>
                </a:moveTo>
                <a:cubicBezTo>
                  <a:pt x="2482" y="940"/>
                  <a:pt x="2482" y="938"/>
                  <a:pt x="2483" y="938"/>
                </a:cubicBezTo>
                <a:cubicBezTo>
                  <a:pt x="2484" y="937"/>
                  <a:pt x="2485" y="938"/>
                  <a:pt x="2485" y="939"/>
                </a:cubicBezTo>
                <a:cubicBezTo>
                  <a:pt x="2485" y="940"/>
                  <a:pt x="2484" y="941"/>
                  <a:pt x="2483" y="940"/>
                </a:cubicBezTo>
                <a:close/>
                <a:moveTo>
                  <a:pt x="2459" y="839"/>
                </a:moveTo>
                <a:cubicBezTo>
                  <a:pt x="2459" y="836"/>
                  <a:pt x="2459" y="836"/>
                  <a:pt x="2459" y="836"/>
                </a:cubicBezTo>
                <a:cubicBezTo>
                  <a:pt x="2459" y="836"/>
                  <a:pt x="2459" y="834"/>
                  <a:pt x="2460" y="835"/>
                </a:cubicBezTo>
                <a:cubicBezTo>
                  <a:pt x="2462" y="837"/>
                  <a:pt x="2462" y="838"/>
                  <a:pt x="2463" y="839"/>
                </a:cubicBezTo>
                <a:cubicBezTo>
                  <a:pt x="2462" y="841"/>
                  <a:pt x="2460" y="839"/>
                  <a:pt x="2459" y="839"/>
                </a:cubicBezTo>
                <a:close/>
                <a:moveTo>
                  <a:pt x="2537" y="949"/>
                </a:moveTo>
                <a:cubicBezTo>
                  <a:pt x="2538" y="949"/>
                  <a:pt x="2539" y="948"/>
                  <a:pt x="2540" y="948"/>
                </a:cubicBezTo>
                <a:cubicBezTo>
                  <a:pt x="2540" y="948"/>
                  <a:pt x="2542" y="949"/>
                  <a:pt x="2541" y="950"/>
                </a:cubicBezTo>
                <a:cubicBezTo>
                  <a:pt x="2538" y="953"/>
                  <a:pt x="2535" y="952"/>
                  <a:pt x="2532" y="951"/>
                </a:cubicBezTo>
                <a:cubicBezTo>
                  <a:pt x="2533" y="948"/>
                  <a:pt x="2535" y="949"/>
                  <a:pt x="2537" y="949"/>
                </a:cubicBezTo>
                <a:close/>
                <a:moveTo>
                  <a:pt x="2513" y="955"/>
                </a:moveTo>
                <a:cubicBezTo>
                  <a:pt x="2511" y="956"/>
                  <a:pt x="2510" y="957"/>
                  <a:pt x="2509" y="958"/>
                </a:cubicBezTo>
                <a:cubicBezTo>
                  <a:pt x="2510" y="961"/>
                  <a:pt x="2506" y="959"/>
                  <a:pt x="2506" y="958"/>
                </a:cubicBezTo>
                <a:cubicBezTo>
                  <a:pt x="2506" y="958"/>
                  <a:pt x="2504" y="956"/>
                  <a:pt x="2504" y="956"/>
                </a:cubicBezTo>
                <a:cubicBezTo>
                  <a:pt x="2504" y="955"/>
                  <a:pt x="2507" y="956"/>
                  <a:pt x="2507" y="955"/>
                </a:cubicBezTo>
                <a:lnTo>
                  <a:pt x="2513" y="955"/>
                </a:lnTo>
                <a:close/>
                <a:moveTo>
                  <a:pt x="2492" y="943"/>
                </a:moveTo>
                <a:cubicBezTo>
                  <a:pt x="2493" y="944"/>
                  <a:pt x="2495" y="944"/>
                  <a:pt x="2495" y="946"/>
                </a:cubicBezTo>
                <a:cubicBezTo>
                  <a:pt x="2496" y="946"/>
                  <a:pt x="2494" y="947"/>
                  <a:pt x="2494" y="947"/>
                </a:cubicBezTo>
                <a:cubicBezTo>
                  <a:pt x="2492" y="946"/>
                  <a:pt x="2491" y="945"/>
                  <a:pt x="2492" y="943"/>
                </a:cubicBezTo>
                <a:close/>
                <a:moveTo>
                  <a:pt x="2536" y="890"/>
                </a:moveTo>
                <a:cubicBezTo>
                  <a:pt x="2536" y="890"/>
                  <a:pt x="2532" y="887"/>
                  <a:pt x="2534" y="886"/>
                </a:cubicBezTo>
                <a:cubicBezTo>
                  <a:pt x="2536" y="888"/>
                  <a:pt x="2536" y="888"/>
                  <a:pt x="2536" y="890"/>
                </a:cubicBezTo>
                <a:close/>
                <a:moveTo>
                  <a:pt x="2561" y="868"/>
                </a:moveTo>
                <a:cubicBezTo>
                  <a:pt x="2563" y="869"/>
                  <a:pt x="2563" y="872"/>
                  <a:pt x="2561" y="871"/>
                </a:cubicBezTo>
                <a:cubicBezTo>
                  <a:pt x="2560" y="870"/>
                  <a:pt x="2560" y="868"/>
                  <a:pt x="2561" y="868"/>
                </a:cubicBezTo>
                <a:close/>
                <a:moveTo>
                  <a:pt x="2481" y="921"/>
                </a:moveTo>
                <a:cubicBezTo>
                  <a:pt x="2481" y="919"/>
                  <a:pt x="2481" y="919"/>
                  <a:pt x="2481" y="919"/>
                </a:cubicBezTo>
                <a:cubicBezTo>
                  <a:pt x="2482" y="919"/>
                  <a:pt x="2483" y="918"/>
                  <a:pt x="2483" y="919"/>
                </a:cubicBezTo>
                <a:cubicBezTo>
                  <a:pt x="2483" y="920"/>
                  <a:pt x="2483" y="921"/>
                  <a:pt x="2481" y="921"/>
                </a:cubicBezTo>
                <a:close/>
                <a:moveTo>
                  <a:pt x="2542" y="817"/>
                </a:moveTo>
                <a:cubicBezTo>
                  <a:pt x="2541" y="816"/>
                  <a:pt x="2541" y="813"/>
                  <a:pt x="2541" y="813"/>
                </a:cubicBezTo>
                <a:cubicBezTo>
                  <a:pt x="2541" y="813"/>
                  <a:pt x="2543" y="813"/>
                  <a:pt x="2543" y="813"/>
                </a:cubicBezTo>
                <a:cubicBezTo>
                  <a:pt x="2543" y="814"/>
                  <a:pt x="2544" y="818"/>
                  <a:pt x="2544" y="818"/>
                </a:cubicBezTo>
                <a:cubicBezTo>
                  <a:pt x="2541" y="821"/>
                  <a:pt x="2542" y="819"/>
                  <a:pt x="2542" y="817"/>
                </a:cubicBezTo>
                <a:close/>
                <a:moveTo>
                  <a:pt x="2482" y="927"/>
                </a:moveTo>
                <a:cubicBezTo>
                  <a:pt x="2482" y="927"/>
                  <a:pt x="2483" y="927"/>
                  <a:pt x="2483" y="927"/>
                </a:cubicBezTo>
                <a:cubicBezTo>
                  <a:pt x="2483" y="929"/>
                  <a:pt x="2484" y="931"/>
                  <a:pt x="2483" y="933"/>
                </a:cubicBezTo>
                <a:cubicBezTo>
                  <a:pt x="2483" y="933"/>
                  <a:pt x="2482" y="933"/>
                  <a:pt x="2482" y="934"/>
                </a:cubicBezTo>
                <a:cubicBezTo>
                  <a:pt x="2482" y="934"/>
                  <a:pt x="2482" y="935"/>
                  <a:pt x="2482" y="934"/>
                </a:cubicBezTo>
                <a:cubicBezTo>
                  <a:pt x="2481" y="933"/>
                  <a:pt x="2481" y="929"/>
                  <a:pt x="2482" y="927"/>
                </a:cubicBezTo>
                <a:close/>
                <a:moveTo>
                  <a:pt x="2488" y="939"/>
                </a:moveTo>
                <a:cubicBezTo>
                  <a:pt x="2490" y="941"/>
                  <a:pt x="2489" y="941"/>
                  <a:pt x="2487" y="941"/>
                </a:cubicBezTo>
                <a:cubicBezTo>
                  <a:pt x="2487" y="940"/>
                  <a:pt x="2486" y="938"/>
                  <a:pt x="2487" y="937"/>
                </a:cubicBezTo>
                <a:cubicBezTo>
                  <a:pt x="2487" y="936"/>
                  <a:pt x="2488" y="935"/>
                  <a:pt x="2489" y="935"/>
                </a:cubicBezTo>
                <a:cubicBezTo>
                  <a:pt x="2490" y="935"/>
                  <a:pt x="2489" y="938"/>
                  <a:pt x="2488" y="939"/>
                </a:cubicBezTo>
                <a:close/>
                <a:moveTo>
                  <a:pt x="2541" y="885"/>
                </a:moveTo>
                <a:cubicBezTo>
                  <a:pt x="2539" y="886"/>
                  <a:pt x="2535" y="886"/>
                  <a:pt x="2533" y="886"/>
                </a:cubicBezTo>
                <a:cubicBezTo>
                  <a:pt x="2530" y="886"/>
                  <a:pt x="2528" y="884"/>
                  <a:pt x="2525" y="886"/>
                </a:cubicBezTo>
                <a:cubicBezTo>
                  <a:pt x="2523" y="887"/>
                  <a:pt x="2520" y="887"/>
                  <a:pt x="2520" y="886"/>
                </a:cubicBezTo>
                <a:cubicBezTo>
                  <a:pt x="2520" y="886"/>
                  <a:pt x="2520" y="884"/>
                  <a:pt x="2520" y="884"/>
                </a:cubicBezTo>
                <a:cubicBezTo>
                  <a:pt x="2520" y="884"/>
                  <a:pt x="2522" y="882"/>
                  <a:pt x="2523" y="882"/>
                </a:cubicBezTo>
                <a:cubicBezTo>
                  <a:pt x="2524" y="882"/>
                  <a:pt x="2525" y="882"/>
                  <a:pt x="2526" y="882"/>
                </a:cubicBezTo>
                <a:cubicBezTo>
                  <a:pt x="2528" y="882"/>
                  <a:pt x="2528" y="882"/>
                  <a:pt x="2529" y="883"/>
                </a:cubicBezTo>
                <a:cubicBezTo>
                  <a:pt x="2530" y="884"/>
                  <a:pt x="2531" y="884"/>
                  <a:pt x="2531" y="884"/>
                </a:cubicBezTo>
                <a:cubicBezTo>
                  <a:pt x="2530" y="884"/>
                  <a:pt x="2542" y="883"/>
                  <a:pt x="2541" y="885"/>
                </a:cubicBezTo>
                <a:close/>
                <a:moveTo>
                  <a:pt x="2439" y="940"/>
                </a:moveTo>
                <a:cubicBezTo>
                  <a:pt x="2441" y="940"/>
                  <a:pt x="2440" y="941"/>
                  <a:pt x="2440" y="942"/>
                </a:cubicBezTo>
                <a:cubicBezTo>
                  <a:pt x="2439" y="942"/>
                  <a:pt x="2439" y="940"/>
                  <a:pt x="2439" y="940"/>
                </a:cubicBezTo>
                <a:close/>
                <a:moveTo>
                  <a:pt x="2468" y="938"/>
                </a:moveTo>
                <a:cubicBezTo>
                  <a:pt x="2467" y="939"/>
                  <a:pt x="2468" y="941"/>
                  <a:pt x="2467" y="940"/>
                </a:cubicBezTo>
                <a:cubicBezTo>
                  <a:pt x="2462" y="937"/>
                  <a:pt x="2468" y="935"/>
                  <a:pt x="2468" y="938"/>
                </a:cubicBezTo>
                <a:close/>
                <a:moveTo>
                  <a:pt x="2438" y="901"/>
                </a:moveTo>
                <a:cubicBezTo>
                  <a:pt x="2438" y="906"/>
                  <a:pt x="2437" y="905"/>
                  <a:pt x="2438" y="909"/>
                </a:cubicBezTo>
                <a:cubicBezTo>
                  <a:pt x="2439" y="910"/>
                  <a:pt x="2441" y="905"/>
                  <a:pt x="2442" y="905"/>
                </a:cubicBezTo>
                <a:cubicBezTo>
                  <a:pt x="2442" y="902"/>
                  <a:pt x="2442" y="902"/>
                  <a:pt x="2442" y="902"/>
                </a:cubicBezTo>
                <a:cubicBezTo>
                  <a:pt x="2439" y="899"/>
                  <a:pt x="2439" y="899"/>
                  <a:pt x="2439" y="899"/>
                </a:cubicBezTo>
                <a:cubicBezTo>
                  <a:pt x="2440" y="897"/>
                  <a:pt x="2440" y="897"/>
                  <a:pt x="2440" y="897"/>
                </a:cubicBezTo>
                <a:cubicBezTo>
                  <a:pt x="2440" y="895"/>
                  <a:pt x="2440" y="895"/>
                  <a:pt x="2440" y="895"/>
                </a:cubicBezTo>
                <a:cubicBezTo>
                  <a:pt x="2442" y="893"/>
                  <a:pt x="2442" y="893"/>
                  <a:pt x="2442" y="893"/>
                </a:cubicBezTo>
                <a:cubicBezTo>
                  <a:pt x="2443" y="888"/>
                  <a:pt x="2443" y="888"/>
                  <a:pt x="2443" y="888"/>
                </a:cubicBezTo>
                <a:cubicBezTo>
                  <a:pt x="2442" y="887"/>
                  <a:pt x="2442" y="887"/>
                  <a:pt x="2442" y="887"/>
                </a:cubicBezTo>
                <a:cubicBezTo>
                  <a:pt x="2442" y="886"/>
                  <a:pt x="2442" y="886"/>
                  <a:pt x="2442" y="884"/>
                </a:cubicBezTo>
                <a:cubicBezTo>
                  <a:pt x="2441" y="882"/>
                  <a:pt x="2441" y="882"/>
                  <a:pt x="2441" y="882"/>
                </a:cubicBezTo>
                <a:cubicBezTo>
                  <a:pt x="2442" y="882"/>
                  <a:pt x="2442" y="882"/>
                  <a:pt x="2442" y="882"/>
                </a:cubicBezTo>
                <a:cubicBezTo>
                  <a:pt x="2445" y="879"/>
                  <a:pt x="2445" y="880"/>
                  <a:pt x="2445" y="876"/>
                </a:cubicBezTo>
                <a:cubicBezTo>
                  <a:pt x="2446" y="876"/>
                  <a:pt x="2446" y="876"/>
                  <a:pt x="2446" y="876"/>
                </a:cubicBezTo>
                <a:cubicBezTo>
                  <a:pt x="2447" y="879"/>
                  <a:pt x="2450" y="875"/>
                  <a:pt x="2450" y="874"/>
                </a:cubicBezTo>
                <a:cubicBezTo>
                  <a:pt x="2451" y="874"/>
                  <a:pt x="2453" y="872"/>
                  <a:pt x="2453" y="870"/>
                </a:cubicBezTo>
                <a:cubicBezTo>
                  <a:pt x="2453" y="869"/>
                  <a:pt x="2453" y="869"/>
                  <a:pt x="2453" y="869"/>
                </a:cubicBezTo>
                <a:cubicBezTo>
                  <a:pt x="2451" y="861"/>
                  <a:pt x="2451" y="865"/>
                  <a:pt x="2453" y="860"/>
                </a:cubicBezTo>
                <a:cubicBezTo>
                  <a:pt x="2454" y="856"/>
                  <a:pt x="2454" y="856"/>
                  <a:pt x="2454" y="856"/>
                </a:cubicBezTo>
                <a:cubicBezTo>
                  <a:pt x="2456" y="855"/>
                  <a:pt x="2456" y="855"/>
                  <a:pt x="2456" y="855"/>
                </a:cubicBezTo>
                <a:cubicBezTo>
                  <a:pt x="2457" y="853"/>
                  <a:pt x="2457" y="853"/>
                  <a:pt x="2457" y="853"/>
                </a:cubicBezTo>
                <a:cubicBezTo>
                  <a:pt x="2458" y="853"/>
                  <a:pt x="2458" y="853"/>
                  <a:pt x="2458" y="853"/>
                </a:cubicBezTo>
                <a:cubicBezTo>
                  <a:pt x="2460" y="854"/>
                  <a:pt x="2460" y="854"/>
                  <a:pt x="2460" y="854"/>
                </a:cubicBezTo>
                <a:cubicBezTo>
                  <a:pt x="2460" y="854"/>
                  <a:pt x="2462" y="854"/>
                  <a:pt x="2463" y="854"/>
                </a:cubicBezTo>
                <a:cubicBezTo>
                  <a:pt x="2464" y="854"/>
                  <a:pt x="2468" y="853"/>
                  <a:pt x="2468" y="853"/>
                </a:cubicBezTo>
                <a:cubicBezTo>
                  <a:pt x="2465" y="849"/>
                  <a:pt x="2466" y="850"/>
                  <a:pt x="2462" y="848"/>
                </a:cubicBezTo>
                <a:cubicBezTo>
                  <a:pt x="2460" y="847"/>
                  <a:pt x="2459" y="847"/>
                  <a:pt x="2456" y="841"/>
                </a:cubicBezTo>
                <a:cubicBezTo>
                  <a:pt x="2456" y="841"/>
                  <a:pt x="2456" y="840"/>
                  <a:pt x="2456" y="840"/>
                </a:cubicBezTo>
                <a:cubicBezTo>
                  <a:pt x="2455" y="840"/>
                  <a:pt x="2455" y="840"/>
                  <a:pt x="2455" y="840"/>
                </a:cubicBezTo>
                <a:cubicBezTo>
                  <a:pt x="2455" y="840"/>
                  <a:pt x="2455" y="838"/>
                  <a:pt x="2456" y="840"/>
                </a:cubicBezTo>
                <a:cubicBezTo>
                  <a:pt x="2457" y="838"/>
                  <a:pt x="2457" y="838"/>
                  <a:pt x="2457" y="838"/>
                </a:cubicBezTo>
                <a:cubicBezTo>
                  <a:pt x="2456" y="836"/>
                  <a:pt x="2456" y="836"/>
                  <a:pt x="2455" y="835"/>
                </a:cubicBezTo>
                <a:cubicBezTo>
                  <a:pt x="2454" y="834"/>
                  <a:pt x="2454" y="830"/>
                  <a:pt x="2454" y="830"/>
                </a:cubicBezTo>
                <a:cubicBezTo>
                  <a:pt x="2451" y="830"/>
                  <a:pt x="2451" y="830"/>
                  <a:pt x="2451" y="830"/>
                </a:cubicBezTo>
                <a:cubicBezTo>
                  <a:pt x="2452" y="828"/>
                  <a:pt x="2452" y="828"/>
                  <a:pt x="2452" y="828"/>
                </a:cubicBezTo>
                <a:cubicBezTo>
                  <a:pt x="2450" y="825"/>
                  <a:pt x="2450" y="825"/>
                  <a:pt x="2450" y="825"/>
                </a:cubicBezTo>
                <a:cubicBezTo>
                  <a:pt x="2448" y="823"/>
                  <a:pt x="2448" y="823"/>
                  <a:pt x="2448" y="823"/>
                </a:cubicBezTo>
                <a:cubicBezTo>
                  <a:pt x="2448" y="823"/>
                  <a:pt x="2452" y="823"/>
                  <a:pt x="2454" y="823"/>
                </a:cubicBezTo>
                <a:cubicBezTo>
                  <a:pt x="2455" y="823"/>
                  <a:pt x="2453" y="822"/>
                  <a:pt x="2453" y="822"/>
                </a:cubicBezTo>
                <a:cubicBezTo>
                  <a:pt x="2456" y="819"/>
                  <a:pt x="2456" y="818"/>
                  <a:pt x="2451" y="817"/>
                </a:cubicBezTo>
                <a:cubicBezTo>
                  <a:pt x="2449" y="816"/>
                  <a:pt x="2447" y="816"/>
                  <a:pt x="2445" y="816"/>
                </a:cubicBezTo>
                <a:cubicBezTo>
                  <a:pt x="2447" y="816"/>
                  <a:pt x="2450" y="817"/>
                  <a:pt x="2451" y="817"/>
                </a:cubicBezTo>
                <a:cubicBezTo>
                  <a:pt x="2452" y="817"/>
                  <a:pt x="2454" y="818"/>
                  <a:pt x="2454" y="817"/>
                </a:cubicBezTo>
                <a:cubicBezTo>
                  <a:pt x="2457" y="817"/>
                  <a:pt x="2461" y="817"/>
                  <a:pt x="2464" y="815"/>
                </a:cubicBezTo>
                <a:cubicBezTo>
                  <a:pt x="2466" y="814"/>
                  <a:pt x="2464" y="815"/>
                  <a:pt x="2464" y="814"/>
                </a:cubicBezTo>
                <a:cubicBezTo>
                  <a:pt x="2464" y="814"/>
                  <a:pt x="2463" y="813"/>
                  <a:pt x="2463" y="813"/>
                </a:cubicBezTo>
                <a:cubicBezTo>
                  <a:pt x="2463" y="812"/>
                  <a:pt x="2460" y="812"/>
                  <a:pt x="2459" y="811"/>
                </a:cubicBezTo>
                <a:cubicBezTo>
                  <a:pt x="2458" y="810"/>
                  <a:pt x="2458" y="810"/>
                  <a:pt x="2459" y="809"/>
                </a:cubicBezTo>
                <a:cubicBezTo>
                  <a:pt x="2459" y="808"/>
                  <a:pt x="2459" y="809"/>
                  <a:pt x="2461" y="808"/>
                </a:cubicBezTo>
                <a:cubicBezTo>
                  <a:pt x="2464" y="808"/>
                  <a:pt x="2462" y="809"/>
                  <a:pt x="2463" y="809"/>
                </a:cubicBezTo>
                <a:cubicBezTo>
                  <a:pt x="2465" y="809"/>
                  <a:pt x="2466" y="808"/>
                  <a:pt x="2468" y="807"/>
                </a:cubicBezTo>
                <a:cubicBezTo>
                  <a:pt x="2469" y="806"/>
                  <a:pt x="2470" y="806"/>
                  <a:pt x="2469" y="804"/>
                </a:cubicBezTo>
                <a:cubicBezTo>
                  <a:pt x="2468" y="804"/>
                  <a:pt x="2467" y="806"/>
                  <a:pt x="2465" y="804"/>
                </a:cubicBezTo>
                <a:cubicBezTo>
                  <a:pt x="2464" y="803"/>
                  <a:pt x="2463" y="802"/>
                  <a:pt x="2461" y="801"/>
                </a:cubicBezTo>
                <a:cubicBezTo>
                  <a:pt x="2459" y="801"/>
                  <a:pt x="2460" y="801"/>
                  <a:pt x="2460" y="800"/>
                </a:cubicBezTo>
                <a:cubicBezTo>
                  <a:pt x="2460" y="799"/>
                  <a:pt x="2459" y="800"/>
                  <a:pt x="2458" y="800"/>
                </a:cubicBezTo>
                <a:cubicBezTo>
                  <a:pt x="2458" y="800"/>
                  <a:pt x="2457" y="801"/>
                  <a:pt x="2456" y="801"/>
                </a:cubicBezTo>
                <a:cubicBezTo>
                  <a:pt x="2455" y="801"/>
                  <a:pt x="2456" y="800"/>
                  <a:pt x="2456" y="800"/>
                </a:cubicBezTo>
                <a:cubicBezTo>
                  <a:pt x="2456" y="799"/>
                  <a:pt x="2456" y="799"/>
                  <a:pt x="2457" y="799"/>
                </a:cubicBezTo>
                <a:cubicBezTo>
                  <a:pt x="2457" y="798"/>
                  <a:pt x="2457" y="798"/>
                  <a:pt x="2457" y="797"/>
                </a:cubicBezTo>
                <a:cubicBezTo>
                  <a:pt x="2456" y="797"/>
                  <a:pt x="2456" y="797"/>
                  <a:pt x="2456" y="797"/>
                </a:cubicBezTo>
                <a:cubicBezTo>
                  <a:pt x="2455" y="796"/>
                  <a:pt x="2455" y="798"/>
                  <a:pt x="2454" y="798"/>
                </a:cubicBezTo>
                <a:cubicBezTo>
                  <a:pt x="2454" y="799"/>
                  <a:pt x="2454" y="798"/>
                  <a:pt x="2453" y="798"/>
                </a:cubicBezTo>
                <a:cubicBezTo>
                  <a:pt x="2452" y="798"/>
                  <a:pt x="2452" y="797"/>
                  <a:pt x="2452" y="796"/>
                </a:cubicBezTo>
                <a:cubicBezTo>
                  <a:pt x="2451" y="795"/>
                  <a:pt x="2452" y="795"/>
                  <a:pt x="2453" y="794"/>
                </a:cubicBezTo>
                <a:cubicBezTo>
                  <a:pt x="2454" y="793"/>
                  <a:pt x="2453" y="793"/>
                  <a:pt x="2453" y="792"/>
                </a:cubicBezTo>
                <a:cubicBezTo>
                  <a:pt x="2453" y="791"/>
                  <a:pt x="2451" y="790"/>
                  <a:pt x="2450" y="790"/>
                </a:cubicBezTo>
                <a:cubicBezTo>
                  <a:pt x="2449" y="789"/>
                  <a:pt x="2448" y="790"/>
                  <a:pt x="2448" y="789"/>
                </a:cubicBezTo>
                <a:cubicBezTo>
                  <a:pt x="2448" y="786"/>
                  <a:pt x="2448" y="787"/>
                  <a:pt x="2447" y="787"/>
                </a:cubicBezTo>
                <a:cubicBezTo>
                  <a:pt x="2446" y="786"/>
                  <a:pt x="2446" y="787"/>
                  <a:pt x="2446" y="789"/>
                </a:cubicBezTo>
                <a:cubicBezTo>
                  <a:pt x="2446" y="791"/>
                  <a:pt x="2444" y="791"/>
                  <a:pt x="2444" y="790"/>
                </a:cubicBezTo>
                <a:cubicBezTo>
                  <a:pt x="2444" y="790"/>
                  <a:pt x="2445" y="789"/>
                  <a:pt x="2445" y="788"/>
                </a:cubicBezTo>
                <a:cubicBezTo>
                  <a:pt x="2446" y="787"/>
                  <a:pt x="2444" y="786"/>
                  <a:pt x="2444" y="786"/>
                </a:cubicBezTo>
                <a:cubicBezTo>
                  <a:pt x="2444" y="786"/>
                  <a:pt x="2443" y="787"/>
                  <a:pt x="2443" y="787"/>
                </a:cubicBezTo>
                <a:cubicBezTo>
                  <a:pt x="2443" y="788"/>
                  <a:pt x="2441" y="790"/>
                  <a:pt x="2441" y="792"/>
                </a:cubicBezTo>
                <a:cubicBezTo>
                  <a:pt x="2441" y="792"/>
                  <a:pt x="2440" y="793"/>
                  <a:pt x="2439" y="794"/>
                </a:cubicBezTo>
                <a:cubicBezTo>
                  <a:pt x="2438" y="795"/>
                  <a:pt x="2438" y="793"/>
                  <a:pt x="2437" y="797"/>
                </a:cubicBezTo>
                <a:cubicBezTo>
                  <a:pt x="2436" y="797"/>
                  <a:pt x="2436" y="800"/>
                  <a:pt x="2436" y="801"/>
                </a:cubicBezTo>
                <a:cubicBezTo>
                  <a:pt x="2435" y="804"/>
                  <a:pt x="2435" y="802"/>
                  <a:pt x="2432" y="802"/>
                </a:cubicBezTo>
                <a:cubicBezTo>
                  <a:pt x="2432" y="802"/>
                  <a:pt x="2431" y="804"/>
                  <a:pt x="2431" y="805"/>
                </a:cubicBezTo>
                <a:cubicBezTo>
                  <a:pt x="2431" y="806"/>
                  <a:pt x="2433" y="807"/>
                  <a:pt x="2433" y="808"/>
                </a:cubicBezTo>
                <a:cubicBezTo>
                  <a:pt x="2433" y="809"/>
                  <a:pt x="2431" y="810"/>
                  <a:pt x="2430" y="810"/>
                </a:cubicBezTo>
                <a:cubicBezTo>
                  <a:pt x="2430" y="809"/>
                  <a:pt x="2430" y="809"/>
                  <a:pt x="2430" y="809"/>
                </a:cubicBezTo>
                <a:cubicBezTo>
                  <a:pt x="2430" y="809"/>
                  <a:pt x="2430" y="809"/>
                  <a:pt x="2430" y="809"/>
                </a:cubicBezTo>
                <a:cubicBezTo>
                  <a:pt x="2430" y="809"/>
                  <a:pt x="2430" y="809"/>
                  <a:pt x="2430" y="809"/>
                </a:cubicBezTo>
                <a:cubicBezTo>
                  <a:pt x="2427" y="807"/>
                  <a:pt x="2426" y="808"/>
                  <a:pt x="2425" y="809"/>
                </a:cubicBezTo>
                <a:cubicBezTo>
                  <a:pt x="2424" y="809"/>
                  <a:pt x="2424" y="810"/>
                  <a:pt x="2424" y="810"/>
                </a:cubicBezTo>
                <a:cubicBezTo>
                  <a:pt x="2423" y="811"/>
                  <a:pt x="2423" y="811"/>
                  <a:pt x="2423" y="812"/>
                </a:cubicBezTo>
                <a:cubicBezTo>
                  <a:pt x="2423" y="812"/>
                  <a:pt x="2423" y="812"/>
                  <a:pt x="2423" y="812"/>
                </a:cubicBezTo>
                <a:cubicBezTo>
                  <a:pt x="2423" y="812"/>
                  <a:pt x="2422" y="812"/>
                  <a:pt x="2421" y="813"/>
                </a:cubicBezTo>
                <a:cubicBezTo>
                  <a:pt x="2421" y="812"/>
                  <a:pt x="2421" y="811"/>
                  <a:pt x="2421" y="811"/>
                </a:cubicBezTo>
                <a:cubicBezTo>
                  <a:pt x="2420" y="811"/>
                  <a:pt x="2420" y="811"/>
                  <a:pt x="2419" y="811"/>
                </a:cubicBezTo>
                <a:cubicBezTo>
                  <a:pt x="2419" y="812"/>
                  <a:pt x="2418" y="812"/>
                  <a:pt x="2418" y="812"/>
                </a:cubicBezTo>
                <a:cubicBezTo>
                  <a:pt x="2418" y="812"/>
                  <a:pt x="2418" y="812"/>
                  <a:pt x="2418" y="812"/>
                </a:cubicBezTo>
                <a:cubicBezTo>
                  <a:pt x="2417" y="812"/>
                  <a:pt x="2417" y="812"/>
                  <a:pt x="2417" y="812"/>
                </a:cubicBezTo>
                <a:cubicBezTo>
                  <a:pt x="2418" y="812"/>
                  <a:pt x="2418" y="812"/>
                  <a:pt x="2418" y="812"/>
                </a:cubicBezTo>
                <a:cubicBezTo>
                  <a:pt x="2418" y="813"/>
                  <a:pt x="2418" y="813"/>
                  <a:pt x="2418" y="813"/>
                </a:cubicBezTo>
                <a:cubicBezTo>
                  <a:pt x="2417" y="814"/>
                  <a:pt x="2417" y="817"/>
                  <a:pt x="2416" y="819"/>
                </a:cubicBezTo>
                <a:cubicBezTo>
                  <a:pt x="2416" y="820"/>
                  <a:pt x="2414" y="820"/>
                  <a:pt x="2414" y="820"/>
                </a:cubicBezTo>
                <a:cubicBezTo>
                  <a:pt x="2414" y="820"/>
                  <a:pt x="2412" y="824"/>
                  <a:pt x="2412" y="824"/>
                </a:cubicBezTo>
                <a:cubicBezTo>
                  <a:pt x="2409" y="828"/>
                  <a:pt x="2409" y="828"/>
                  <a:pt x="2409" y="828"/>
                </a:cubicBezTo>
                <a:cubicBezTo>
                  <a:pt x="2405" y="831"/>
                  <a:pt x="2405" y="831"/>
                  <a:pt x="2405" y="831"/>
                </a:cubicBezTo>
                <a:cubicBezTo>
                  <a:pt x="2395" y="832"/>
                  <a:pt x="2395" y="832"/>
                  <a:pt x="2395" y="832"/>
                </a:cubicBezTo>
                <a:cubicBezTo>
                  <a:pt x="2394" y="832"/>
                  <a:pt x="2392" y="836"/>
                  <a:pt x="2392" y="837"/>
                </a:cubicBezTo>
                <a:cubicBezTo>
                  <a:pt x="2391" y="838"/>
                  <a:pt x="2391" y="838"/>
                  <a:pt x="2391" y="839"/>
                </a:cubicBezTo>
                <a:cubicBezTo>
                  <a:pt x="2391" y="841"/>
                  <a:pt x="2392" y="845"/>
                  <a:pt x="2390" y="846"/>
                </a:cubicBezTo>
                <a:cubicBezTo>
                  <a:pt x="2388" y="847"/>
                  <a:pt x="2386" y="845"/>
                  <a:pt x="2384" y="845"/>
                </a:cubicBezTo>
                <a:cubicBezTo>
                  <a:pt x="2382" y="844"/>
                  <a:pt x="2381" y="845"/>
                  <a:pt x="2379" y="844"/>
                </a:cubicBezTo>
                <a:cubicBezTo>
                  <a:pt x="2378" y="843"/>
                  <a:pt x="2378" y="842"/>
                  <a:pt x="2378" y="842"/>
                </a:cubicBezTo>
                <a:cubicBezTo>
                  <a:pt x="2375" y="841"/>
                  <a:pt x="2375" y="841"/>
                  <a:pt x="2375" y="841"/>
                </a:cubicBezTo>
                <a:cubicBezTo>
                  <a:pt x="2375" y="842"/>
                  <a:pt x="2375" y="842"/>
                  <a:pt x="2375" y="842"/>
                </a:cubicBezTo>
                <a:cubicBezTo>
                  <a:pt x="2376" y="846"/>
                  <a:pt x="2376" y="846"/>
                  <a:pt x="2376" y="846"/>
                </a:cubicBezTo>
                <a:cubicBezTo>
                  <a:pt x="2376" y="846"/>
                  <a:pt x="2376" y="848"/>
                  <a:pt x="2378" y="850"/>
                </a:cubicBezTo>
                <a:cubicBezTo>
                  <a:pt x="2380" y="852"/>
                  <a:pt x="2381" y="853"/>
                  <a:pt x="2382" y="853"/>
                </a:cubicBezTo>
                <a:cubicBezTo>
                  <a:pt x="2382" y="853"/>
                  <a:pt x="2382" y="853"/>
                  <a:pt x="2382" y="853"/>
                </a:cubicBezTo>
                <a:cubicBezTo>
                  <a:pt x="2382" y="853"/>
                  <a:pt x="2380" y="852"/>
                  <a:pt x="2378" y="850"/>
                </a:cubicBezTo>
                <a:cubicBezTo>
                  <a:pt x="2375" y="848"/>
                  <a:pt x="2376" y="846"/>
                  <a:pt x="2376" y="846"/>
                </a:cubicBezTo>
                <a:cubicBezTo>
                  <a:pt x="2374" y="842"/>
                  <a:pt x="2374" y="842"/>
                  <a:pt x="2374" y="842"/>
                </a:cubicBezTo>
                <a:cubicBezTo>
                  <a:pt x="2371" y="845"/>
                  <a:pt x="2372" y="844"/>
                  <a:pt x="2370" y="848"/>
                </a:cubicBezTo>
                <a:cubicBezTo>
                  <a:pt x="2369" y="851"/>
                  <a:pt x="2369" y="851"/>
                  <a:pt x="2369" y="851"/>
                </a:cubicBezTo>
                <a:cubicBezTo>
                  <a:pt x="2369" y="857"/>
                  <a:pt x="2369" y="857"/>
                  <a:pt x="2369" y="857"/>
                </a:cubicBezTo>
                <a:cubicBezTo>
                  <a:pt x="2371" y="861"/>
                  <a:pt x="2371" y="861"/>
                  <a:pt x="2371" y="861"/>
                </a:cubicBezTo>
                <a:cubicBezTo>
                  <a:pt x="2371" y="865"/>
                  <a:pt x="2371" y="865"/>
                  <a:pt x="2371" y="865"/>
                </a:cubicBezTo>
                <a:cubicBezTo>
                  <a:pt x="2370" y="866"/>
                  <a:pt x="2370" y="866"/>
                  <a:pt x="2370" y="866"/>
                </a:cubicBezTo>
                <a:cubicBezTo>
                  <a:pt x="2372" y="870"/>
                  <a:pt x="2372" y="870"/>
                  <a:pt x="2372" y="870"/>
                </a:cubicBezTo>
                <a:cubicBezTo>
                  <a:pt x="2374" y="871"/>
                  <a:pt x="2374" y="871"/>
                  <a:pt x="2374" y="871"/>
                </a:cubicBezTo>
                <a:cubicBezTo>
                  <a:pt x="2373" y="873"/>
                  <a:pt x="2373" y="873"/>
                  <a:pt x="2373" y="873"/>
                </a:cubicBezTo>
                <a:cubicBezTo>
                  <a:pt x="2374" y="874"/>
                  <a:pt x="2374" y="874"/>
                  <a:pt x="2374" y="874"/>
                </a:cubicBezTo>
                <a:cubicBezTo>
                  <a:pt x="2374" y="878"/>
                  <a:pt x="2374" y="878"/>
                  <a:pt x="2374" y="878"/>
                </a:cubicBezTo>
                <a:cubicBezTo>
                  <a:pt x="2377" y="878"/>
                  <a:pt x="2378" y="876"/>
                  <a:pt x="2378" y="873"/>
                </a:cubicBezTo>
                <a:cubicBezTo>
                  <a:pt x="2379" y="877"/>
                  <a:pt x="2379" y="877"/>
                  <a:pt x="2379" y="877"/>
                </a:cubicBezTo>
                <a:cubicBezTo>
                  <a:pt x="2379" y="877"/>
                  <a:pt x="2378" y="882"/>
                  <a:pt x="2379" y="883"/>
                </a:cubicBezTo>
                <a:cubicBezTo>
                  <a:pt x="2381" y="885"/>
                  <a:pt x="2381" y="887"/>
                  <a:pt x="2381" y="887"/>
                </a:cubicBezTo>
                <a:cubicBezTo>
                  <a:pt x="2382" y="896"/>
                  <a:pt x="2382" y="896"/>
                  <a:pt x="2382" y="896"/>
                </a:cubicBezTo>
                <a:cubicBezTo>
                  <a:pt x="2386" y="896"/>
                  <a:pt x="2385" y="896"/>
                  <a:pt x="2388" y="898"/>
                </a:cubicBezTo>
                <a:cubicBezTo>
                  <a:pt x="2392" y="896"/>
                  <a:pt x="2392" y="896"/>
                  <a:pt x="2392" y="896"/>
                </a:cubicBezTo>
                <a:cubicBezTo>
                  <a:pt x="2393" y="897"/>
                  <a:pt x="2393" y="897"/>
                  <a:pt x="2393" y="897"/>
                </a:cubicBezTo>
                <a:cubicBezTo>
                  <a:pt x="2397" y="896"/>
                  <a:pt x="2397" y="896"/>
                  <a:pt x="2397" y="896"/>
                </a:cubicBezTo>
                <a:cubicBezTo>
                  <a:pt x="2397" y="898"/>
                  <a:pt x="2397" y="898"/>
                  <a:pt x="2397" y="898"/>
                </a:cubicBezTo>
                <a:cubicBezTo>
                  <a:pt x="2397" y="898"/>
                  <a:pt x="2398" y="902"/>
                  <a:pt x="2399" y="902"/>
                </a:cubicBezTo>
                <a:cubicBezTo>
                  <a:pt x="2402" y="901"/>
                  <a:pt x="2402" y="901"/>
                  <a:pt x="2402" y="901"/>
                </a:cubicBezTo>
                <a:cubicBezTo>
                  <a:pt x="2404" y="901"/>
                  <a:pt x="2404" y="901"/>
                  <a:pt x="2404" y="901"/>
                </a:cubicBezTo>
                <a:cubicBezTo>
                  <a:pt x="2408" y="900"/>
                  <a:pt x="2408" y="900"/>
                  <a:pt x="2408" y="900"/>
                </a:cubicBezTo>
                <a:cubicBezTo>
                  <a:pt x="2408" y="896"/>
                  <a:pt x="2408" y="896"/>
                  <a:pt x="2408" y="896"/>
                </a:cubicBezTo>
                <a:cubicBezTo>
                  <a:pt x="2412" y="900"/>
                  <a:pt x="2412" y="900"/>
                  <a:pt x="2412" y="900"/>
                </a:cubicBezTo>
                <a:cubicBezTo>
                  <a:pt x="2414" y="899"/>
                  <a:pt x="2414" y="899"/>
                  <a:pt x="2414" y="899"/>
                </a:cubicBezTo>
                <a:cubicBezTo>
                  <a:pt x="2415" y="902"/>
                  <a:pt x="2415" y="902"/>
                  <a:pt x="2415" y="902"/>
                </a:cubicBezTo>
                <a:cubicBezTo>
                  <a:pt x="2418" y="901"/>
                  <a:pt x="2418" y="901"/>
                  <a:pt x="2418" y="901"/>
                </a:cubicBezTo>
                <a:cubicBezTo>
                  <a:pt x="2420" y="901"/>
                  <a:pt x="2420" y="901"/>
                  <a:pt x="2420" y="901"/>
                </a:cubicBezTo>
                <a:cubicBezTo>
                  <a:pt x="2425" y="904"/>
                  <a:pt x="2425" y="904"/>
                  <a:pt x="2425" y="904"/>
                </a:cubicBezTo>
                <a:cubicBezTo>
                  <a:pt x="2424" y="909"/>
                  <a:pt x="2424" y="909"/>
                  <a:pt x="2424" y="909"/>
                </a:cubicBezTo>
                <a:cubicBezTo>
                  <a:pt x="2426" y="908"/>
                  <a:pt x="2428" y="908"/>
                  <a:pt x="2429" y="908"/>
                </a:cubicBezTo>
                <a:cubicBezTo>
                  <a:pt x="2430" y="907"/>
                  <a:pt x="2431" y="906"/>
                  <a:pt x="2432" y="905"/>
                </a:cubicBezTo>
                <a:cubicBezTo>
                  <a:pt x="2437" y="903"/>
                  <a:pt x="2437" y="903"/>
                  <a:pt x="2437" y="903"/>
                </a:cubicBezTo>
                <a:lnTo>
                  <a:pt x="2438" y="901"/>
                </a:lnTo>
                <a:close/>
                <a:moveTo>
                  <a:pt x="2383" y="853"/>
                </a:moveTo>
                <a:cubicBezTo>
                  <a:pt x="2382" y="853"/>
                  <a:pt x="2382" y="853"/>
                  <a:pt x="2382" y="853"/>
                </a:cubicBezTo>
                <a:cubicBezTo>
                  <a:pt x="2383" y="853"/>
                  <a:pt x="2383" y="853"/>
                  <a:pt x="2383" y="853"/>
                </a:cubicBezTo>
                <a:cubicBezTo>
                  <a:pt x="2384" y="854"/>
                  <a:pt x="2383" y="854"/>
                  <a:pt x="2384" y="854"/>
                </a:cubicBezTo>
                <a:cubicBezTo>
                  <a:pt x="2383" y="854"/>
                  <a:pt x="2383" y="854"/>
                  <a:pt x="2383" y="853"/>
                </a:cubicBezTo>
                <a:close/>
                <a:moveTo>
                  <a:pt x="2509" y="880"/>
                </a:moveTo>
                <a:cubicBezTo>
                  <a:pt x="2509" y="881"/>
                  <a:pt x="2510" y="883"/>
                  <a:pt x="2508" y="884"/>
                </a:cubicBezTo>
                <a:cubicBezTo>
                  <a:pt x="2507" y="885"/>
                  <a:pt x="2508" y="885"/>
                  <a:pt x="2507" y="885"/>
                </a:cubicBezTo>
                <a:cubicBezTo>
                  <a:pt x="2504" y="885"/>
                  <a:pt x="2509" y="881"/>
                  <a:pt x="2509" y="880"/>
                </a:cubicBezTo>
                <a:close/>
                <a:moveTo>
                  <a:pt x="2404" y="941"/>
                </a:moveTo>
                <a:cubicBezTo>
                  <a:pt x="2407" y="940"/>
                  <a:pt x="2407" y="940"/>
                  <a:pt x="2411" y="940"/>
                </a:cubicBezTo>
                <a:cubicBezTo>
                  <a:pt x="2411" y="940"/>
                  <a:pt x="2419" y="941"/>
                  <a:pt x="2419" y="941"/>
                </a:cubicBezTo>
                <a:cubicBezTo>
                  <a:pt x="2417" y="943"/>
                  <a:pt x="2417" y="942"/>
                  <a:pt x="2415" y="943"/>
                </a:cubicBezTo>
                <a:cubicBezTo>
                  <a:pt x="2413" y="944"/>
                  <a:pt x="2410" y="944"/>
                  <a:pt x="2409" y="944"/>
                </a:cubicBezTo>
                <a:cubicBezTo>
                  <a:pt x="2408" y="944"/>
                  <a:pt x="2409" y="944"/>
                  <a:pt x="2407" y="944"/>
                </a:cubicBezTo>
                <a:cubicBezTo>
                  <a:pt x="2405" y="944"/>
                  <a:pt x="2406" y="945"/>
                  <a:pt x="2404" y="941"/>
                </a:cubicBezTo>
                <a:close/>
                <a:moveTo>
                  <a:pt x="2512" y="883"/>
                </a:moveTo>
                <a:cubicBezTo>
                  <a:pt x="2511" y="884"/>
                  <a:pt x="2510" y="884"/>
                  <a:pt x="2510" y="884"/>
                </a:cubicBezTo>
                <a:cubicBezTo>
                  <a:pt x="2510" y="883"/>
                  <a:pt x="2511" y="882"/>
                  <a:pt x="2511" y="882"/>
                </a:cubicBezTo>
                <a:cubicBezTo>
                  <a:pt x="2511" y="882"/>
                  <a:pt x="2512" y="882"/>
                  <a:pt x="2512" y="882"/>
                </a:cubicBezTo>
                <a:cubicBezTo>
                  <a:pt x="2512" y="882"/>
                  <a:pt x="2513" y="883"/>
                  <a:pt x="2512" y="883"/>
                </a:cubicBezTo>
                <a:close/>
                <a:moveTo>
                  <a:pt x="2403" y="927"/>
                </a:moveTo>
                <a:cubicBezTo>
                  <a:pt x="2403" y="926"/>
                  <a:pt x="2405" y="925"/>
                  <a:pt x="2406" y="928"/>
                </a:cubicBezTo>
                <a:cubicBezTo>
                  <a:pt x="2406" y="929"/>
                  <a:pt x="2403" y="929"/>
                  <a:pt x="2403" y="927"/>
                </a:cubicBezTo>
                <a:close/>
                <a:moveTo>
                  <a:pt x="2508" y="887"/>
                </a:moveTo>
                <a:cubicBezTo>
                  <a:pt x="2508" y="887"/>
                  <a:pt x="2511" y="885"/>
                  <a:pt x="2512" y="885"/>
                </a:cubicBezTo>
                <a:cubicBezTo>
                  <a:pt x="2513" y="885"/>
                  <a:pt x="2514" y="884"/>
                  <a:pt x="2514" y="884"/>
                </a:cubicBezTo>
                <a:cubicBezTo>
                  <a:pt x="2514" y="886"/>
                  <a:pt x="2510" y="888"/>
                  <a:pt x="2508" y="887"/>
                </a:cubicBezTo>
                <a:close/>
                <a:moveTo>
                  <a:pt x="2426" y="943"/>
                </a:moveTo>
                <a:cubicBezTo>
                  <a:pt x="2425" y="944"/>
                  <a:pt x="2424" y="943"/>
                  <a:pt x="2424" y="943"/>
                </a:cubicBezTo>
                <a:cubicBezTo>
                  <a:pt x="2424" y="943"/>
                  <a:pt x="2425" y="941"/>
                  <a:pt x="2425" y="942"/>
                </a:cubicBezTo>
                <a:cubicBezTo>
                  <a:pt x="2425" y="942"/>
                  <a:pt x="2426" y="943"/>
                  <a:pt x="2426" y="943"/>
                </a:cubicBezTo>
                <a:close/>
                <a:moveTo>
                  <a:pt x="2428" y="940"/>
                </a:moveTo>
                <a:cubicBezTo>
                  <a:pt x="2428" y="940"/>
                  <a:pt x="2427" y="940"/>
                  <a:pt x="2427" y="940"/>
                </a:cubicBezTo>
                <a:cubicBezTo>
                  <a:pt x="2431" y="937"/>
                  <a:pt x="2431" y="939"/>
                  <a:pt x="2431" y="940"/>
                </a:cubicBezTo>
                <a:cubicBezTo>
                  <a:pt x="2431" y="940"/>
                  <a:pt x="2432" y="940"/>
                  <a:pt x="2431" y="941"/>
                </a:cubicBezTo>
                <a:cubicBezTo>
                  <a:pt x="2429" y="942"/>
                  <a:pt x="2429" y="941"/>
                  <a:pt x="2428" y="940"/>
                </a:cubicBezTo>
                <a:close/>
                <a:moveTo>
                  <a:pt x="2424" y="909"/>
                </a:moveTo>
                <a:cubicBezTo>
                  <a:pt x="2424" y="910"/>
                  <a:pt x="2424" y="910"/>
                  <a:pt x="2424" y="910"/>
                </a:cubicBezTo>
                <a:cubicBezTo>
                  <a:pt x="2424" y="911"/>
                  <a:pt x="2424" y="909"/>
                  <a:pt x="2424" y="909"/>
                </a:cubicBezTo>
                <a:close/>
                <a:moveTo>
                  <a:pt x="2424" y="909"/>
                </a:moveTo>
                <a:cubicBezTo>
                  <a:pt x="2424" y="909"/>
                  <a:pt x="2424" y="909"/>
                  <a:pt x="2424" y="909"/>
                </a:cubicBezTo>
                <a:cubicBezTo>
                  <a:pt x="2424" y="909"/>
                  <a:pt x="2424" y="909"/>
                  <a:pt x="2424" y="909"/>
                </a:cubicBezTo>
                <a:close/>
                <a:moveTo>
                  <a:pt x="2586" y="876"/>
                </a:moveTo>
                <a:cubicBezTo>
                  <a:pt x="2586" y="877"/>
                  <a:pt x="2586" y="878"/>
                  <a:pt x="2585" y="879"/>
                </a:cubicBezTo>
                <a:cubicBezTo>
                  <a:pt x="2583" y="879"/>
                  <a:pt x="2580" y="878"/>
                  <a:pt x="2582" y="876"/>
                </a:cubicBezTo>
                <a:cubicBezTo>
                  <a:pt x="2581" y="875"/>
                  <a:pt x="2580" y="875"/>
                  <a:pt x="2579" y="874"/>
                </a:cubicBezTo>
                <a:cubicBezTo>
                  <a:pt x="2579" y="874"/>
                  <a:pt x="2581" y="871"/>
                  <a:pt x="2582" y="872"/>
                </a:cubicBezTo>
                <a:cubicBezTo>
                  <a:pt x="2584" y="873"/>
                  <a:pt x="2585" y="872"/>
                  <a:pt x="2585" y="873"/>
                </a:cubicBezTo>
                <a:cubicBezTo>
                  <a:pt x="2585" y="874"/>
                  <a:pt x="2584" y="874"/>
                  <a:pt x="2585" y="875"/>
                </a:cubicBezTo>
                <a:cubicBezTo>
                  <a:pt x="2587" y="876"/>
                  <a:pt x="2586" y="876"/>
                  <a:pt x="2586" y="876"/>
                </a:cubicBezTo>
                <a:close/>
                <a:moveTo>
                  <a:pt x="2576" y="862"/>
                </a:moveTo>
                <a:cubicBezTo>
                  <a:pt x="2575" y="861"/>
                  <a:pt x="2575" y="861"/>
                  <a:pt x="2575" y="861"/>
                </a:cubicBezTo>
                <a:cubicBezTo>
                  <a:pt x="2578" y="858"/>
                  <a:pt x="2577" y="862"/>
                  <a:pt x="2576" y="862"/>
                </a:cubicBezTo>
                <a:close/>
                <a:moveTo>
                  <a:pt x="2572" y="877"/>
                </a:moveTo>
                <a:cubicBezTo>
                  <a:pt x="2572" y="877"/>
                  <a:pt x="2572" y="877"/>
                  <a:pt x="2572" y="877"/>
                </a:cubicBezTo>
                <a:cubicBezTo>
                  <a:pt x="2572" y="877"/>
                  <a:pt x="2572" y="876"/>
                  <a:pt x="2573" y="876"/>
                </a:cubicBezTo>
                <a:cubicBezTo>
                  <a:pt x="2575" y="877"/>
                  <a:pt x="2576" y="876"/>
                  <a:pt x="2575" y="877"/>
                </a:cubicBezTo>
                <a:cubicBezTo>
                  <a:pt x="2574" y="878"/>
                  <a:pt x="2574" y="878"/>
                  <a:pt x="2572" y="877"/>
                </a:cubicBezTo>
                <a:close/>
                <a:moveTo>
                  <a:pt x="2581" y="864"/>
                </a:moveTo>
                <a:cubicBezTo>
                  <a:pt x="2581" y="865"/>
                  <a:pt x="2581" y="866"/>
                  <a:pt x="2582" y="866"/>
                </a:cubicBezTo>
                <a:cubicBezTo>
                  <a:pt x="2583" y="867"/>
                  <a:pt x="2585" y="866"/>
                  <a:pt x="2584" y="867"/>
                </a:cubicBezTo>
                <a:cubicBezTo>
                  <a:pt x="2583" y="868"/>
                  <a:pt x="2581" y="868"/>
                  <a:pt x="2580" y="868"/>
                </a:cubicBezTo>
                <a:cubicBezTo>
                  <a:pt x="2580" y="868"/>
                  <a:pt x="2578" y="867"/>
                  <a:pt x="2578" y="867"/>
                </a:cubicBezTo>
                <a:cubicBezTo>
                  <a:pt x="2577" y="867"/>
                  <a:pt x="2576" y="864"/>
                  <a:pt x="2578" y="864"/>
                </a:cubicBezTo>
                <a:cubicBezTo>
                  <a:pt x="2581" y="864"/>
                  <a:pt x="2581" y="864"/>
                  <a:pt x="2581" y="864"/>
                </a:cubicBezTo>
                <a:close/>
                <a:moveTo>
                  <a:pt x="2573" y="884"/>
                </a:moveTo>
                <a:cubicBezTo>
                  <a:pt x="2575" y="884"/>
                  <a:pt x="2576" y="883"/>
                  <a:pt x="2578" y="883"/>
                </a:cubicBezTo>
                <a:cubicBezTo>
                  <a:pt x="2580" y="883"/>
                  <a:pt x="2581" y="882"/>
                  <a:pt x="2581" y="884"/>
                </a:cubicBezTo>
                <a:cubicBezTo>
                  <a:pt x="2580" y="887"/>
                  <a:pt x="2580" y="887"/>
                  <a:pt x="2575" y="887"/>
                </a:cubicBezTo>
                <a:cubicBezTo>
                  <a:pt x="2574" y="887"/>
                  <a:pt x="2572" y="884"/>
                  <a:pt x="2573" y="884"/>
                </a:cubicBezTo>
                <a:close/>
                <a:moveTo>
                  <a:pt x="2520" y="924"/>
                </a:moveTo>
                <a:cubicBezTo>
                  <a:pt x="2519" y="924"/>
                  <a:pt x="2519" y="924"/>
                  <a:pt x="2518" y="923"/>
                </a:cubicBezTo>
                <a:cubicBezTo>
                  <a:pt x="2520" y="921"/>
                  <a:pt x="2520" y="922"/>
                  <a:pt x="2520" y="924"/>
                </a:cubicBezTo>
                <a:close/>
                <a:moveTo>
                  <a:pt x="2529" y="837"/>
                </a:moveTo>
                <a:cubicBezTo>
                  <a:pt x="2530" y="836"/>
                  <a:pt x="2532" y="837"/>
                  <a:pt x="2531" y="839"/>
                </a:cubicBezTo>
                <a:cubicBezTo>
                  <a:pt x="2530" y="840"/>
                  <a:pt x="2528" y="838"/>
                  <a:pt x="2529" y="837"/>
                </a:cubicBezTo>
                <a:close/>
                <a:moveTo>
                  <a:pt x="2368" y="880"/>
                </a:moveTo>
                <a:cubicBezTo>
                  <a:pt x="2370" y="880"/>
                  <a:pt x="2370" y="882"/>
                  <a:pt x="2368" y="882"/>
                </a:cubicBezTo>
                <a:cubicBezTo>
                  <a:pt x="2367" y="882"/>
                  <a:pt x="2367" y="880"/>
                  <a:pt x="2368" y="880"/>
                </a:cubicBezTo>
                <a:close/>
                <a:moveTo>
                  <a:pt x="2500" y="926"/>
                </a:moveTo>
                <a:cubicBezTo>
                  <a:pt x="2501" y="923"/>
                  <a:pt x="2504" y="921"/>
                  <a:pt x="2504" y="920"/>
                </a:cubicBezTo>
                <a:cubicBezTo>
                  <a:pt x="2504" y="919"/>
                  <a:pt x="2504" y="913"/>
                  <a:pt x="2505" y="913"/>
                </a:cubicBezTo>
                <a:cubicBezTo>
                  <a:pt x="2506" y="913"/>
                  <a:pt x="2507" y="913"/>
                  <a:pt x="2507" y="913"/>
                </a:cubicBezTo>
                <a:cubicBezTo>
                  <a:pt x="2507" y="914"/>
                  <a:pt x="2508" y="915"/>
                  <a:pt x="2507" y="916"/>
                </a:cubicBezTo>
                <a:cubicBezTo>
                  <a:pt x="2507" y="917"/>
                  <a:pt x="2505" y="917"/>
                  <a:pt x="2505" y="918"/>
                </a:cubicBezTo>
                <a:cubicBezTo>
                  <a:pt x="2505" y="919"/>
                  <a:pt x="2505" y="920"/>
                  <a:pt x="2505" y="921"/>
                </a:cubicBezTo>
                <a:cubicBezTo>
                  <a:pt x="2506" y="922"/>
                  <a:pt x="2507" y="921"/>
                  <a:pt x="2507" y="921"/>
                </a:cubicBezTo>
                <a:cubicBezTo>
                  <a:pt x="2507" y="924"/>
                  <a:pt x="2506" y="923"/>
                  <a:pt x="2504" y="924"/>
                </a:cubicBezTo>
                <a:cubicBezTo>
                  <a:pt x="2504" y="924"/>
                  <a:pt x="2504" y="925"/>
                  <a:pt x="2504" y="926"/>
                </a:cubicBezTo>
                <a:cubicBezTo>
                  <a:pt x="2502" y="928"/>
                  <a:pt x="2500" y="927"/>
                  <a:pt x="2500" y="926"/>
                </a:cubicBezTo>
                <a:close/>
                <a:moveTo>
                  <a:pt x="2499" y="921"/>
                </a:moveTo>
                <a:cubicBezTo>
                  <a:pt x="2499" y="920"/>
                  <a:pt x="2500" y="920"/>
                  <a:pt x="2500" y="919"/>
                </a:cubicBezTo>
                <a:cubicBezTo>
                  <a:pt x="2500" y="919"/>
                  <a:pt x="2499" y="918"/>
                  <a:pt x="2499" y="918"/>
                </a:cubicBezTo>
                <a:cubicBezTo>
                  <a:pt x="2499" y="917"/>
                  <a:pt x="2502" y="915"/>
                  <a:pt x="2502" y="915"/>
                </a:cubicBezTo>
                <a:cubicBezTo>
                  <a:pt x="2502" y="915"/>
                  <a:pt x="2503" y="915"/>
                  <a:pt x="2503" y="916"/>
                </a:cubicBezTo>
                <a:cubicBezTo>
                  <a:pt x="2503" y="918"/>
                  <a:pt x="2503" y="920"/>
                  <a:pt x="2503" y="920"/>
                </a:cubicBezTo>
                <a:cubicBezTo>
                  <a:pt x="2503" y="920"/>
                  <a:pt x="2503" y="920"/>
                  <a:pt x="2502" y="921"/>
                </a:cubicBezTo>
                <a:cubicBezTo>
                  <a:pt x="2501" y="922"/>
                  <a:pt x="2502" y="920"/>
                  <a:pt x="2501" y="924"/>
                </a:cubicBezTo>
                <a:cubicBezTo>
                  <a:pt x="2500" y="924"/>
                  <a:pt x="2498" y="924"/>
                  <a:pt x="2499" y="921"/>
                </a:cubicBezTo>
                <a:close/>
                <a:moveTo>
                  <a:pt x="2622" y="876"/>
                </a:moveTo>
                <a:cubicBezTo>
                  <a:pt x="2622" y="875"/>
                  <a:pt x="2624" y="873"/>
                  <a:pt x="2624" y="874"/>
                </a:cubicBezTo>
                <a:cubicBezTo>
                  <a:pt x="2624" y="875"/>
                  <a:pt x="2625" y="876"/>
                  <a:pt x="2624" y="876"/>
                </a:cubicBezTo>
                <a:cubicBezTo>
                  <a:pt x="2624" y="877"/>
                  <a:pt x="2623" y="876"/>
                  <a:pt x="2622" y="876"/>
                </a:cubicBezTo>
                <a:close/>
                <a:moveTo>
                  <a:pt x="2531" y="831"/>
                </a:moveTo>
                <a:cubicBezTo>
                  <a:pt x="2531" y="830"/>
                  <a:pt x="2532" y="829"/>
                  <a:pt x="2533" y="829"/>
                </a:cubicBezTo>
                <a:cubicBezTo>
                  <a:pt x="2533" y="830"/>
                  <a:pt x="2533" y="831"/>
                  <a:pt x="2532" y="831"/>
                </a:cubicBezTo>
                <a:cubicBezTo>
                  <a:pt x="2532" y="832"/>
                  <a:pt x="2531" y="831"/>
                  <a:pt x="2531" y="831"/>
                </a:cubicBezTo>
                <a:close/>
                <a:moveTo>
                  <a:pt x="2252" y="839"/>
                </a:moveTo>
                <a:cubicBezTo>
                  <a:pt x="2252" y="839"/>
                  <a:pt x="2254" y="838"/>
                  <a:pt x="2254" y="838"/>
                </a:cubicBezTo>
                <a:cubicBezTo>
                  <a:pt x="2255" y="838"/>
                  <a:pt x="2258" y="840"/>
                  <a:pt x="2257" y="840"/>
                </a:cubicBezTo>
                <a:cubicBezTo>
                  <a:pt x="2257" y="840"/>
                  <a:pt x="2255" y="841"/>
                  <a:pt x="2255" y="841"/>
                </a:cubicBezTo>
                <a:cubicBezTo>
                  <a:pt x="2255" y="841"/>
                  <a:pt x="2252" y="839"/>
                  <a:pt x="2252" y="839"/>
                </a:cubicBezTo>
                <a:close/>
                <a:moveTo>
                  <a:pt x="2584" y="954"/>
                </a:moveTo>
                <a:cubicBezTo>
                  <a:pt x="2584" y="955"/>
                  <a:pt x="2581" y="955"/>
                  <a:pt x="2580" y="956"/>
                </a:cubicBezTo>
                <a:cubicBezTo>
                  <a:pt x="2580" y="956"/>
                  <a:pt x="2579" y="956"/>
                  <a:pt x="2579" y="956"/>
                </a:cubicBezTo>
                <a:cubicBezTo>
                  <a:pt x="2580" y="955"/>
                  <a:pt x="2581" y="954"/>
                  <a:pt x="2582" y="953"/>
                </a:cubicBezTo>
                <a:cubicBezTo>
                  <a:pt x="2582" y="953"/>
                  <a:pt x="2583" y="954"/>
                  <a:pt x="2584" y="954"/>
                </a:cubicBezTo>
                <a:close/>
                <a:moveTo>
                  <a:pt x="2587" y="910"/>
                </a:moveTo>
                <a:cubicBezTo>
                  <a:pt x="2587" y="910"/>
                  <a:pt x="2589" y="908"/>
                  <a:pt x="2589" y="908"/>
                </a:cubicBezTo>
                <a:cubicBezTo>
                  <a:pt x="2593" y="909"/>
                  <a:pt x="2587" y="910"/>
                  <a:pt x="2587" y="910"/>
                </a:cubicBezTo>
                <a:close/>
                <a:moveTo>
                  <a:pt x="2585" y="906"/>
                </a:moveTo>
                <a:cubicBezTo>
                  <a:pt x="2585" y="906"/>
                  <a:pt x="2587" y="906"/>
                  <a:pt x="2587" y="906"/>
                </a:cubicBezTo>
                <a:cubicBezTo>
                  <a:pt x="2586" y="908"/>
                  <a:pt x="2586" y="907"/>
                  <a:pt x="2585" y="906"/>
                </a:cubicBezTo>
                <a:close/>
                <a:moveTo>
                  <a:pt x="2590" y="937"/>
                </a:moveTo>
                <a:cubicBezTo>
                  <a:pt x="2593" y="938"/>
                  <a:pt x="2591" y="938"/>
                  <a:pt x="2589" y="940"/>
                </a:cubicBezTo>
                <a:cubicBezTo>
                  <a:pt x="2589" y="940"/>
                  <a:pt x="2589" y="940"/>
                  <a:pt x="2588" y="940"/>
                </a:cubicBezTo>
                <a:cubicBezTo>
                  <a:pt x="2588" y="940"/>
                  <a:pt x="2588" y="940"/>
                  <a:pt x="2588" y="940"/>
                </a:cubicBezTo>
                <a:cubicBezTo>
                  <a:pt x="2589" y="939"/>
                  <a:pt x="2590" y="938"/>
                  <a:pt x="2590" y="937"/>
                </a:cubicBezTo>
                <a:close/>
                <a:moveTo>
                  <a:pt x="2567" y="952"/>
                </a:moveTo>
                <a:cubicBezTo>
                  <a:pt x="2567" y="952"/>
                  <a:pt x="2568" y="952"/>
                  <a:pt x="2568" y="952"/>
                </a:cubicBezTo>
                <a:cubicBezTo>
                  <a:pt x="2569" y="951"/>
                  <a:pt x="2571" y="949"/>
                  <a:pt x="2571" y="950"/>
                </a:cubicBezTo>
                <a:cubicBezTo>
                  <a:pt x="2572" y="951"/>
                  <a:pt x="2573" y="954"/>
                  <a:pt x="2572" y="954"/>
                </a:cubicBezTo>
                <a:cubicBezTo>
                  <a:pt x="2569" y="954"/>
                  <a:pt x="2568" y="955"/>
                  <a:pt x="2567" y="952"/>
                </a:cubicBezTo>
                <a:close/>
                <a:moveTo>
                  <a:pt x="2260" y="850"/>
                </a:moveTo>
                <a:cubicBezTo>
                  <a:pt x="2261" y="850"/>
                  <a:pt x="2262" y="854"/>
                  <a:pt x="2262" y="854"/>
                </a:cubicBezTo>
                <a:cubicBezTo>
                  <a:pt x="2262" y="855"/>
                  <a:pt x="2261" y="857"/>
                  <a:pt x="2261" y="857"/>
                </a:cubicBezTo>
                <a:cubicBezTo>
                  <a:pt x="2261" y="857"/>
                  <a:pt x="2257" y="857"/>
                  <a:pt x="2257" y="855"/>
                </a:cubicBezTo>
                <a:cubicBezTo>
                  <a:pt x="2256" y="853"/>
                  <a:pt x="2253" y="849"/>
                  <a:pt x="2253" y="848"/>
                </a:cubicBezTo>
                <a:cubicBezTo>
                  <a:pt x="2253" y="848"/>
                  <a:pt x="2254" y="847"/>
                  <a:pt x="2255" y="847"/>
                </a:cubicBezTo>
                <a:cubicBezTo>
                  <a:pt x="2258" y="846"/>
                  <a:pt x="2257" y="846"/>
                  <a:pt x="2260" y="850"/>
                </a:cubicBezTo>
                <a:close/>
                <a:moveTo>
                  <a:pt x="2436" y="940"/>
                </a:moveTo>
                <a:cubicBezTo>
                  <a:pt x="2436" y="940"/>
                  <a:pt x="2436" y="941"/>
                  <a:pt x="2436" y="942"/>
                </a:cubicBezTo>
                <a:cubicBezTo>
                  <a:pt x="2436" y="942"/>
                  <a:pt x="2435" y="942"/>
                  <a:pt x="2435" y="941"/>
                </a:cubicBezTo>
                <a:cubicBezTo>
                  <a:pt x="2435" y="941"/>
                  <a:pt x="2435" y="940"/>
                  <a:pt x="2436" y="940"/>
                </a:cubicBezTo>
                <a:close/>
                <a:moveTo>
                  <a:pt x="2570" y="937"/>
                </a:moveTo>
                <a:cubicBezTo>
                  <a:pt x="2571" y="937"/>
                  <a:pt x="2572" y="939"/>
                  <a:pt x="2571" y="939"/>
                </a:cubicBezTo>
                <a:cubicBezTo>
                  <a:pt x="2571" y="939"/>
                  <a:pt x="2569" y="939"/>
                  <a:pt x="2568" y="939"/>
                </a:cubicBezTo>
                <a:cubicBezTo>
                  <a:pt x="2568" y="938"/>
                  <a:pt x="2569" y="937"/>
                  <a:pt x="2570" y="937"/>
                </a:cubicBezTo>
                <a:close/>
                <a:moveTo>
                  <a:pt x="2574" y="949"/>
                </a:moveTo>
                <a:cubicBezTo>
                  <a:pt x="2575" y="949"/>
                  <a:pt x="2575" y="950"/>
                  <a:pt x="2575" y="950"/>
                </a:cubicBezTo>
                <a:cubicBezTo>
                  <a:pt x="2574" y="951"/>
                  <a:pt x="2573" y="950"/>
                  <a:pt x="2573" y="949"/>
                </a:cubicBezTo>
                <a:cubicBezTo>
                  <a:pt x="2573" y="949"/>
                  <a:pt x="2574" y="948"/>
                  <a:pt x="2574" y="949"/>
                </a:cubicBezTo>
                <a:close/>
                <a:moveTo>
                  <a:pt x="2583" y="950"/>
                </a:moveTo>
                <a:cubicBezTo>
                  <a:pt x="2583" y="949"/>
                  <a:pt x="2585" y="946"/>
                  <a:pt x="2585" y="946"/>
                </a:cubicBezTo>
                <a:cubicBezTo>
                  <a:pt x="2588" y="946"/>
                  <a:pt x="2587" y="939"/>
                  <a:pt x="2592" y="944"/>
                </a:cubicBezTo>
                <a:cubicBezTo>
                  <a:pt x="2589" y="948"/>
                  <a:pt x="2588" y="945"/>
                  <a:pt x="2587" y="947"/>
                </a:cubicBezTo>
                <a:cubicBezTo>
                  <a:pt x="2587" y="949"/>
                  <a:pt x="2586" y="951"/>
                  <a:pt x="2585" y="951"/>
                </a:cubicBezTo>
                <a:cubicBezTo>
                  <a:pt x="2584" y="952"/>
                  <a:pt x="2583" y="951"/>
                  <a:pt x="2583" y="950"/>
                </a:cubicBezTo>
                <a:close/>
                <a:moveTo>
                  <a:pt x="2630" y="871"/>
                </a:moveTo>
                <a:cubicBezTo>
                  <a:pt x="2636" y="872"/>
                  <a:pt x="2633" y="875"/>
                  <a:pt x="2636" y="876"/>
                </a:cubicBezTo>
                <a:cubicBezTo>
                  <a:pt x="2637" y="876"/>
                  <a:pt x="2640" y="876"/>
                  <a:pt x="2637" y="877"/>
                </a:cubicBezTo>
                <a:cubicBezTo>
                  <a:pt x="2635" y="877"/>
                  <a:pt x="2633" y="878"/>
                  <a:pt x="2632" y="877"/>
                </a:cubicBezTo>
                <a:cubicBezTo>
                  <a:pt x="2631" y="875"/>
                  <a:pt x="2630" y="873"/>
                  <a:pt x="2630" y="873"/>
                </a:cubicBezTo>
                <a:cubicBezTo>
                  <a:pt x="2629" y="873"/>
                  <a:pt x="2627" y="872"/>
                  <a:pt x="2627" y="872"/>
                </a:cubicBezTo>
                <a:cubicBezTo>
                  <a:pt x="2627" y="872"/>
                  <a:pt x="2626" y="870"/>
                  <a:pt x="2630" y="871"/>
                </a:cubicBezTo>
                <a:close/>
                <a:moveTo>
                  <a:pt x="2346" y="896"/>
                </a:moveTo>
                <a:cubicBezTo>
                  <a:pt x="2346" y="897"/>
                  <a:pt x="2347" y="897"/>
                  <a:pt x="2347" y="897"/>
                </a:cubicBezTo>
                <a:cubicBezTo>
                  <a:pt x="2347" y="898"/>
                  <a:pt x="2346" y="898"/>
                  <a:pt x="2345" y="898"/>
                </a:cubicBezTo>
                <a:cubicBezTo>
                  <a:pt x="2344" y="897"/>
                  <a:pt x="2344" y="896"/>
                  <a:pt x="2343" y="895"/>
                </a:cubicBezTo>
                <a:cubicBezTo>
                  <a:pt x="2342" y="894"/>
                  <a:pt x="2340" y="895"/>
                  <a:pt x="2340" y="894"/>
                </a:cubicBezTo>
                <a:cubicBezTo>
                  <a:pt x="2339" y="894"/>
                  <a:pt x="2340" y="892"/>
                  <a:pt x="2339" y="891"/>
                </a:cubicBezTo>
                <a:cubicBezTo>
                  <a:pt x="2339" y="890"/>
                  <a:pt x="2339" y="889"/>
                  <a:pt x="2338" y="887"/>
                </a:cubicBezTo>
                <a:cubicBezTo>
                  <a:pt x="2335" y="886"/>
                  <a:pt x="2334" y="887"/>
                  <a:pt x="2331" y="886"/>
                </a:cubicBezTo>
                <a:cubicBezTo>
                  <a:pt x="2331" y="886"/>
                  <a:pt x="2332" y="884"/>
                  <a:pt x="2333" y="884"/>
                </a:cubicBezTo>
                <a:cubicBezTo>
                  <a:pt x="2333" y="883"/>
                  <a:pt x="2334" y="884"/>
                  <a:pt x="2334" y="884"/>
                </a:cubicBezTo>
                <a:cubicBezTo>
                  <a:pt x="2335" y="884"/>
                  <a:pt x="2334" y="883"/>
                  <a:pt x="2334" y="883"/>
                </a:cubicBezTo>
                <a:cubicBezTo>
                  <a:pt x="2334" y="883"/>
                  <a:pt x="2335" y="880"/>
                  <a:pt x="2336" y="880"/>
                </a:cubicBezTo>
                <a:cubicBezTo>
                  <a:pt x="2336" y="880"/>
                  <a:pt x="2337" y="881"/>
                  <a:pt x="2337" y="882"/>
                </a:cubicBezTo>
                <a:cubicBezTo>
                  <a:pt x="2338" y="883"/>
                  <a:pt x="2339" y="879"/>
                  <a:pt x="2339" y="880"/>
                </a:cubicBezTo>
                <a:cubicBezTo>
                  <a:pt x="2339" y="880"/>
                  <a:pt x="2341" y="880"/>
                  <a:pt x="2341" y="880"/>
                </a:cubicBezTo>
                <a:cubicBezTo>
                  <a:pt x="2341" y="881"/>
                  <a:pt x="2343" y="886"/>
                  <a:pt x="2343" y="886"/>
                </a:cubicBezTo>
                <a:cubicBezTo>
                  <a:pt x="2343" y="887"/>
                  <a:pt x="2343" y="889"/>
                  <a:pt x="2343" y="890"/>
                </a:cubicBezTo>
                <a:cubicBezTo>
                  <a:pt x="2344" y="891"/>
                  <a:pt x="2345" y="891"/>
                  <a:pt x="2346" y="891"/>
                </a:cubicBezTo>
                <a:cubicBezTo>
                  <a:pt x="2347" y="891"/>
                  <a:pt x="2348" y="891"/>
                  <a:pt x="2348" y="891"/>
                </a:cubicBezTo>
                <a:cubicBezTo>
                  <a:pt x="2349" y="893"/>
                  <a:pt x="2345" y="893"/>
                  <a:pt x="2346" y="896"/>
                </a:cubicBezTo>
                <a:close/>
                <a:moveTo>
                  <a:pt x="2327" y="869"/>
                </a:moveTo>
                <a:cubicBezTo>
                  <a:pt x="2326" y="870"/>
                  <a:pt x="2325" y="871"/>
                  <a:pt x="2324" y="871"/>
                </a:cubicBezTo>
                <a:cubicBezTo>
                  <a:pt x="2324" y="871"/>
                  <a:pt x="2324" y="870"/>
                  <a:pt x="2324" y="869"/>
                </a:cubicBezTo>
                <a:cubicBezTo>
                  <a:pt x="2323" y="869"/>
                  <a:pt x="2323" y="869"/>
                  <a:pt x="2323" y="868"/>
                </a:cubicBezTo>
                <a:cubicBezTo>
                  <a:pt x="2323" y="868"/>
                  <a:pt x="2324" y="867"/>
                  <a:pt x="2325" y="867"/>
                </a:cubicBezTo>
                <a:cubicBezTo>
                  <a:pt x="2327" y="867"/>
                  <a:pt x="2326" y="868"/>
                  <a:pt x="2327" y="869"/>
                </a:cubicBezTo>
                <a:close/>
                <a:moveTo>
                  <a:pt x="2355" y="898"/>
                </a:moveTo>
                <a:cubicBezTo>
                  <a:pt x="2355" y="897"/>
                  <a:pt x="2356" y="897"/>
                  <a:pt x="2355" y="897"/>
                </a:cubicBezTo>
                <a:cubicBezTo>
                  <a:pt x="2355" y="896"/>
                  <a:pt x="2353" y="896"/>
                  <a:pt x="2354" y="895"/>
                </a:cubicBezTo>
                <a:cubicBezTo>
                  <a:pt x="2354" y="894"/>
                  <a:pt x="2356" y="894"/>
                  <a:pt x="2357" y="894"/>
                </a:cubicBezTo>
                <a:cubicBezTo>
                  <a:pt x="2357" y="891"/>
                  <a:pt x="2357" y="892"/>
                  <a:pt x="2361" y="892"/>
                </a:cubicBezTo>
                <a:cubicBezTo>
                  <a:pt x="2361" y="893"/>
                  <a:pt x="2361" y="894"/>
                  <a:pt x="2362" y="894"/>
                </a:cubicBezTo>
                <a:cubicBezTo>
                  <a:pt x="2362" y="894"/>
                  <a:pt x="2362" y="897"/>
                  <a:pt x="2362" y="897"/>
                </a:cubicBezTo>
                <a:cubicBezTo>
                  <a:pt x="2361" y="897"/>
                  <a:pt x="2360" y="899"/>
                  <a:pt x="2360" y="899"/>
                </a:cubicBezTo>
                <a:cubicBezTo>
                  <a:pt x="2359" y="898"/>
                  <a:pt x="2359" y="898"/>
                  <a:pt x="2358" y="898"/>
                </a:cubicBezTo>
                <a:cubicBezTo>
                  <a:pt x="2357" y="898"/>
                  <a:pt x="2356" y="901"/>
                  <a:pt x="2355" y="898"/>
                </a:cubicBezTo>
                <a:close/>
                <a:moveTo>
                  <a:pt x="2328" y="865"/>
                </a:moveTo>
                <a:cubicBezTo>
                  <a:pt x="2327" y="865"/>
                  <a:pt x="2327" y="866"/>
                  <a:pt x="2326" y="866"/>
                </a:cubicBezTo>
                <a:cubicBezTo>
                  <a:pt x="2324" y="866"/>
                  <a:pt x="2325" y="865"/>
                  <a:pt x="2325" y="864"/>
                </a:cubicBezTo>
                <a:cubicBezTo>
                  <a:pt x="2325" y="864"/>
                  <a:pt x="2325" y="864"/>
                  <a:pt x="2324" y="863"/>
                </a:cubicBezTo>
                <a:cubicBezTo>
                  <a:pt x="2324" y="863"/>
                  <a:pt x="2324" y="862"/>
                  <a:pt x="2325" y="862"/>
                </a:cubicBezTo>
                <a:cubicBezTo>
                  <a:pt x="2325" y="862"/>
                  <a:pt x="2325" y="862"/>
                  <a:pt x="2326" y="863"/>
                </a:cubicBezTo>
                <a:cubicBezTo>
                  <a:pt x="2326" y="863"/>
                  <a:pt x="2326" y="863"/>
                  <a:pt x="2327" y="863"/>
                </a:cubicBezTo>
                <a:cubicBezTo>
                  <a:pt x="2331" y="866"/>
                  <a:pt x="2331" y="865"/>
                  <a:pt x="2330" y="867"/>
                </a:cubicBezTo>
                <a:cubicBezTo>
                  <a:pt x="2330" y="867"/>
                  <a:pt x="2329" y="867"/>
                  <a:pt x="2329" y="867"/>
                </a:cubicBezTo>
                <a:cubicBezTo>
                  <a:pt x="2329" y="867"/>
                  <a:pt x="2328" y="865"/>
                  <a:pt x="2328" y="865"/>
                </a:cubicBezTo>
                <a:close/>
                <a:moveTo>
                  <a:pt x="2247" y="836"/>
                </a:moveTo>
                <a:cubicBezTo>
                  <a:pt x="2247" y="837"/>
                  <a:pt x="2246" y="837"/>
                  <a:pt x="2246" y="837"/>
                </a:cubicBezTo>
                <a:cubicBezTo>
                  <a:pt x="2246" y="837"/>
                  <a:pt x="2245" y="836"/>
                  <a:pt x="2244" y="836"/>
                </a:cubicBezTo>
                <a:cubicBezTo>
                  <a:pt x="2244" y="835"/>
                  <a:pt x="2242" y="834"/>
                  <a:pt x="2242" y="834"/>
                </a:cubicBezTo>
                <a:cubicBezTo>
                  <a:pt x="2241" y="834"/>
                  <a:pt x="2238" y="833"/>
                  <a:pt x="2238" y="832"/>
                </a:cubicBezTo>
                <a:cubicBezTo>
                  <a:pt x="2239" y="831"/>
                  <a:pt x="2240" y="831"/>
                  <a:pt x="2241" y="831"/>
                </a:cubicBezTo>
                <a:cubicBezTo>
                  <a:pt x="2241" y="831"/>
                  <a:pt x="2243" y="833"/>
                  <a:pt x="2244" y="834"/>
                </a:cubicBezTo>
                <a:cubicBezTo>
                  <a:pt x="2245" y="835"/>
                  <a:pt x="2246" y="836"/>
                  <a:pt x="2247" y="836"/>
                </a:cubicBezTo>
                <a:close/>
                <a:moveTo>
                  <a:pt x="2632" y="882"/>
                </a:moveTo>
                <a:cubicBezTo>
                  <a:pt x="2634" y="882"/>
                  <a:pt x="2636" y="883"/>
                  <a:pt x="2638" y="883"/>
                </a:cubicBezTo>
                <a:cubicBezTo>
                  <a:pt x="2639" y="883"/>
                  <a:pt x="2640" y="883"/>
                  <a:pt x="2640" y="884"/>
                </a:cubicBezTo>
                <a:cubicBezTo>
                  <a:pt x="2640" y="885"/>
                  <a:pt x="2643" y="885"/>
                  <a:pt x="2640" y="886"/>
                </a:cubicBezTo>
                <a:cubicBezTo>
                  <a:pt x="2638" y="886"/>
                  <a:pt x="2637" y="886"/>
                  <a:pt x="2635" y="886"/>
                </a:cubicBezTo>
                <a:cubicBezTo>
                  <a:pt x="2632" y="886"/>
                  <a:pt x="2632" y="885"/>
                  <a:pt x="2632" y="885"/>
                </a:cubicBezTo>
                <a:cubicBezTo>
                  <a:pt x="2628" y="882"/>
                  <a:pt x="2625" y="881"/>
                  <a:pt x="2632" y="882"/>
                </a:cubicBezTo>
                <a:close/>
                <a:moveTo>
                  <a:pt x="2319" y="867"/>
                </a:moveTo>
                <a:cubicBezTo>
                  <a:pt x="2319" y="867"/>
                  <a:pt x="2318" y="868"/>
                  <a:pt x="2318" y="868"/>
                </a:cubicBezTo>
                <a:cubicBezTo>
                  <a:pt x="2316" y="868"/>
                  <a:pt x="2317" y="869"/>
                  <a:pt x="2316" y="867"/>
                </a:cubicBezTo>
                <a:cubicBezTo>
                  <a:pt x="2316" y="866"/>
                  <a:pt x="2317" y="866"/>
                  <a:pt x="2317" y="866"/>
                </a:cubicBezTo>
                <a:cubicBezTo>
                  <a:pt x="2318" y="866"/>
                  <a:pt x="2319" y="867"/>
                  <a:pt x="2319" y="867"/>
                </a:cubicBezTo>
                <a:close/>
                <a:moveTo>
                  <a:pt x="2315" y="853"/>
                </a:moveTo>
                <a:cubicBezTo>
                  <a:pt x="2316" y="853"/>
                  <a:pt x="2317" y="854"/>
                  <a:pt x="2317" y="855"/>
                </a:cubicBezTo>
                <a:cubicBezTo>
                  <a:pt x="2316" y="857"/>
                  <a:pt x="2316" y="857"/>
                  <a:pt x="2314" y="856"/>
                </a:cubicBezTo>
                <a:cubicBezTo>
                  <a:pt x="2314" y="856"/>
                  <a:pt x="2315" y="856"/>
                  <a:pt x="2315" y="855"/>
                </a:cubicBezTo>
                <a:cubicBezTo>
                  <a:pt x="2315" y="855"/>
                  <a:pt x="2315" y="853"/>
                  <a:pt x="2315" y="853"/>
                </a:cubicBezTo>
                <a:close/>
                <a:moveTo>
                  <a:pt x="2592" y="913"/>
                </a:moveTo>
                <a:cubicBezTo>
                  <a:pt x="2591" y="914"/>
                  <a:pt x="2591" y="914"/>
                  <a:pt x="2590" y="914"/>
                </a:cubicBezTo>
                <a:cubicBezTo>
                  <a:pt x="2590" y="913"/>
                  <a:pt x="2590" y="913"/>
                  <a:pt x="2590" y="913"/>
                </a:cubicBezTo>
                <a:lnTo>
                  <a:pt x="2592" y="913"/>
                </a:lnTo>
                <a:close/>
                <a:moveTo>
                  <a:pt x="2548" y="947"/>
                </a:moveTo>
                <a:cubicBezTo>
                  <a:pt x="2550" y="946"/>
                  <a:pt x="2551" y="950"/>
                  <a:pt x="2548" y="949"/>
                </a:cubicBezTo>
                <a:cubicBezTo>
                  <a:pt x="2545" y="949"/>
                  <a:pt x="2547" y="947"/>
                  <a:pt x="2548" y="947"/>
                </a:cubicBezTo>
                <a:close/>
                <a:moveTo>
                  <a:pt x="2550" y="883"/>
                </a:moveTo>
                <a:cubicBezTo>
                  <a:pt x="2548" y="878"/>
                  <a:pt x="2551" y="881"/>
                  <a:pt x="2551" y="880"/>
                </a:cubicBezTo>
                <a:cubicBezTo>
                  <a:pt x="2551" y="879"/>
                  <a:pt x="2551" y="878"/>
                  <a:pt x="2551" y="878"/>
                </a:cubicBezTo>
                <a:cubicBezTo>
                  <a:pt x="2551" y="877"/>
                  <a:pt x="2552" y="877"/>
                  <a:pt x="2552" y="877"/>
                </a:cubicBezTo>
                <a:cubicBezTo>
                  <a:pt x="2553" y="877"/>
                  <a:pt x="2553" y="878"/>
                  <a:pt x="2553" y="879"/>
                </a:cubicBezTo>
                <a:cubicBezTo>
                  <a:pt x="2554" y="881"/>
                  <a:pt x="2557" y="880"/>
                  <a:pt x="2558" y="881"/>
                </a:cubicBezTo>
                <a:cubicBezTo>
                  <a:pt x="2558" y="881"/>
                  <a:pt x="2559" y="883"/>
                  <a:pt x="2556" y="883"/>
                </a:cubicBezTo>
                <a:cubicBezTo>
                  <a:pt x="2553" y="883"/>
                  <a:pt x="2551" y="882"/>
                  <a:pt x="2550" y="883"/>
                </a:cubicBezTo>
                <a:close/>
                <a:moveTo>
                  <a:pt x="2550" y="953"/>
                </a:moveTo>
                <a:cubicBezTo>
                  <a:pt x="2551" y="953"/>
                  <a:pt x="2554" y="952"/>
                  <a:pt x="2553" y="954"/>
                </a:cubicBezTo>
                <a:cubicBezTo>
                  <a:pt x="2553" y="956"/>
                  <a:pt x="2553" y="956"/>
                  <a:pt x="2552" y="956"/>
                </a:cubicBezTo>
                <a:cubicBezTo>
                  <a:pt x="2551" y="956"/>
                  <a:pt x="2550" y="953"/>
                  <a:pt x="2550" y="953"/>
                </a:cubicBezTo>
                <a:close/>
                <a:moveTo>
                  <a:pt x="2544" y="906"/>
                </a:moveTo>
                <a:cubicBezTo>
                  <a:pt x="2540" y="906"/>
                  <a:pt x="2540" y="907"/>
                  <a:pt x="2539" y="905"/>
                </a:cubicBezTo>
                <a:cubicBezTo>
                  <a:pt x="2534" y="901"/>
                  <a:pt x="2535" y="903"/>
                  <a:pt x="2535" y="898"/>
                </a:cubicBezTo>
                <a:cubicBezTo>
                  <a:pt x="2536" y="898"/>
                  <a:pt x="2537" y="899"/>
                  <a:pt x="2538" y="899"/>
                </a:cubicBezTo>
                <a:cubicBezTo>
                  <a:pt x="2542" y="897"/>
                  <a:pt x="2540" y="898"/>
                  <a:pt x="2544" y="898"/>
                </a:cubicBezTo>
                <a:cubicBezTo>
                  <a:pt x="2544" y="898"/>
                  <a:pt x="2545" y="898"/>
                  <a:pt x="2546" y="899"/>
                </a:cubicBezTo>
                <a:cubicBezTo>
                  <a:pt x="2546" y="900"/>
                  <a:pt x="2548" y="903"/>
                  <a:pt x="2547" y="904"/>
                </a:cubicBezTo>
                <a:cubicBezTo>
                  <a:pt x="2546" y="904"/>
                  <a:pt x="2546" y="906"/>
                  <a:pt x="2544" y="906"/>
                </a:cubicBezTo>
                <a:close/>
                <a:moveTo>
                  <a:pt x="2555" y="898"/>
                </a:moveTo>
                <a:cubicBezTo>
                  <a:pt x="2555" y="900"/>
                  <a:pt x="2556" y="902"/>
                  <a:pt x="2554" y="903"/>
                </a:cubicBezTo>
                <a:cubicBezTo>
                  <a:pt x="2553" y="902"/>
                  <a:pt x="2553" y="900"/>
                  <a:pt x="2553" y="899"/>
                </a:cubicBezTo>
                <a:cubicBezTo>
                  <a:pt x="2553" y="899"/>
                  <a:pt x="2555" y="897"/>
                  <a:pt x="2555" y="898"/>
                </a:cubicBezTo>
                <a:close/>
                <a:moveTo>
                  <a:pt x="2266" y="863"/>
                </a:moveTo>
                <a:cubicBezTo>
                  <a:pt x="2267" y="863"/>
                  <a:pt x="2268" y="868"/>
                  <a:pt x="2268" y="868"/>
                </a:cubicBezTo>
                <a:cubicBezTo>
                  <a:pt x="2268" y="869"/>
                  <a:pt x="2267" y="870"/>
                  <a:pt x="2266" y="869"/>
                </a:cubicBezTo>
                <a:cubicBezTo>
                  <a:pt x="2266" y="869"/>
                  <a:pt x="2265" y="864"/>
                  <a:pt x="2265" y="864"/>
                </a:cubicBezTo>
                <a:cubicBezTo>
                  <a:pt x="2265" y="863"/>
                  <a:pt x="2266" y="862"/>
                  <a:pt x="2266" y="863"/>
                </a:cubicBezTo>
                <a:close/>
                <a:moveTo>
                  <a:pt x="2464" y="970"/>
                </a:moveTo>
                <a:cubicBezTo>
                  <a:pt x="2463" y="969"/>
                  <a:pt x="2464" y="968"/>
                  <a:pt x="2465" y="968"/>
                </a:cubicBezTo>
                <a:cubicBezTo>
                  <a:pt x="2466" y="967"/>
                  <a:pt x="2467" y="968"/>
                  <a:pt x="2468" y="968"/>
                </a:cubicBezTo>
                <a:cubicBezTo>
                  <a:pt x="2473" y="967"/>
                  <a:pt x="2473" y="967"/>
                  <a:pt x="2473" y="967"/>
                </a:cubicBezTo>
                <a:cubicBezTo>
                  <a:pt x="2474" y="968"/>
                  <a:pt x="2475" y="970"/>
                  <a:pt x="2477" y="970"/>
                </a:cubicBezTo>
                <a:cubicBezTo>
                  <a:pt x="2478" y="970"/>
                  <a:pt x="2478" y="972"/>
                  <a:pt x="2479" y="974"/>
                </a:cubicBezTo>
                <a:cubicBezTo>
                  <a:pt x="2479" y="974"/>
                  <a:pt x="2481" y="974"/>
                  <a:pt x="2481" y="975"/>
                </a:cubicBezTo>
                <a:cubicBezTo>
                  <a:pt x="2481" y="976"/>
                  <a:pt x="2480" y="978"/>
                  <a:pt x="2479" y="978"/>
                </a:cubicBezTo>
                <a:cubicBezTo>
                  <a:pt x="2478" y="978"/>
                  <a:pt x="2476" y="979"/>
                  <a:pt x="2475" y="978"/>
                </a:cubicBezTo>
                <a:cubicBezTo>
                  <a:pt x="2474" y="977"/>
                  <a:pt x="2475" y="978"/>
                  <a:pt x="2472" y="975"/>
                </a:cubicBezTo>
                <a:cubicBezTo>
                  <a:pt x="2468" y="970"/>
                  <a:pt x="2469" y="972"/>
                  <a:pt x="2466" y="971"/>
                </a:cubicBezTo>
                <a:cubicBezTo>
                  <a:pt x="2465" y="971"/>
                  <a:pt x="2464" y="971"/>
                  <a:pt x="2464" y="970"/>
                </a:cubicBezTo>
                <a:close/>
                <a:moveTo>
                  <a:pt x="2374" y="951"/>
                </a:moveTo>
                <a:cubicBezTo>
                  <a:pt x="2373" y="951"/>
                  <a:pt x="2367" y="949"/>
                  <a:pt x="2367" y="949"/>
                </a:cubicBezTo>
                <a:cubicBezTo>
                  <a:pt x="2367" y="949"/>
                  <a:pt x="2366" y="949"/>
                  <a:pt x="2365" y="949"/>
                </a:cubicBezTo>
                <a:cubicBezTo>
                  <a:pt x="2358" y="950"/>
                  <a:pt x="2362" y="952"/>
                  <a:pt x="2351" y="947"/>
                </a:cubicBezTo>
                <a:cubicBezTo>
                  <a:pt x="2351" y="947"/>
                  <a:pt x="2347" y="946"/>
                  <a:pt x="2345" y="946"/>
                </a:cubicBezTo>
                <a:cubicBezTo>
                  <a:pt x="2344" y="946"/>
                  <a:pt x="2343" y="945"/>
                  <a:pt x="2343" y="945"/>
                </a:cubicBezTo>
                <a:cubicBezTo>
                  <a:pt x="2343" y="944"/>
                  <a:pt x="2345" y="942"/>
                  <a:pt x="2344" y="941"/>
                </a:cubicBezTo>
                <a:cubicBezTo>
                  <a:pt x="2343" y="940"/>
                  <a:pt x="2341" y="941"/>
                  <a:pt x="2340" y="940"/>
                </a:cubicBezTo>
                <a:cubicBezTo>
                  <a:pt x="2338" y="940"/>
                  <a:pt x="2336" y="939"/>
                  <a:pt x="2334" y="938"/>
                </a:cubicBezTo>
                <a:cubicBezTo>
                  <a:pt x="2333" y="938"/>
                  <a:pt x="2332" y="939"/>
                  <a:pt x="2332" y="938"/>
                </a:cubicBezTo>
                <a:cubicBezTo>
                  <a:pt x="2333" y="937"/>
                  <a:pt x="2335" y="936"/>
                  <a:pt x="2336" y="935"/>
                </a:cubicBezTo>
                <a:cubicBezTo>
                  <a:pt x="2336" y="935"/>
                  <a:pt x="2337" y="933"/>
                  <a:pt x="2338" y="932"/>
                </a:cubicBezTo>
                <a:cubicBezTo>
                  <a:pt x="2338" y="931"/>
                  <a:pt x="2337" y="930"/>
                  <a:pt x="2339" y="930"/>
                </a:cubicBezTo>
                <a:cubicBezTo>
                  <a:pt x="2342" y="930"/>
                  <a:pt x="2347" y="931"/>
                  <a:pt x="2347" y="931"/>
                </a:cubicBezTo>
                <a:cubicBezTo>
                  <a:pt x="2348" y="931"/>
                  <a:pt x="2349" y="930"/>
                  <a:pt x="2350" y="930"/>
                </a:cubicBezTo>
                <a:cubicBezTo>
                  <a:pt x="2351" y="930"/>
                  <a:pt x="2352" y="930"/>
                  <a:pt x="2353" y="930"/>
                </a:cubicBezTo>
                <a:cubicBezTo>
                  <a:pt x="2355" y="934"/>
                  <a:pt x="2356" y="934"/>
                  <a:pt x="2358" y="932"/>
                </a:cubicBezTo>
                <a:cubicBezTo>
                  <a:pt x="2359" y="933"/>
                  <a:pt x="2359" y="934"/>
                  <a:pt x="2359" y="934"/>
                </a:cubicBezTo>
                <a:cubicBezTo>
                  <a:pt x="2359" y="934"/>
                  <a:pt x="2362" y="932"/>
                  <a:pt x="2362" y="933"/>
                </a:cubicBezTo>
                <a:cubicBezTo>
                  <a:pt x="2362" y="935"/>
                  <a:pt x="2365" y="939"/>
                  <a:pt x="2366" y="940"/>
                </a:cubicBezTo>
                <a:cubicBezTo>
                  <a:pt x="2368" y="940"/>
                  <a:pt x="2370" y="940"/>
                  <a:pt x="2371" y="939"/>
                </a:cubicBezTo>
                <a:cubicBezTo>
                  <a:pt x="2374" y="939"/>
                  <a:pt x="2378" y="939"/>
                  <a:pt x="2381" y="940"/>
                </a:cubicBezTo>
                <a:cubicBezTo>
                  <a:pt x="2382" y="939"/>
                  <a:pt x="2383" y="938"/>
                  <a:pt x="2383" y="936"/>
                </a:cubicBezTo>
                <a:cubicBezTo>
                  <a:pt x="2383" y="936"/>
                  <a:pt x="2386" y="934"/>
                  <a:pt x="2386" y="935"/>
                </a:cubicBezTo>
                <a:cubicBezTo>
                  <a:pt x="2387" y="935"/>
                  <a:pt x="2389" y="937"/>
                  <a:pt x="2389" y="937"/>
                </a:cubicBezTo>
                <a:cubicBezTo>
                  <a:pt x="2390" y="937"/>
                  <a:pt x="2392" y="937"/>
                  <a:pt x="2393" y="937"/>
                </a:cubicBezTo>
                <a:cubicBezTo>
                  <a:pt x="2394" y="938"/>
                  <a:pt x="2395" y="939"/>
                  <a:pt x="2396" y="939"/>
                </a:cubicBezTo>
                <a:cubicBezTo>
                  <a:pt x="2397" y="939"/>
                  <a:pt x="2398" y="939"/>
                  <a:pt x="2399" y="939"/>
                </a:cubicBezTo>
                <a:cubicBezTo>
                  <a:pt x="2403" y="939"/>
                  <a:pt x="2401" y="941"/>
                  <a:pt x="2402" y="944"/>
                </a:cubicBezTo>
                <a:cubicBezTo>
                  <a:pt x="2403" y="945"/>
                  <a:pt x="2407" y="949"/>
                  <a:pt x="2407" y="949"/>
                </a:cubicBezTo>
                <a:cubicBezTo>
                  <a:pt x="2411" y="949"/>
                  <a:pt x="2417" y="950"/>
                  <a:pt x="2419" y="950"/>
                </a:cubicBezTo>
                <a:cubicBezTo>
                  <a:pt x="2420" y="954"/>
                  <a:pt x="2419" y="954"/>
                  <a:pt x="2419" y="958"/>
                </a:cubicBezTo>
                <a:cubicBezTo>
                  <a:pt x="2419" y="959"/>
                  <a:pt x="2417" y="959"/>
                  <a:pt x="2416" y="959"/>
                </a:cubicBezTo>
                <a:cubicBezTo>
                  <a:pt x="2416" y="959"/>
                  <a:pt x="2413" y="959"/>
                  <a:pt x="2412" y="957"/>
                </a:cubicBezTo>
                <a:cubicBezTo>
                  <a:pt x="2410" y="955"/>
                  <a:pt x="2410" y="955"/>
                  <a:pt x="2404" y="956"/>
                </a:cubicBezTo>
                <a:cubicBezTo>
                  <a:pt x="2405" y="957"/>
                  <a:pt x="2400" y="957"/>
                  <a:pt x="2395" y="956"/>
                </a:cubicBezTo>
                <a:cubicBezTo>
                  <a:pt x="2391" y="956"/>
                  <a:pt x="2383" y="957"/>
                  <a:pt x="2380" y="955"/>
                </a:cubicBezTo>
                <a:cubicBezTo>
                  <a:pt x="2374" y="952"/>
                  <a:pt x="2375" y="952"/>
                  <a:pt x="2374" y="951"/>
                </a:cubicBezTo>
                <a:close/>
                <a:moveTo>
                  <a:pt x="2433" y="936"/>
                </a:moveTo>
                <a:cubicBezTo>
                  <a:pt x="2434" y="935"/>
                  <a:pt x="2435" y="935"/>
                  <a:pt x="2435" y="936"/>
                </a:cubicBezTo>
                <a:cubicBezTo>
                  <a:pt x="2436" y="936"/>
                  <a:pt x="2435" y="938"/>
                  <a:pt x="2434" y="938"/>
                </a:cubicBezTo>
                <a:cubicBezTo>
                  <a:pt x="2434" y="938"/>
                  <a:pt x="2433" y="937"/>
                  <a:pt x="2433" y="936"/>
                </a:cubicBezTo>
                <a:close/>
                <a:moveTo>
                  <a:pt x="2505" y="978"/>
                </a:moveTo>
                <a:cubicBezTo>
                  <a:pt x="2504" y="977"/>
                  <a:pt x="2506" y="976"/>
                  <a:pt x="2507" y="976"/>
                </a:cubicBezTo>
                <a:cubicBezTo>
                  <a:pt x="2507" y="976"/>
                  <a:pt x="2508" y="975"/>
                  <a:pt x="2508" y="975"/>
                </a:cubicBezTo>
                <a:cubicBezTo>
                  <a:pt x="2508" y="974"/>
                  <a:pt x="2508" y="972"/>
                  <a:pt x="2508" y="972"/>
                </a:cubicBezTo>
                <a:cubicBezTo>
                  <a:pt x="2509" y="971"/>
                  <a:pt x="2510" y="970"/>
                  <a:pt x="2511" y="969"/>
                </a:cubicBezTo>
                <a:cubicBezTo>
                  <a:pt x="2512" y="967"/>
                  <a:pt x="2520" y="964"/>
                  <a:pt x="2522" y="964"/>
                </a:cubicBezTo>
                <a:cubicBezTo>
                  <a:pt x="2522" y="964"/>
                  <a:pt x="2524" y="960"/>
                  <a:pt x="2525" y="960"/>
                </a:cubicBezTo>
                <a:cubicBezTo>
                  <a:pt x="2526" y="960"/>
                  <a:pt x="2528" y="958"/>
                  <a:pt x="2529" y="958"/>
                </a:cubicBezTo>
                <a:cubicBezTo>
                  <a:pt x="2537" y="958"/>
                  <a:pt x="2537" y="958"/>
                  <a:pt x="2537" y="958"/>
                </a:cubicBezTo>
                <a:cubicBezTo>
                  <a:pt x="2538" y="958"/>
                  <a:pt x="2541" y="956"/>
                  <a:pt x="2541" y="956"/>
                </a:cubicBezTo>
                <a:cubicBezTo>
                  <a:pt x="2542" y="956"/>
                  <a:pt x="2543" y="956"/>
                  <a:pt x="2544" y="957"/>
                </a:cubicBezTo>
                <a:cubicBezTo>
                  <a:pt x="2544" y="957"/>
                  <a:pt x="2544" y="958"/>
                  <a:pt x="2544" y="959"/>
                </a:cubicBezTo>
                <a:cubicBezTo>
                  <a:pt x="2543" y="960"/>
                  <a:pt x="2542" y="962"/>
                  <a:pt x="2538" y="963"/>
                </a:cubicBezTo>
                <a:cubicBezTo>
                  <a:pt x="2534" y="963"/>
                  <a:pt x="2535" y="963"/>
                  <a:pt x="2533" y="964"/>
                </a:cubicBezTo>
                <a:cubicBezTo>
                  <a:pt x="2532" y="965"/>
                  <a:pt x="2530" y="966"/>
                  <a:pt x="2528" y="967"/>
                </a:cubicBezTo>
                <a:cubicBezTo>
                  <a:pt x="2526" y="968"/>
                  <a:pt x="2525" y="970"/>
                  <a:pt x="2524" y="970"/>
                </a:cubicBezTo>
                <a:cubicBezTo>
                  <a:pt x="2523" y="970"/>
                  <a:pt x="2519" y="973"/>
                  <a:pt x="2518" y="973"/>
                </a:cubicBezTo>
                <a:cubicBezTo>
                  <a:pt x="2517" y="973"/>
                  <a:pt x="2514" y="975"/>
                  <a:pt x="2514" y="975"/>
                </a:cubicBezTo>
                <a:cubicBezTo>
                  <a:pt x="2514" y="976"/>
                  <a:pt x="2511" y="979"/>
                  <a:pt x="2511" y="979"/>
                </a:cubicBezTo>
                <a:cubicBezTo>
                  <a:pt x="2509" y="979"/>
                  <a:pt x="2507" y="979"/>
                  <a:pt x="2505" y="978"/>
                </a:cubicBezTo>
                <a:close/>
                <a:moveTo>
                  <a:pt x="2442" y="963"/>
                </a:moveTo>
                <a:cubicBezTo>
                  <a:pt x="2442" y="963"/>
                  <a:pt x="2442" y="963"/>
                  <a:pt x="2442" y="963"/>
                </a:cubicBezTo>
                <a:cubicBezTo>
                  <a:pt x="2445" y="960"/>
                  <a:pt x="2444" y="962"/>
                  <a:pt x="2444" y="959"/>
                </a:cubicBezTo>
                <a:cubicBezTo>
                  <a:pt x="2444" y="958"/>
                  <a:pt x="2445" y="957"/>
                  <a:pt x="2446" y="957"/>
                </a:cubicBezTo>
                <a:cubicBezTo>
                  <a:pt x="2446" y="957"/>
                  <a:pt x="2445" y="956"/>
                  <a:pt x="2447" y="956"/>
                </a:cubicBezTo>
                <a:cubicBezTo>
                  <a:pt x="2449" y="956"/>
                  <a:pt x="2448" y="956"/>
                  <a:pt x="2450" y="957"/>
                </a:cubicBezTo>
                <a:cubicBezTo>
                  <a:pt x="2451" y="958"/>
                  <a:pt x="2452" y="960"/>
                  <a:pt x="2454" y="960"/>
                </a:cubicBezTo>
                <a:cubicBezTo>
                  <a:pt x="2454" y="959"/>
                  <a:pt x="2456" y="959"/>
                  <a:pt x="2457" y="959"/>
                </a:cubicBezTo>
                <a:cubicBezTo>
                  <a:pt x="2457" y="959"/>
                  <a:pt x="2456" y="962"/>
                  <a:pt x="2455" y="962"/>
                </a:cubicBezTo>
                <a:cubicBezTo>
                  <a:pt x="2452" y="963"/>
                  <a:pt x="2452" y="963"/>
                  <a:pt x="2452" y="963"/>
                </a:cubicBezTo>
                <a:cubicBezTo>
                  <a:pt x="2451" y="963"/>
                  <a:pt x="2450" y="963"/>
                  <a:pt x="2450" y="964"/>
                </a:cubicBezTo>
                <a:cubicBezTo>
                  <a:pt x="2449" y="964"/>
                  <a:pt x="2449" y="964"/>
                  <a:pt x="2448" y="965"/>
                </a:cubicBezTo>
                <a:cubicBezTo>
                  <a:pt x="2447" y="965"/>
                  <a:pt x="2446" y="966"/>
                  <a:pt x="2445" y="966"/>
                </a:cubicBezTo>
                <a:cubicBezTo>
                  <a:pt x="2443" y="965"/>
                  <a:pt x="2443" y="965"/>
                  <a:pt x="2442" y="963"/>
                </a:cubicBezTo>
                <a:close/>
                <a:moveTo>
                  <a:pt x="2501" y="984"/>
                </a:moveTo>
                <a:cubicBezTo>
                  <a:pt x="2501" y="984"/>
                  <a:pt x="2499" y="984"/>
                  <a:pt x="2499" y="984"/>
                </a:cubicBezTo>
                <a:cubicBezTo>
                  <a:pt x="2500" y="984"/>
                  <a:pt x="2499" y="983"/>
                  <a:pt x="2500" y="983"/>
                </a:cubicBezTo>
                <a:cubicBezTo>
                  <a:pt x="2502" y="981"/>
                  <a:pt x="2504" y="981"/>
                  <a:pt x="2506" y="980"/>
                </a:cubicBezTo>
                <a:cubicBezTo>
                  <a:pt x="2506" y="980"/>
                  <a:pt x="2507" y="983"/>
                  <a:pt x="2505" y="983"/>
                </a:cubicBezTo>
                <a:cubicBezTo>
                  <a:pt x="2503" y="983"/>
                  <a:pt x="2502" y="984"/>
                  <a:pt x="2501" y="984"/>
                </a:cubicBezTo>
                <a:close/>
                <a:moveTo>
                  <a:pt x="2218" y="783"/>
                </a:moveTo>
                <a:cubicBezTo>
                  <a:pt x="2221" y="784"/>
                  <a:pt x="2221" y="785"/>
                  <a:pt x="2221" y="785"/>
                </a:cubicBezTo>
                <a:cubicBezTo>
                  <a:pt x="2221" y="785"/>
                  <a:pt x="2221" y="787"/>
                  <a:pt x="2221" y="787"/>
                </a:cubicBezTo>
                <a:cubicBezTo>
                  <a:pt x="2218" y="788"/>
                  <a:pt x="2219" y="789"/>
                  <a:pt x="2217" y="781"/>
                </a:cubicBezTo>
                <a:cubicBezTo>
                  <a:pt x="2218" y="781"/>
                  <a:pt x="2218" y="781"/>
                  <a:pt x="2218" y="781"/>
                </a:cubicBezTo>
                <a:cubicBezTo>
                  <a:pt x="2222" y="783"/>
                  <a:pt x="2216" y="781"/>
                  <a:pt x="2218" y="783"/>
                </a:cubicBezTo>
                <a:close/>
                <a:moveTo>
                  <a:pt x="2216" y="771"/>
                </a:moveTo>
                <a:cubicBezTo>
                  <a:pt x="2216" y="774"/>
                  <a:pt x="2216" y="774"/>
                  <a:pt x="2216" y="774"/>
                </a:cubicBezTo>
                <a:cubicBezTo>
                  <a:pt x="2215" y="775"/>
                  <a:pt x="2215" y="775"/>
                  <a:pt x="2215" y="775"/>
                </a:cubicBezTo>
                <a:cubicBezTo>
                  <a:pt x="2213" y="775"/>
                  <a:pt x="2213" y="775"/>
                  <a:pt x="2213" y="775"/>
                </a:cubicBezTo>
                <a:lnTo>
                  <a:pt x="2216" y="771"/>
                </a:lnTo>
                <a:close/>
                <a:moveTo>
                  <a:pt x="2288" y="902"/>
                </a:moveTo>
                <a:cubicBezTo>
                  <a:pt x="2288" y="901"/>
                  <a:pt x="2288" y="900"/>
                  <a:pt x="2289" y="901"/>
                </a:cubicBezTo>
                <a:cubicBezTo>
                  <a:pt x="2291" y="901"/>
                  <a:pt x="2287" y="904"/>
                  <a:pt x="2288" y="902"/>
                </a:cubicBezTo>
                <a:close/>
                <a:moveTo>
                  <a:pt x="2332" y="925"/>
                </a:moveTo>
                <a:cubicBezTo>
                  <a:pt x="2331" y="927"/>
                  <a:pt x="2331" y="927"/>
                  <a:pt x="2331" y="927"/>
                </a:cubicBezTo>
                <a:cubicBezTo>
                  <a:pt x="2328" y="926"/>
                  <a:pt x="2328" y="926"/>
                  <a:pt x="2328" y="926"/>
                </a:cubicBezTo>
                <a:cubicBezTo>
                  <a:pt x="2326" y="926"/>
                  <a:pt x="2326" y="926"/>
                  <a:pt x="2326" y="926"/>
                </a:cubicBezTo>
                <a:cubicBezTo>
                  <a:pt x="2325" y="928"/>
                  <a:pt x="2325" y="928"/>
                  <a:pt x="2325" y="928"/>
                </a:cubicBezTo>
                <a:cubicBezTo>
                  <a:pt x="2322" y="923"/>
                  <a:pt x="2317" y="922"/>
                  <a:pt x="2316" y="921"/>
                </a:cubicBezTo>
                <a:cubicBezTo>
                  <a:pt x="2316" y="921"/>
                  <a:pt x="2315" y="919"/>
                  <a:pt x="2314" y="918"/>
                </a:cubicBezTo>
                <a:cubicBezTo>
                  <a:pt x="2314" y="918"/>
                  <a:pt x="2310" y="916"/>
                  <a:pt x="2310" y="914"/>
                </a:cubicBezTo>
                <a:cubicBezTo>
                  <a:pt x="2309" y="912"/>
                  <a:pt x="2304" y="906"/>
                  <a:pt x="2304" y="906"/>
                </a:cubicBezTo>
                <a:cubicBezTo>
                  <a:pt x="2304" y="906"/>
                  <a:pt x="2304" y="904"/>
                  <a:pt x="2303" y="904"/>
                </a:cubicBezTo>
                <a:cubicBezTo>
                  <a:pt x="2302" y="903"/>
                  <a:pt x="2300" y="902"/>
                  <a:pt x="2298" y="901"/>
                </a:cubicBezTo>
                <a:cubicBezTo>
                  <a:pt x="2294" y="898"/>
                  <a:pt x="2295" y="894"/>
                  <a:pt x="2293" y="891"/>
                </a:cubicBezTo>
                <a:cubicBezTo>
                  <a:pt x="2292" y="890"/>
                  <a:pt x="2291" y="890"/>
                  <a:pt x="2290" y="888"/>
                </a:cubicBezTo>
                <a:cubicBezTo>
                  <a:pt x="2289" y="888"/>
                  <a:pt x="2290" y="886"/>
                  <a:pt x="2290" y="885"/>
                </a:cubicBezTo>
                <a:cubicBezTo>
                  <a:pt x="2290" y="885"/>
                  <a:pt x="2288" y="880"/>
                  <a:pt x="2288" y="879"/>
                </a:cubicBezTo>
                <a:cubicBezTo>
                  <a:pt x="2288" y="878"/>
                  <a:pt x="2281" y="868"/>
                  <a:pt x="2279" y="865"/>
                </a:cubicBezTo>
                <a:cubicBezTo>
                  <a:pt x="2279" y="864"/>
                  <a:pt x="2280" y="862"/>
                  <a:pt x="2279" y="862"/>
                </a:cubicBezTo>
                <a:cubicBezTo>
                  <a:pt x="2278" y="860"/>
                  <a:pt x="2276" y="861"/>
                  <a:pt x="2275" y="859"/>
                </a:cubicBezTo>
                <a:cubicBezTo>
                  <a:pt x="2273" y="858"/>
                  <a:pt x="2273" y="855"/>
                  <a:pt x="2272" y="853"/>
                </a:cubicBezTo>
                <a:cubicBezTo>
                  <a:pt x="2272" y="851"/>
                  <a:pt x="2270" y="849"/>
                  <a:pt x="2270" y="847"/>
                </a:cubicBezTo>
                <a:cubicBezTo>
                  <a:pt x="2270" y="846"/>
                  <a:pt x="2271" y="845"/>
                  <a:pt x="2270" y="844"/>
                </a:cubicBezTo>
                <a:cubicBezTo>
                  <a:pt x="2268" y="842"/>
                  <a:pt x="2266" y="842"/>
                  <a:pt x="2264" y="840"/>
                </a:cubicBezTo>
                <a:cubicBezTo>
                  <a:pt x="2264" y="840"/>
                  <a:pt x="2261" y="838"/>
                  <a:pt x="2260" y="838"/>
                </a:cubicBezTo>
                <a:cubicBezTo>
                  <a:pt x="2260" y="838"/>
                  <a:pt x="2258" y="837"/>
                  <a:pt x="2258" y="837"/>
                </a:cubicBezTo>
                <a:cubicBezTo>
                  <a:pt x="2258" y="832"/>
                  <a:pt x="2259" y="833"/>
                  <a:pt x="2255" y="829"/>
                </a:cubicBezTo>
                <a:cubicBezTo>
                  <a:pt x="2255" y="829"/>
                  <a:pt x="2255" y="829"/>
                  <a:pt x="2254" y="827"/>
                </a:cubicBezTo>
                <a:cubicBezTo>
                  <a:pt x="2253" y="825"/>
                  <a:pt x="2252" y="825"/>
                  <a:pt x="2252" y="824"/>
                </a:cubicBezTo>
                <a:cubicBezTo>
                  <a:pt x="2250" y="822"/>
                  <a:pt x="2250" y="822"/>
                  <a:pt x="2248" y="821"/>
                </a:cubicBezTo>
                <a:cubicBezTo>
                  <a:pt x="2245" y="820"/>
                  <a:pt x="2245" y="820"/>
                  <a:pt x="2244" y="818"/>
                </a:cubicBezTo>
                <a:cubicBezTo>
                  <a:pt x="2243" y="817"/>
                  <a:pt x="2243" y="817"/>
                  <a:pt x="2241" y="816"/>
                </a:cubicBezTo>
                <a:cubicBezTo>
                  <a:pt x="2237" y="813"/>
                  <a:pt x="2239" y="815"/>
                  <a:pt x="2236" y="811"/>
                </a:cubicBezTo>
                <a:cubicBezTo>
                  <a:pt x="2236" y="811"/>
                  <a:pt x="2233" y="806"/>
                  <a:pt x="2233" y="806"/>
                </a:cubicBezTo>
                <a:cubicBezTo>
                  <a:pt x="2233" y="805"/>
                  <a:pt x="2234" y="802"/>
                  <a:pt x="2234" y="802"/>
                </a:cubicBezTo>
                <a:cubicBezTo>
                  <a:pt x="2235" y="801"/>
                  <a:pt x="2235" y="801"/>
                  <a:pt x="2235" y="801"/>
                </a:cubicBezTo>
                <a:cubicBezTo>
                  <a:pt x="2236" y="802"/>
                  <a:pt x="2241" y="805"/>
                  <a:pt x="2243" y="805"/>
                </a:cubicBezTo>
                <a:cubicBezTo>
                  <a:pt x="2244" y="805"/>
                  <a:pt x="2246" y="805"/>
                  <a:pt x="2248" y="805"/>
                </a:cubicBezTo>
                <a:cubicBezTo>
                  <a:pt x="2252" y="805"/>
                  <a:pt x="2253" y="805"/>
                  <a:pt x="2257" y="806"/>
                </a:cubicBezTo>
                <a:cubicBezTo>
                  <a:pt x="2259" y="810"/>
                  <a:pt x="2259" y="808"/>
                  <a:pt x="2262" y="812"/>
                </a:cubicBezTo>
                <a:cubicBezTo>
                  <a:pt x="2264" y="815"/>
                  <a:pt x="2264" y="814"/>
                  <a:pt x="2264" y="817"/>
                </a:cubicBezTo>
                <a:cubicBezTo>
                  <a:pt x="2267" y="819"/>
                  <a:pt x="2267" y="819"/>
                  <a:pt x="2267" y="819"/>
                </a:cubicBezTo>
                <a:cubicBezTo>
                  <a:pt x="2268" y="821"/>
                  <a:pt x="2268" y="821"/>
                  <a:pt x="2268" y="821"/>
                </a:cubicBezTo>
                <a:cubicBezTo>
                  <a:pt x="2270" y="822"/>
                  <a:pt x="2274" y="825"/>
                  <a:pt x="2275" y="825"/>
                </a:cubicBezTo>
                <a:cubicBezTo>
                  <a:pt x="2275" y="825"/>
                  <a:pt x="2276" y="828"/>
                  <a:pt x="2277" y="828"/>
                </a:cubicBezTo>
                <a:cubicBezTo>
                  <a:pt x="2277" y="829"/>
                  <a:pt x="2280" y="831"/>
                  <a:pt x="2280" y="831"/>
                </a:cubicBezTo>
                <a:cubicBezTo>
                  <a:pt x="2281" y="832"/>
                  <a:pt x="2282" y="834"/>
                  <a:pt x="2283" y="834"/>
                </a:cubicBezTo>
                <a:cubicBezTo>
                  <a:pt x="2283" y="835"/>
                  <a:pt x="2285" y="834"/>
                  <a:pt x="2286" y="835"/>
                </a:cubicBezTo>
                <a:cubicBezTo>
                  <a:pt x="2286" y="836"/>
                  <a:pt x="2285" y="837"/>
                  <a:pt x="2285" y="838"/>
                </a:cubicBezTo>
                <a:cubicBezTo>
                  <a:pt x="2286" y="839"/>
                  <a:pt x="2289" y="839"/>
                  <a:pt x="2290" y="840"/>
                </a:cubicBezTo>
                <a:cubicBezTo>
                  <a:pt x="2290" y="836"/>
                  <a:pt x="2291" y="839"/>
                  <a:pt x="2292" y="840"/>
                </a:cubicBezTo>
                <a:cubicBezTo>
                  <a:pt x="2293" y="840"/>
                  <a:pt x="2294" y="842"/>
                  <a:pt x="2296" y="842"/>
                </a:cubicBezTo>
                <a:cubicBezTo>
                  <a:pt x="2297" y="842"/>
                  <a:pt x="2297" y="840"/>
                  <a:pt x="2298" y="841"/>
                </a:cubicBezTo>
                <a:cubicBezTo>
                  <a:pt x="2299" y="841"/>
                  <a:pt x="2299" y="843"/>
                  <a:pt x="2299" y="844"/>
                </a:cubicBezTo>
                <a:cubicBezTo>
                  <a:pt x="2301" y="848"/>
                  <a:pt x="2301" y="845"/>
                  <a:pt x="2302" y="845"/>
                </a:cubicBezTo>
                <a:cubicBezTo>
                  <a:pt x="2304" y="846"/>
                  <a:pt x="2306" y="846"/>
                  <a:pt x="2307" y="848"/>
                </a:cubicBezTo>
                <a:cubicBezTo>
                  <a:pt x="2307" y="848"/>
                  <a:pt x="2304" y="850"/>
                  <a:pt x="2309" y="851"/>
                </a:cubicBezTo>
                <a:cubicBezTo>
                  <a:pt x="2309" y="851"/>
                  <a:pt x="2309" y="851"/>
                  <a:pt x="2310" y="851"/>
                </a:cubicBezTo>
                <a:cubicBezTo>
                  <a:pt x="2310" y="851"/>
                  <a:pt x="2312" y="853"/>
                  <a:pt x="2312" y="853"/>
                </a:cubicBezTo>
                <a:cubicBezTo>
                  <a:pt x="2313" y="854"/>
                  <a:pt x="2311" y="856"/>
                  <a:pt x="2311" y="857"/>
                </a:cubicBezTo>
                <a:cubicBezTo>
                  <a:pt x="2312" y="858"/>
                  <a:pt x="2314" y="857"/>
                  <a:pt x="2314" y="857"/>
                </a:cubicBezTo>
                <a:cubicBezTo>
                  <a:pt x="2317" y="858"/>
                  <a:pt x="2317" y="859"/>
                  <a:pt x="2318" y="861"/>
                </a:cubicBezTo>
                <a:cubicBezTo>
                  <a:pt x="2318" y="861"/>
                  <a:pt x="2319" y="862"/>
                  <a:pt x="2319" y="863"/>
                </a:cubicBezTo>
                <a:cubicBezTo>
                  <a:pt x="2318" y="864"/>
                  <a:pt x="2316" y="864"/>
                  <a:pt x="2316" y="865"/>
                </a:cubicBezTo>
                <a:cubicBezTo>
                  <a:pt x="2314" y="868"/>
                  <a:pt x="2317" y="868"/>
                  <a:pt x="2317" y="869"/>
                </a:cubicBezTo>
                <a:cubicBezTo>
                  <a:pt x="2317" y="870"/>
                  <a:pt x="2316" y="871"/>
                  <a:pt x="2316" y="871"/>
                </a:cubicBezTo>
                <a:cubicBezTo>
                  <a:pt x="2319" y="874"/>
                  <a:pt x="2318" y="873"/>
                  <a:pt x="2321" y="874"/>
                </a:cubicBezTo>
                <a:cubicBezTo>
                  <a:pt x="2323" y="875"/>
                  <a:pt x="2324" y="875"/>
                  <a:pt x="2325" y="877"/>
                </a:cubicBezTo>
                <a:cubicBezTo>
                  <a:pt x="2328" y="885"/>
                  <a:pt x="2325" y="883"/>
                  <a:pt x="2326" y="884"/>
                </a:cubicBezTo>
                <a:cubicBezTo>
                  <a:pt x="2327" y="886"/>
                  <a:pt x="2329" y="886"/>
                  <a:pt x="2330" y="887"/>
                </a:cubicBezTo>
                <a:cubicBezTo>
                  <a:pt x="2331" y="887"/>
                  <a:pt x="2330" y="888"/>
                  <a:pt x="2330" y="888"/>
                </a:cubicBezTo>
                <a:cubicBezTo>
                  <a:pt x="2331" y="889"/>
                  <a:pt x="2335" y="888"/>
                  <a:pt x="2336" y="890"/>
                </a:cubicBezTo>
                <a:cubicBezTo>
                  <a:pt x="2337" y="891"/>
                  <a:pt x="2336" y="892"/>
                  <a:pt x="2336" y="893"/>
                </a:cubicBezTo>
                <a:cubicBezTo>
                  <a:pt x="2337" y="894"/>
                  <a:pt x="2337" y="894"/>
                  <a:pt x="2338" y="894"/>
                </a:cubicBezTo>
                <a:cubicBezTo>
                  <a:pt x="2338" y="895"/>
                  <a:pt x="2338" y="896"/>
                  <a:pt x="2339" y="897"/>
                </a:cubicBezTo>
                <a:cubicBezTo>
                  <a:pt x="2340" y="897"/>
                  <a:pt x="2341" y="896"/>
                  <a:pt x="2341" y="897"/>
                </a:cubicBezTo>
                <a:cubicBezTo>
                  <a:pt x="2341" y="899"/>
                  <a:pt x="2339" y="900"/>
                  <a:pt x="2338" y="902"/>
                </a:cubicBezTo>
                <a:cubicBezTo>
                  <a:pt x="2338" y="903"/>
                  <a:pt x="2339" y="904"/>
                  <a:pt x="2339" y="906"/>
                </a:cubicBezTo>
                <a:cubicBezTo>
                  <a:pt x="2339" y="916"/>
                  <a:pt x="2339" y="916"/>
                  <a:pt x="2339" y="916"/>
                </a:cubicBezTo>
                <a:cubicBezTo>
                  <a:pt x="2339" y="918"/>
                  <a:pt x="2337" y="919"/>
                  <a:pt x="2338" y="920"/>
                </a:cubicBezTo>
                <a:cubicBezTo>
                  <a:pt x="2338" y="925"/>
                  <a:pt x="2338" y="925"/>
                  <a:pt x="2338" y="925"/>
                </a:cubicBezTo>
                <a:cubicBezTo>
                  <a:pt x="2337" y="928"/>
                  <a:pt x="2337" y="928"/>
                  <a:pt x="2337" y="928"/>
                </a:cubicBezTo>
                <a:lnTo>
                  <a:pt x="2332" y="925"/>
                </a:lnTo>
                <a:close/>
                <a:moveTo>
                  <a:pt x="2287" y="897"/>
                </a:moveTo>
                <a:cubicBezTo>
                  <a:pt x="2287" y="898"/>
                  <a:pt x="2287" y="900"/>
                  <a:pt x="2286" y="900"/>
                </a:cubicBezTo>
                <a:cubicBezTo>
                  <a:pt x="2282" y="900"/>
                  <a:pt x="2284" y="898"/>
                  <a:pt x="2282" y="896"/>
                </a:cubicBezTo>
                <a:cubicBezTo>
                  <a:pt x="2282" y="896"/>
                  <a:pt x="2281" y="895"/>
                  <a:pt x="2281" y="894"/>
                </a:cubicBezTo>
                <a:cubicBezTo>
                  <a:pt x="2281" y="893"/>
                  <a:pt x="2281" y="892"/>
                  <a:pt x="2281" y="891"/>
                </a:cubicBezTo>
                <a:cubicBezTo>
                  <a:pt x="2282" y="891"/>
                  <a:pt x="2284" y="893"/>
                  <a:pt x="2284" y="893"/>
                </a:cubicBezTo>
                <a:cubicBezTo>
                  <a:pt x="2284" y="893"/>
                  <a:pt x="2285" y="895"/>
                  <a:pt x="2285" y="896"/>
                </a:cubicBezTo>
                <a:cubicBezTo>
                  <a:pt x="2286" y="896"/>
                  <a:pt x="2287" y="896"/>
                  <a:pt x="2287" y="897"/>
                </a:cubicBezTo>
                <a:close/>
                <a:moveTo>
                  <a:pt x="2275" y="881"/>
                </a:moveTo>
                <a:cubicBezTo>
                  <a:pt x="2274" y="882"/>
                  <a:pt x="2275" y="883"/>
                  <a:pt x="2273" y="883"/>
                </a:cubicBezTo>
                <a:cubicBezTo>
                  <a:pt x="2272" y="883"/>
                  <a:pt x="2269" y="878"/>
                  <a:pt x="2269" y="878"/>
                </a:cubicBezTo>
                <a:cubicBezTo>
                  <a:pt x="2269" y="878"/>
                  <a:pt x="2269" y="878"/>
                  <a:pt x="2268" y="878"/>
                </a:cubicBezTo>
                <a:cubicBezTo>
                  <a:pt x="2268" y="877"/>
                  <a:pt x="2268" y="877"/>
                  <a:pt x="2268" y="877"/>
                </a:cubicBezTo>
                <a:cubicBezTo>
                  <a:pt x="2268" y="877"/>
                  <a:pt x="2269" y="874"/>
                  <a:pt x="2269" y="874"/>
                </a:cubicBezTo>
                <a:cubicBezTo>
                  <a:pt x="2273" y="873"/>
                  <a:pt x="2272" y="875"/>
                  <a:pt x="2275" y="880"/>
                </a:cubicBezTo>
                <a:cubicBezTo>
                  <a:pt x="2275" y="881"/>
                  <a:pt x="2275" y="880"/>
                  <a:pt x="2275" y="881"/>
                </a:cubicBezTo>
                <a:close/>
                <a:moveTo>
                  <a:pt x="2279" y="888"/>
                </a:moveTo>
                <a:cubicBezTo>
                  <a:pt x="2279" y="889"/>
                  <a:pt x="2278" y="889"/>
                  <a:pt x="2278" y="889"/>
                </a:cubicBezTo>
                <a:cubicBezTo>
                  <a:pt x="2277" y="888"/>
                  <a:pt x="2277" y="887"/>
                  <a:pt x="2277" y="886"/>
                </a:cubicBezTo>
                <a:cubicBezTo>
                  <a:pt x="2277" y="886"/>
                  <a:pt x="2277" y="886"/>
                  <a:pt x="2277" y="886"/>
                </a:cubicBezTo>
                <a:cubicBezTo>
                  <a:pt x="2278" y="886"/>
                  <a:pt x="2278" y="883"/>
                  <a:pt x="2279" y="888"/>
                </a:cubicBezTo>
                <a:close/>
                <a:moveTo>
                  <a:pt x="2305" y="924"/>
                </a:moveTo>
                <a:cubicBezTo>
                  <a:pt x="2304" y="924"/>
                  <a:pt x="2301" y="923"/>
                  <a:pt x="2301" y="923"/>
                </a:cubicBezTo>
                <a:cubicBezTo>
                  <a:pt x="2301" y="922"/>
                  <a:pt x="2303" y="921"/>
                  <a:pt x="2303" y="921"/>
                </a:cubicBezTo>
                <a:cubicBezTo>
                  <a:pt x="2304" y="922"/>
                  <a:pt x="2307" y="923"/>
                  <a:pt x="2305" y="924"/>
                </a:cubicBezTo>
                <a:close/>
                <a:moveTo>
                  <a:pt x="2526" y="751"/>
                </a:moveTo>
                <a:cubicBezTo>
                  <a:pt x="2526" y="750"/>
                  <a:pt x="2525" y="747"/>
                  <a:pt x="2526" y="747"/>
                </a:cubicBezTo>
                <a:cubicBezTo>
                  <a:pt x="2528" y="747"/>
                  <a:pt x="2528" y="753"/>
                  <a:pt x="2528" y="753"/>
                </a:cubicBezTo>
                <a:cubicBezTo>
                  <a:pt x="2528" y="753"/>
                  <a:pt x="2526" y="754"/>
                  <a:pt x="2526" y="751"/>
                </a:cubicBezTo>
                <a:close/>
                <a:moveTo>
                  <a:pt x="2518" y="763"/>
                </a:moveTo>
                <a:cubicBezTo>
                  <a:pt x="2519" y="761"/>
                  <a:pt x="2520" y="762"/>
                  <a:pt x="2521" y="762"/>
                </a:cubicBezTo>
                <a:cubicBezTo>
                  <a:pt x="2520" y="763"/>
                  <a:pt x="2520" y="764"/>
                  <a:pt x="2519" y="764"/>
                </a:cubicBezTo>
                <a:cubicBezTo>
                  <a:pt x="2519" y="764"/>
                  <a:pt x="2519" y="763"/>
                  <a:pt x="2518" y="763"/>
                </a:cubicBezTo>
                <a:close/>
                <a:moveTo>
                  <a:pt x="2495" y="789"/>
                </a:moveTo>
                <a:cubicBezTo>
                  <a:pt x="2495" y="789"/>
                  <a:pt x="2498" y="790"/>
                  <a:pt x="2498" y="791"/>
                </a:cubicBezTo>
                <a:cubicBezTo>
                  <a:pt x="2497" y="791"/>
                  <a:pt x="2495" y="793"/>
                  <a:pt x="2494" y="792"/>
                </a:cubicBezTo>
                <a:cubicBezTo>
                  <a:pt x="2494" y="792"/>
                  <a:pt x="2493" y="792"/>
                  <a:pt x="2493" y="791"/>
                </a:cubicBezTo>
                <a:cubicBezTo>
                  <a:pt x="2492" y="790"/>
                  <a:pt x="2494" y="789"/>
                  <a:pt x="2495" y="789"/>
                </a:cubicBezTo>
                <a:close/>
                <a:moveTo>
                  <a:pt x="2507" y="763"/>
                </a:moveTo>
                <a:cubicBezTo>
                  <a:pt x="2508" y="762"/>
                  <a:pt x="2509" y="761"/>
                  <a:pt x="2509" y="761"/>
                </a:cubicBezTo>
                <a:cubicBezTo>
                  <a:pt x="2509" y="761"/>
                  <a:pt x="2511" y="763"/>
                  <a:pt x="2511" y="763"/>
                </a:cubicBezTo>
                <a:cubicBezTo>
                  <a:pt x="2509" y="764"/>
                  <a:pt x="2509" y="764"/>
                  <a:pt x="2507" y="763"/>
                </a:cubicBezTo>
                <a:close/>
                <a:moveTo>
                  <a:pt x="2498" y="748"/>
                </a:moveTo>
                <a:cubicBezTo>
                  <a:pt x="2498" y="750"/>
                  <a:pt x="2496" y="751"/>
                  <a:pt x="2496" y="749"/>
                </a:cubicBezTo>
                <a:cubicBezTo>
                  <a:pt x="2496" y="746"/>
                  <a:pt x="2498" y="745"/>
                  <a:pt x="2498" y="748"/>
                </a:cubicBezTo>
                <a:close/>
                <a:moveTo>
                  <a:pt x="2500" y="746"/>
                </a:moveTo>
                <a:cubicBezTo>
                  <a:pt x="2500" y="746"/>
                  <a:pt x="2502" y="744"/>
                  <a:pt x="2502" y="744"/>
                </a:cubicBezTo>
                <a:cubicBezTo>
                  <a:pt x="2502" y="743"/>
                  <a:pt x="2503" y="743"/>
                  <a:pt x="2504" y="742"/>
                </a:cubicBezTo>
                <a:cubicBezTo>
                  <a:pt x="2505" y="742"/>
                  <a:pt x="2506" y="744"/>
                  <a:pt x="2506" y="745"/>
                </a:cubicBezTo>
                <a:cubicBezTo>
                  <a:pt x="2506" y="745"/>
                  <a:pt x="2506" y="747"/>
                  <a:pt x="2505" y="748"/>
                </a:cubicBezTo>
                <a:cubicBezTo>
                  <a:pt x="2505" y="749"/>
                  <a:pt x="2505" y="749"/>
                  <a:pt x="2505" y="750"/>
                </a:cubicBezTo>
                <a:cubicBezTo>
                  <a:pt x="2504" y="751"/>
                  <a:pt x="2503" y="755"/>
                  <a:pt x="2504" y="756"/>
                </a:cubicBezTo>
                <a:cubicBezTo>
                  <a:pt x="2504" y="757"/>
                  <a:pt x="2503" y="757"/>
                  <a:pt x="2504" y="758"/>
                </a:cubicBezTo>
                <a:cubicBezTo>
                  <a:pt x="2504" y="759"/>
                  <a:pt x="2504" y="759"/>
                  <a:pt x="2505" y="760"/>
                </a:cubicBezTo>
                <a:cubicBezTo>
                  <a:pt x="2506" y="761"/>
                  <a:pt x="2506" y="760"/>
                  <a:pt x="2506" y="761"/>
                </a:cubicBezTo>
                <a:cubicBezTo>
                  <a:pt x="2505" y="763"/>
                  <a:pt x="2505" y="763"/>
                  <a:pt x="2504" y="763"/>
                </a:cubicBezTo>
                <a:cubicBezTo>
                  <a:pt x="2504" y="763"/>
                  <a:pt x="2503" y="763"/>
                  <a:pt x="2503" y="763"/>
                </a:cubicBezTo>
                <a:cubicBezTo>
                  <a:pt x="2502" y="763"/>
                  <a:pt x="2501" y="762"/>
                  <a:pt x="2500" y="762"/>
                </a:cubicBezTo>
                <a:cubicBezTo>
                  <a:pt x="2500" y="761"/>
                  <a:pt x="2499" y="760"/>
                  <a:pt x="2499" y="759"/>
                </a:cubicBezTo>
                <a:cubicBezTo>
                  <a:pt x="2498" y="758"/>
                  <a:pt x="2497" y="758"/>
                  <a:pt x="2497" y="757"/>
                </a:cubicBezTo>
                <a:cubicBezTo>
                  <a:pt x="2497" y="757"/>
                  <a:pt x="2496" y="755"/>
                  <a:pt x="2496" y="755"/>
                </a:cubicBezTo>
                <a:cubicBezTo>
                  <a:pt x="2496" y="754"/>
                  <a:pt x="2499" y="753"/>
                  <a:pt x="2499" y="753"/>
                </a:cubicBezTo>
                <a:cubicBezTo>
                  <a:pt x="2501" y="751"/>
                  <a:pt x="2500" y="749"/>
                  <a:pt x="2500" y="746"/>
                </a:cubicBezTo>
                <a:close/>
                <a:moveTo>
                  <a:pt x="2532" y="803"/>
                </a:moveTo>
                <a:cubicBezTo>
                  <a:pt x="2532" y="804"/>
                  <a:pt x="2530" y="806"/>
                  <a:pt x="2529" y="805"/>
                </a:cubicBezTo>
                <a:cubicBezTo>
                  <a:pt x="2529" y="804"/>
                  <a:pt x="2529" y="803"/>
                  <a:pt x="2530" y="803"/>
                </a:cubicBezTo>
                <a:cubicBezTo>
                  <a:pt x="2530" y="802"/>
                  <a:pt x="2531" y="803"/>
                  <a:pt x="2532" y="803"/>
                </a:cubicBezTo>
                <a:close/>
                <a:moveTo>
                  <a:pt x="2531" y="756"/>
                </a:moveTo>
                <a:cubicBezTo>
                  <a:pt x="2531" y="756"/>
                  <a:pt x="2531" y="755"/>
                  <a:pt x="2531" y="754"/>
                </a:cubicBezTo>
                <a:cubicBezTo>
                  <a:pt x="2531" y="754"/>
                  <a:pt x="2532" y="751"/>
                  <a:pt x="2532" y="752"/>
                </a:cubicBezTo>
                <a:cubicBezTo>
                  <a:pt x="2532" y="754"/>
                  <a:pt x="2535" y="755"/>
                  <a:pt x="2531" y="756"/>
                </a:cubicBezTo>
                <a:close/>
                <a:moveTo>
                  <a:pt x="2483" y="718"/>
                </a:moveTo>
                <a:cubicBezTo>
                  <a:pt x="2483" y="718"/>
                  <a:pt x="2483" y="719"/>
                  <a:pt x="2483" y="720"/>
                </a:cubicBezTo>
                <a:cubicBezTo>
                  <a:pt x="2484" y="721"/>
                  <a:pt x="2484" y="721"/>
                  <a:pt x="2484" y="722"/>
                </a:cubicBezTo>
                <a:cubicBezTo>
                  <a:pt x="2484" y="724"/>
                  <a:pt x="2485" y="725"/>
                  <a:pt x="2483" y="726"/>
                </a:cubicBezTo>
                <a:cubicBezTo>
                  <a:pt x="2481" y="727"/>
                  <a:pt x="2482" y="727"/>
                  <a:pt x="2479" y="725"/>
                </a:cubicBezTo>
                <a:cubicBezTo>
                  <a:pt x="2477" y="723"/>
                  <a:pt x="2476" y="722"/>
                  <a:pt x="2476" y="722"/>
                </a:cubicBezTo>
                <a:cubicBezTo>
                  <a:pt x="2475" y="721"/>
                  <a:pt x="2475" y="716"/>
                  <a:pt x="2474" y="716"/>
                </a:cubicBezTo>
                <a:cubicBezTo>
                  <a:pt x="2473" y="716"/>
                  <a:pt x="2471" y="715"/>
                  <a:pt x="2472" y="714"/>
                </a:cubicBezTo>
                <a:cubicBezTo>
                  <a:pt x="2473" y="714"/>
                  <a:pt x="2473" y="714"/>
                  <a:pt x="2473" y="714"/>
                </a:cubicBezTo>
                <a:cubicBezTo>
                  <a:pt x="2475" y="715"/>
                  <a:pt x="2479" y="715"/>
                  <a:pt x="2481" y="716"/>
                </a:cubicBezTo>
                <a:cubicBezTo>
                  <a:pt x="2481" y="716"/>
                  <a:pt x="2483" y="717"/>
                  <a:pt x="2483" y="718"/>
                </a:cubicBezTo>
                <a:close/>
                <a:moveTo>
                  <a:pt x="2469" y="733"/>
                </a:moveTo>
                <a:cubicBezTo>
                  <a:pt x="2469" y="732"/>
                  <a:pt x="2470" y="731"/>
                  <a:pt x="2470" y="731"/>
                </a:cubicBezTo>
                <a:cubicBezTo>
                  <a:pt x="2470" y="730"/>
                  <a:pt x="2469" y="728"/>
                  <a:pt x="2468" y="727"/>
                </a:cubicBezTo>
                <a:cubicBezTo>
                  <a:pt x="2471" y="728"/>
                  <a:pt x="2471" y="728"/>
                  <a:pt x="2473" y="729"/>
                </a:cubicBezTo>
                <a:cubicBezTo>
                  <a:pt x="2474" y="730"/>
                  <a:pt x="2472" y="731"/>
                  <a:pt x="2472" y="731"/>
                </a:cubicBezTo>
                <a:cubicBezTo>
                  <a:pt x="2471" y="731"/>
                  <a:pt x="2471" y="731"/>
                  <a:pt x="2471" y="732"/>
                </a:cubicBezTo>
                <a:cubicBezTo>
                  <a:pt x="2472" y="735"/>
                  <a:pt x="2469" y="733"/>
                  <a:pt x="2469" y="733"/>
                </a:cubicBezTo>
                <a:close/>
                <a:moveTo>
                  <a:pt x="2536" y="770"/>
                </a:moveTo>
                <a:cubicBezTo>
                  <a:pt x="2536" y="770"/>
                  <a:pt x="2536" y="771"/>
                  <a:pt x="2536" y="772"/>
                </a:cubicBezTo>
                <a:cubicBezTo>
                  <a:pt x="2536" y="774"/>
                  <a:pt x="2537" y="774"/>
                  <a:pt x="2537" y="775"/>
                </a:cubicBezTo>
                <a:cubicBezTo>
                  <a:pt x="2537" y="776"/>
                  <a:pt x="2536" y="776"/>
                  <a:pt x="2537" y="778"/>
                </a:cubicBezTo>
                <a:cubicBezTo>
                  <a:pt x="2539" y="780"/>
                  <a:pt x="2538" y="780"/>
                  <a:pt x="2538" y="783"/>
                </a:cubicBezTo>
                <a:cubicBezTo>
                  <a:pt x="2538" y="785"/>
                  <a:pt x="2537" y="786"/>
                  <a:pt x="2536" y="787"/>
                </a:cubicBezTo>
                <a:cubicBezTo>
                  <a:pt x="2536" y="787"/>
                  <a:pt x="2535" y="787"/>
                  <a:pt x="2535" y="788"/>
                </a:cubicBezTo>
                <a:cubicBezTo>
                  <a:pt x="2535" y="790"/>
                  <a:pt x="2536" y="792"/>
                  <a:pt x="2536" y="795"/>
                </a:cubicBezTo>
                <a:cubicBezTo>
                  <a:pt x="2534" y="795"/>
                  <a:pt x="2535" y="792"/>
                  <a:pt x="2535" y="791"/>
                </a:cubicBezTo>
                <a:cubicBezTo>
                  <a:pt x="2534" y="787"/>
                  <a:pt x="2534" y="787"/>
                  <a:pt x="2534" y="787"/>
                </a:cubicBezTo>
                <a:cubicBezTo>
                  <a:pt x="2532" y="785"/>
                  <a:pt x="2533" y="786"/>
                  <a:pt x="2532" y="783"/>
                </a:cubicBezTo>
                <a:cubicBezTo>
                  <a:pt x="2531" y="781"/>
                  <a:pt x="2530" y="786"/>
                  <a:pt x="2529" y="786"/>
                </a:cubicBezTo>
                <a:cubicBezTo>
                  <a:pt x="2529" y="787"/>
                  <a:pt x="2529" y="786"/>
                  <a:pt x="2528" y="788"/>
                </a:cubicBezTo>
                <a:cubicBezTo>
                  <a:pt x="2527" y="792"/>
                  <a:pt x="2530" y="791"/>
                  <a:pt x="2530" y="794"/>
                </a:cubicBezTo>
                <a:cubicBezTo>
                  <a:pt x="2530" y="795"/>
                  <a:pt x="2530" y="796"/>
                  <a:pt x="2531" y="798"/>
                </a:cubicBezTo>
                <a:cubicBezTo>
                  <a:pt x="2531" y="798"/>
                  <a:pt x="2530" y="800"/>
                  <a:pt x="2529" y="801"/>
                </a:cubicBezTo>
                <a:cubicBezTo>
                  <a:pt x="2528" y="802"/>
                  <a:pt x="2528" y="803"/>
                  <a:pt x="2526" y="800"/>
                </a:cubicBezTo>
                <a:cubicBezTo>
                  <a:pt x="2526" y="799"/>
                  <a:pt x="2528" y="798"/>
                  <a:pt x="2527" y="797"/>
                </a:cubicBezTo>
                <a:cubicBezTo>
                  <a:pt x="2526" y="797"/>
                  <a:pt x="2526" y="796"/>
                  <a:pt x="2526" y="796"/>
                </a:cubicBezTo>
                <a:cubicBezTo>
                  <a:pt x="2525" y="796"/>
                  <a:pt x="2525" y="798"/>
                  <a:pt x="2525" y="798"/>
                </a:cubicBezTo>
                <a:cubicBezTo>
                  <a:pt x="2525" y="798"/>
                  <a:pt x="2526" y="799"/>
                  <a:pt x="2524" y="799"/>
                </a:cubicBezTo>
                <a:cubicBezTo>
                  <a:pt x="2522" y="798"/>
                  <a:pt x="2522" y="798"/>
                  <a:pt x="2522" y="798"/>
                </a:cubicBezTo>
                <a:cubicBezTo>
                  <a:pt x="2521" y="798"/>
                  <a:pt x="2522" y="799"/>
                  <a:pt x="2519" y="797"/>
                </a:cubicBezTo>
                <a:cubicBezTo>
                  <a:pt x="2517" y="796"/>
                  <a:pt x="2517" y="795"/>
                  <a:pt x="2517" y="795"/>
                </a:cubicBezTo>
                <a:cubicBezTo>
                  <a:pt x="2517" y="795"/>
                  <a:pt x="2516" y="795"/>
                  <a:pt x="2516" y="794"/>
                </a:cubicBezTo>
                <a:cubicBezTo>
                  <a:pt x="2514" y="792"/>
                  <a:pt x="2514" y="792"/>
                  <a:pt x="2514" y="790"/>
                </a:cubicBezTo>
                <a:cubicBezTo>
                  <a:pt x="2514" y="790"/>
                  <a:pt x="2515" y="790"/>
                  <a:pt x="2514" y="789"/>
                </a:cubicBezTo>
                <a:cubicBezTo>
                  <a:pt x="2513" y="787"/>
                  <a:pt x="2514" y="785"/>
                  <a:pt x="2515" y="784"/>
                </a:cubicBezTo>
                <a:cubicBezTo>
                  <a:pt x="2515" y="784"/>
                  <a:pt x="2516" y="785"/>
                  <a:pt x="2516" y="784"/>
                </a:cubicBezTo>
                <a:cubicBezTo>
                  <a:pt x="2516" y="783"/>
                  <a:pt x="2516" y="782"/>
                  <a:pt x="2515" y="782"/>
                </a:cubicBezTo>
                <a:cubicBezTo>
                  <a:pt x="2515" y="781"/>
                  <a:pt x="2515" y="781"/>
                  <a:pt x="2514" y="780"/>
                </a:cubicBezTo>
                <a:cubicBezTo>
                  <a:pt x="2512" y="779"/>
                  <a:pt x="2512" y="779"/>
                  <a:pt x="2512" y="779"/>
                </a:cubicBezTo>
                <a:cubicBezTo>
                  <a:pt x="2512" y="779"/>
                  <a:pt x="2510" y="778"/>
                  <a:pt x="2510" y="778"/>
                </a:cubicBezTo>
                <a:cubicBezTo>
                  <a:pt x="2509" y="777"/>
                  <a:pt x="2509" y="777"/>
                  <a:pt x="2509" y="777"/>
                </a:cubicBezTo>
                <a:cubicBezTo>
                  <a:pt x="2508" y="777"/>
                  <a:pt x="2508" y="777"/>
                  <a:pt x="2508" y="778"/>
                </a:cubicBezTo>
                <a:cubicBezTo>
                  <a:pt x="2508" y="778"/>
                  <a:pt x="2509" y="779"/>
                  <a:pt x="2508" y="779"/>
                </a:cubicBezTo>
                <a:cubicBezTo>
                  <a:pt x="2508" y="781"/>
                  <a:pt x="2508" y="782"/>
                  <a:pt x="2508" y="782"/>
                </a:cubicBezTo>
                <a:cubicBezTo>
                  <a:pt x="2507" y="782"/>
                  <a:pt x="2506" y="781"/>
                  <a:pt x="2506" y="780"/>
                </a:cubicBezTo>
                <a:cubicBezTo>
                  <a:pt x="2506" y="780"/>
                  <a:pt x="2506" y="779"/>
                  <a:pt x="2506" y="779"/>
                </a:cubicBezTo>
                <a:cubicBezTo>
                  <a:pt x="2506" y="779"/>
                  <a:pt x="2506" y="778"/>
                  <a:pt x="2505" y="778"/>
                </a:cubicBezTo>
                <a:cubicBezTo>
                  <a:pt x="2504" y="779"/>
                  <a:pt x="2504" y="780"/>
                  <a:pt x="2504" y="780"/>
                </a:cubicBezTo>
                <a:cubicBezTo>
                  <a:pt x="2501" y="783"/>
                  <a:pt x="2502" y="778"/>
                  <a:pt x="2501" y="778"/>
                </a:cubicBezTo>
                <a:cubicBezTo>
                  <a:pt x="2501" y="777"/>
                  <a:pt x="2501" y="777"/>
                  <a:pt x="2500" y="777"/>
                </a:cubicBezTo>
                <a:cubicBezTo>
                  <a:pt x="2498" y="779"/>
                  <a:pt x="2499" y="780"/>
                  <a:pt x="2498" y="782"/>
                </a:cubicBezTo>
                <a:cubicBezTo>
                  <a:pt x="2497" y="783"/>
                  <a:pt x="2497" y="783"/>
                  <a:pt x="2497" y="784"/>
                </a:cubicBezTo>
                <a:cubicBezTo>
                  <a:pt x="2496" y="786"/>
                  <a:pt x="2497" y="786"/>
                  <a:pt x="2497" y="787"/>
                </a:cubicBezTo>
                <a:cubicBezTo>
                  <a:pt x="2497" y="789"/>
                  <a:pt x="2496" y="788"/>
                  <a:pt x="2495" y="787"/>
                </a:cubicBezTo>
                <a:cubicBezTo>
                  <a:pt x="2495" y="787"/>
                  <a:pt x="2494" y="787"/>
                  <a:pt x="2494" y="786"/>
                </a:cubicBezTo>
                <a:cubicBezTo>
                  <a:pt x="2493" y="783"/>
                  <a:pt x="2494" y="783"/>
                  <a:pt x="2494" y="783"/>
                </a:cubicBezTo>
                <a:cubicBezTo>
                  <a:pt x="2495" y="781"/>
                  <a:pt x="2495" y="778"/>
                  <a:pt x="2495" y="777"/>
                </a:cubicBezTo>
                <a:cubicBezTo>
                  <a:pt x="2496" y="776"/>
                  <a:pt x="2496" y="774"/>
                  <a:pt x="2498" y="774"/>
                </a:cubicBezTo>
                <a:cubicBezTo>
                  <a:pt x="2499" y="774"/>
                  <a:pt x="2500" y="774"/>
                  <a:pt x="2501" y="774"/>
                </a:cubicBezTo>
                <a:cubicBezTo>
                  <a:pt x="2503" y="772"/>
                  <a:pt x="2502" y="771"/>
                  <a:pt x="2503" y="770"/>
                </a:cubicBezTo>
                <a:cubicBezTo>
                  <a:pt x="2504" y="770"/>
                  <a:pt x="2504" y="770"/>
                  <a:pt x="2504" y="770"/>
                </a:cubicBezTo>
                <a:cubicBezTo>
                  <a:pt x="2506" y="768"/>
                  <a:pt x="2506" y="768"/>
                  <a:pt x="2506" y="768"/>
                </a:cubicBezTo>
                <a:cubicBezTo>
                  <a:pt x="2507" y="767"/>
                  <a:pt x="2509" y="767"/>
                  <a:pt x="2509" y="768"/>
                </a:cubicBezTo>
                <a:cubicBezTo>
                  <a:pt x="2509" y="768"/>
                  <a:pt x="2511" y="769"/>
                  <a:pt x="2511" y="770"/>
                </a:cubicBezTo>
                <a:cubicBezTo>
                  <a:pt x="2511" y="770"/>
                  <a:pt x="2511" y="770"/>
                  <a:pt x="2511" y="771"/>
                </a:cubicBezTo>
                <a:cubicBezTo>
                  <a:pt x="2511" y="772"/>
                  <a:pt x="2512" y="773"/>
                  <a:pt x="2512" y="773"/>
                </a:cubicBezTo>
                <a:cubicBezTo>
                  <a:pt x="2514" y="773"/>
                  <a:pt x="2514" y="773"/>
                  <a:pt x="2516" y="772"/>
                </a:cubicBezTo>
                <a:cubicBezTo>
                  <a:pt x="2516" y="772"/>
                  <a:pt x="2516" y="770"/>
                  <a:pt x="2516" y="769"/>
                </a:cubicBezTo>
                <a:cubicBezTo>
                  <a:pt x="2516" y="769"/>
                  <a:pt x="2516" y="767"/>
                  <a:pt x="2517" y="768"/>
                </a:cubicBezTo>
                <a:cubicBezTo>
                  <a:pt x="2518" y="769"/>
                  <a:pt x="2518" y="769"/>
                  <a:pt x="2519" y="770"/>
                </a:cubicBezTo>
                <a:cubicBezTo>
                  <a:pt x="2520" y="770"/>
                  <a:pt x="2520" y="771"/>
                  <a:pt x="2520" y="770"/>
                </a:cubicBezTo>
                <a:cubicBezTo>
                  <a:pt x="2521" y="767"/>
                  <a:pt x="2520" y="764"/>
                  <a:pt x="2521" y="764"/>
                </a:cubicBezTo>
                <a:cubicBezTo>
                  <a:pt x="2521" y="764"/>
                  <a:pt x="2520" y="763"/>
                  <a:pt x="2522" y="765"/>
                </a:cubicBezTo>
                <a:cubicBezTo>
                  <a:pt x="2523" y="766"/>
                  <a:pt x="2524" y="767"/>
                  <a:pt x="2524" y="766"/>
                </a:cubicBezTo>
                <a:cubicBezTo>
                  <a:pt x="2524" y="764"/>
                  <a:pt x="2523" y="763"/>
                  <a:pt x="2524" y="763"/>
                </a:cubicBezTo>
                <a:cubicBezTo>
                  <a:pt x="2525" y="764"/>
                  <a:pt x="2526" y="765"/>
                  <a:pt x="2526" y="764"/>
                </a:cubicBezTo>
                <a:cubicBezTo>
                  <a:pt x="2528" y="762"/>
                  <a:pt x="2525" y="761"/>
                  <a:pt x="2525" y="759"/>
                </a:cubicBezTo>
                <a:cubicBezTo>
                  <a:pt x="2525" y="758"/>
                  <a:pt x="2525" y="757"/>
                  <a:pt x="2525" y="756"/>
                </a:cubicBezTo>
                <a:cubicBezTo>
                  <a:pt x="2527" y="755"/>
                  <a:pt x="2528" y="757"/>
                  <a:pt x="2529" y="757"/>
                </a:cubicBezTo>
                <a:cubicBezTo>
                  <a:pt x="2529" y="758"/>
                  <a:pt x="2531" y="759"/>
                  <a:pt x="2531" y="759"/>
                </a:cubicBezTo>
                <a:cubicBezTo>
                  <a:pt x="2532" y="760"/>
                  <a:pt x="2532" y="759"/>
                  <a:pt x="2532" y="760"/>
                </a:cubicBezTo>
                <a:cubicBezTo>
                  <a:pt x="2533" y="763"/>
                  <a:pt x="2536" y="765"/>
                  <a:pt x="2534" y="766"/>
                </a:cubicBezTo>
                <a:cubicBezTo>
                  <a:pt x="2534" y="767"/>
                  <a:pt x="2533" y="767"/>
                  <a:pt x="2533" y="768"/>
                </a:cubicBezTo>
                <a:cubicBezTo>
                  <a:pt x="2534" y="771"/>
                  <a:pt x="2534" y="770"/>
                  <a:pt x="2536" y="770"/>
                </a:cubicBezTo>
                <a:close/>
                <a:moveTo>
                  <a:pt x="2507" y="722"/>
                </a:moveTo>
                <a:cubicBezTo>
                  <a:pt x="2507" y="722"/>
                  <a:pt x="2508" y="721"/>
                  <a:pt x="2508" y="721"/>
                </a:cubicBezTo>
                <a:cubicBezTo>
                  <a:pt x="2508" y="721"/>
                  <a:pt x="2509" y="719"/>
                  <a:pt x="2509" y="719"/>
                </a:cubicBezTo>
                <a:cubicBezTo>
                  <a:pt x="2511" y="721"/>
                  <a:pt x="2510" y="722"/>
                  <a:pt x="2510" y="723"/>
                </a:cubicBezTo>
                <a:cubicBezTo>
                  <a:pt x="2510" y="723"/>
                  <a:pt x="2509" y="725"/>
                  <a:pt x="2508" y="724"/>
                </a:cubicBezTo>
                <a:cubicBezTo>
                  <a:pt x="2508" y="724"/>
                  <a:pt x="2507" y="722"/>
                  <a:pt x="2507" y="722"/>
                </a:cubicBezTo>
                <a:close/>
                <a:moveTo>
                  <a:pt x="2506" y="727"/>
                </a:moveTo>
                <a:cubicBezTo>
                  <a:pt x="2504" y="725"/>
                  <a:pt x="2504" y="724"/>
                  <a:pt x="2504" y="724"/>
                </a:cubicBezTo>
                <a:cubicBezTo>
                  <a:pt x="2505" y="723"/>
                  <a:pt x="2506" y="725"/>
                  <a:pt x="2507" y="725"/>
                </a:cubicBezTo>
                <a:cubicBezTo>
                  <a:pt x="2507" y="726"/>
                  <a:pt x="2506" y="726"/>
                  <a:pt x="2506" y="727"/>
                </a:cubicBezTo>
                <a:close/>
                <a:moveTo>
                  <a:pt x="2506" y="727"/>
                </a:moveTo>
                <a:cubicBezTo>
                  <a:pt x="2506" y="727"/>
                  <a:pt x="2506" y="727"/>
                  <a:pt x="2506" y="727"/>
                </a:cubicBezTo>
                <a:cubicBezTo>
                  <a:pt x="2508" y="729"/>
                  <a:pt x="2511" y="732"/>
                  <a:pt x="2511" y="734"/>
                </a:cubicBezTo>
                <a:cubicBezTo>
                  <a:pt x="2510" y="735"/>
                  <a:pt x="2508" y="733"/>
                  <a:pt x="2507" y="733"/>
                </a:cubicBezTo>
                <a:cubicBezTo>
                  <a:pt x="2506" y="731"/>
                  <a:pt x="2507" y="728"/>
                  <a:pt x="2505" y="728"/>
                </a:cubicBezTo>
                <a:cubicBezTo>
                  <a:pt x="2503" y="728"/>
                  <a:pt x="2501" y="734"/>
                  <a:pt x="2501" y="732"/>
                </a:cubicBezTo>
                <a:cubicBezTo>
                  <a:pt x="2501" y="730"/>
                  <a:pt x="2501" y="727"/>
                  <a:pt x="2502" y="724"/>
                </a:cubicBezTo>
                <a:cubicBezTo>
                  <a:pt x="2502" y="723"/>
                  <a:pt x="2504" y="726"/>
                  <a:pt x="2506" y="727"/>
                </a:cubicBezTo>
                <a:close/>
                <a:moveTo>
                  <a:pt x="2496" y="726"/>
                </a:moveTo>
                <a:cubicBezTo>
                  <a:pt x="2496" y="726"/>
                  <a:pt x="2497" y="728"/>
                  <a:pt x="2497" y="728"/>
                </a:cubicBezTo>
                <a:cubicBezTo>
                  <a:pt x="2496" y="728"/>
                  <a:pt x="2495" y="728"/>
                  <a:pt x="2495" y="728"/>
                </a:cubicBezTo>
                <a:cubicBezTo>
                  <a:pt x="2495" y="727"/>
                  <a:pt x="2495" y="727"/>
                  <a:pt x="2494" y="726"/>
                </a:cubicBezTo>
                <a:cubicBezTo>
                  <a:pt x="2495" y="726"/>
                  <a:pt x="2496" y="726"/>
                  <a:pt x="2496" y="726"/>
                </a:cubicBezTo>
                <a:close/>
                <a:moveTo>
                  <a:pt x="2483" y="806"/>
                </a:moveTo>
                <a:cubicBezTo>
                  <a:pt x="2483" y="807"/>
                  <a:pt x="2481" y="808"/>
                  <a:pt x="2481" y="807"/>
                </a:cubicBezTo>
                <a:cubicBezTo>
                  <a:pt x="2481" y="805"/>
                  <a:pt x="2483" y="805"/>
                  <a:pt x="2483" y="806"/>
                </a:cubicBezTo>
                <a:close/>
                <a:moveTo>
                  <a:pt x="2484" y="793"/>
                </a:moveTo>
                <a:cubicBezTo>
                  <a:pt x="2485" y="795"/>
                  <a:pt x="2484" y="794"/>
                  <a:pt x="2482" y="794"/>
                </a:cubicBezTo>
                <a:cubicBezTo>
                  <a:pt x="2482" y="794"/>
                  <a:pt x="2482" y="794"/>
                  <a:pt x="2482" y="793"/>
                </a:cubicBezTo>
                <a:cubicBezTo>
                  <a:pt x="2482" y="793"/>
                  <a:pt x="2482" y="793"/>
                  <a:pt x="2482" y="793"/>
                </a:cubicBezTo>
                <a:cubicBezTo>
                  <a:pt x="2482" y="793"/>
                  <a:pt x="2482" y="793"/>
                  <a:pt x="2483" y="792"/>
                </a:cubicBezTo>
                <a:cubicBezTo>
                  <a:pt x="2483" y="792"/>
                  <a:pt x="2484" y="792"/>
                  <a:pt x="2484" y="793"/>
                </a:cubicBezTo>
                <a:close/>
                <a:moveTo>
                  <a:pt x="2474" y="799"/>
                </a:moveTo>
                <a:cubicBezTo>
                  <a:pt x="2474" y="798"/>
                  <a:pt x="2476" y="798"/>
                  <a:pt x="2475" y="800"/>
                </a:cubicBezTo>
                <a:cubicBezTo>
                  <a:pt x="2475" y="801"/>
                  <a:pt x="2473" y="799"/>
                  <a:pt x="2474" y="799"/>
                </a:cubicBezTo>
                <a:close/>
                <a:moveTo>
                  <a:pt x="2485" y="797"/>
                </a:moveTo>
                <a:cubicBezTo>
                  <a:pt x="2486" y="797"/>
                  <a:pt x="2487" y="797"/>
                  <a:pt x="2488" y="797"/>
                </a:cubicBezTo>
                <a:cubicBezTo>
                  <a:pt x="2488" y="797"/>
                  <a:pt x="2489" y="796"/>
                  <a:pt x="2489" y="797"/>
                </a:cubicBezTo>
                <a:cubicBezTo>
                  <a:pt x="2490" y="798"/>
                  <a:pt x="2489" y="800"/>
                  <a:pt x="2488" y="799"/>
                </a:cubicBezTo>
                <a:cubicBezTo>
                  <a:pt x="2487" y="799"/>
                  <a:pt x="2489" y="797"/>
                  <a:pt x="2486" y="798"/>
                </a:cubicBezTo>
                <a:cubicBezTo>
                  <a:pt x="2485" y="798"/>
                  <a:pt x="2485" y="799"/>
                  <a:pt x="2484" y="798"/>
                </a:cubicBezTo>
                <a:cubicBezTo>
                  <a:pt x="2483" y="798"/>
                  <a:pt x="2484" y="797"/>
                  <a:pt x="2485" y="797"/>
                </a:cubicBezTo>
                <a:close/>
                <a:moveTo>
                  <a:pt x="2477" y="798"/>
                </a:moveTo>
                <a:cubicBezTo>
                  <a:pt x="2477" y="798"/>
                  <a:pt x="2477" y="797"/>
                  <a:pt x="2478" y="797"/>
                </a:cubicBezTo>
                <a:cubicBezTo>
                  <a:pt x="2478" y="797"/>
                  <a:pt x="2479" y="797"/>
                  <a:pt x="2479" y="798"/>
                </a:cubicBezTo>
                <a:cubicBezTo>
                  <a:pt x="2478" y="798"/>
                  <a:pt x="2477" y="799"/>
                  <a:pt x="2477" y="798"/>
                </a:cubicBezTo>
                <a:close/>
                <a:moveTo>
                  <a:pt x="2482" y="794"/>
                </a:moveTo>
                <a:cubicBezTo>
                  <a:pt x="2482" y="794"/>
                  <a:pt x="2482" y="794"/>
                  <a:pt x="2482" y="794"/>
                </a:cubicBezTo>
                <a:cubicBezTo>
                  <a:pt x="2482" y="795"/>
                  <a:pt x="2482" y="795"/>
                  <a:pt x="2480" y="796"/>
                </a:cubicBezTo>
                <a:cubicBezTo>
                  <a:pt x="2480" y="794"/>
                  <a:pt x="2481" y="795"/>
                  <a:pt x="2482" y="793"/>
                </a:cubicBezTo>
                <a:cubicBezTo>
                  <a:pt x="2482" y="794"/>
                  <a:pt x="2482" y="794"/>
                  <a:pt x="2482" y="794"/>
                </a:cubicBezTo>
                <a:close/>
                <a:moveTo>
                  <a:pt x="2477" y="636"/>
                </a:moveTo>
                <a:cubicBezTo>
                  <a:pt x="2478" y="638"/>
                  <a:pt x="2477" y="639"/>
                  <a:pt x="2475" y="639"/>
                </a:cubicBezTo>
                <a:cubicBezTo>
                  <a:pt x="2475" y="638"/>
                  <a:pt x="2477" y="636"/>
                  <a:pt x="2477" y="636"/>
                </a:cubicBezTo>
                <a:close/>
                <a:moveTo>
                  <a:pt x="2481" y="654"/>
                </a:moveTo>
                <a:cubicBezTo>
                  <a:pt x="2481" y="655"/>
                  <a:pt x="2478" y="656"/>
                  <a:pt x="2478" y="656"/>
                </a:cubicBezTo>
                <a:cubicBezTo>
                  <a:pt x="2478" y="655"/>
                  <a:pt x="2477" y="654"/>
                  <a:pt x="2478" y="653"/>
                </a:cubicBezTo>
                <a:cubicBezTo>
                  <a:pt x="2479" y="652"/>
                  <a:pt x="2481" y="653"/>
                  <a:pt x="2481" y="654"/>
                </a:cubicBezTo>
                <a:close/>
                <a:moveTo>
                  <a:pt x="2472" y="658"/>
                </a:moveTo>
                <a:cubicBezTo>
                  <a:pt x="2472" y="659"/>
                  <a:pt x="2473" y="659"/>
                  <a:pt x="2474" y="659"/>
                </a:cubicBezTo>
                <a:cubicBezTo>
                  <a:pt x="2475" y="659"/>
                  <a:pt x="2478" y="661"/>
                  <a:pt x="2479" y="661"/>
                </a:cubicBezTo>
                <a:cubicBezTo>
                  <a:pt x="2481" y="659"/>
                  <a:pt x="2482" y="658"/>
                  <a:pt x="2483" y="659"/>
                </a:cubicBezTo>
                <a:cubicBezTo>
                  <a:pt x="2483" y="660"/>
                  <a:pt x="2483" y="661"/>
                  <a:pt x="2483" y="662"/>
                </a:cubicBezTo>
                <a:cubicBezTo>
                  <a:pt x="2483" y="662"/>
                  <a:pt x="2482" y="666"/>
                  <a:pt x="2482" y="666"/>
                </a:cubicBezTo>
                <a:cubicBezTo>
                  <a:pt x="2482" y="666"/>
                  <a:pt x="2484" y="670"/>
                  <a:pt x="2484" y="671"/>
                </a:cubicBezTo>
                <a:cubicBezTo>
                  <a:pt x="2484" y="672"/>
                  <a:pt x="2486" y="673"/>
                  <a:pt x="2486" y="674"/>
                </a:cubicBezTo>
                <a:cubicBezTo>
                  <a:pt x="2487" y="674"/>
                  <a:pt x="2487" y="677"/>
                  <a:pt x="2487" y="677"/>
                </a:cubicBezTo>
                <a:cubicBezTo>
                  <a:pt x="2487" y="677"/>
                  <a:pt x="2486" y="680"/>
                  <a:pt x="2486" y="681"/>
                </a:cubicBezTo>
                <a:cubicBezTo>
                  <a:pt x="2486" y="681"/>
                  <a:pt x="2485" y="685"/>
                  <a:pt x="2485" y="687"/>
                </a:cubicBezTo>
                <a:cubicBezTo>
                  <a:pt x="2483" y="685"/>
                  <a:pt x="2484" y="685"/>
                  <a:pt x="2482" y="686"/>
                </a:cubicBezTo>
                <a:cubicBezTo>
                  <a:pt x="2481" y="686"/>
                  <a:pt x="2480" y="688"/>
                  <a:pt x="2480" y="689"/>
                </a:cubicBezTo>
                <a:cubicBezTo>
                  <a:pt x="2480" y="689"/>
                  <a:pt x="2481" y="690"/>
                  <a:pt x="2481" y="691"/>
                </a:cubicBezTo>
                <a:cubicBezTo>
                  <a:pt x="2481" y="691"/>
                  <a:pt x="2479" y="694"/>
                  <a:pt x="2479" y="695"/>
                </a:cubicBezTo>
                <a:cubicBezTo>
                  <a:pt x="2479" y="695"/>
                  <a:pt x="2483" y="696"/>
                  <a:pt x="2483" y="696"/>
                </a:cubicBezTo>
                <a:cubicBezTo>
                  <a:pt x="2483" y="697"/>
                  <a:pt x="2482" y="698"/>
                  <a:pt x="2483" y="698"/>
                </a:cubicBezTo>
                <a:cubicBezTo>
                  <a:pt x="2484" y="698"/>
                  <a:pt x="2484" y="696"/>
                  <a:pt x="2485" y="697"/>
                </a:cubicBezTo>
                <a:cubicBezTo>
                  <a:pt x="2486" y="698"/>
                  <a:pt x="2486" y="699"/>
                  <a:pt x="2486" y="701"/>
                </a:cubicBezTo>
                <a:cubicBezTo>
                  <a:pt x="2486" y="701"/>
                  <a:pt x="2486" y="702"/>
                  <a:pt x="2486" y="702"/>
                </a:cubicBezTo>
                <a:cubicBezTo>
                  <a:pt x="2485" y="704"/>
                  <a:pt x="2483" y="699"/>
                  <a:pt x="2483" y="700"/>
                </a:cubicBezTo>
                <a:cubicBezTo>
                  <a:pt x="2483" y="700"/>
                  <a:pt x="2483" y="702"/>
                  <a:pt x="2483" y="703"/>
                </a:cubicBezTo>
                <a:cubicBezTo>
                  <a:pt x="2483" y="703"/>
                  <a:pt x="2484" y="706"/>
                  <a:pt x="2485" y="706"/>
                </a:cubicBezTo>
                <a:cubicBezTo>
                  <a:pt x="2485" y="706"/>
                  <a:pt x="2488" y="710"/>
                  <a:pt x="2489" y="709"/>
                </a:cubicBezTo>
                <a:cubicBezTo>
                  <a:pt x="2490" y="709"/>
                  <a:pt x="2490" y="707"/>
                  <a:pt x="2490" y="706"/>
                </a:cubicBezTo>
                <a:cubicBezTo>
                  <a:pt x="2491" y="705"/>
                  <a:pt x="2492" y="705"/>
                  <a:pt x="2493" y="705"/>
                </a:cubicBezTo>
                <a:cubicBezTo>
                  <a:pt x="2494" y="704"/>
                  <a:pt x="2494" y="705"/>
                  <a:pt x="2495" y="705"/>
                </a:cubicBezTo>
                <a:cubicBezTo>
                  <a:pt x="2496" y="706"/>
                  <a:pt x="2496" y="706"/>
                  <a:pt x="2497" y="707"/>
                </a:cubicBezTo>
                <a:cubicBezTo>
                  <a:pt x="2499" y="710"/>
                  <a:pt x="2498" y="711"/>
                  <a:pt x="2499" y="711"/>
                </a:cubicBezTo>
                <a:cubicBezTo>
                  <a:pt x="2500" y="711"/>
                  <a:pt x="2500" y="711"/>
                  <a:pt x="2500" y="710"/>
                </a:cubicBezTo>
                <a:cubicBezTo>
                  <a:pt x="2500" y="709"/>
                  <a:pt x="2499" y="708"/>
                  <a:pt x="2500" y="707"/>
                </a:cubicBezTo>
                <a:cubicBezTo>
                  <a:pt x="2500" y="707"/>
                  <a:pt x="2502" y="709"/>
                  <a:pt x="2503" y="709"/>
                </a:cubicBezTo>
                <a:cubicBezTo>
                  <a:pt x="2504" y="710"/>
                  <a:pt x="2504" y="710"/>
                  <a:pt x="2505" y="710"/>
                </a:cubicBezTo>
                <a:cubicBezTo>
                  <a:pt x="2506" y="710"/>
                  <a:pt x="2506" y="712"/>
                  <a:pt x="2506" y="712"/>
                </a:cubicBezTo>
                <a:cubicBezTo>
                  <a:pt x="2505" y="712"/>
                  <a:pt x="2504" y="711"/>
                  <a:pt x="2504" y="711"/>
                </a:cubicBezTo>
                <a:cubicBezTo>
                  <a:pt x="2503" y="711"/>
                  <a:pt x="2503" y="713"/>
                  <a:pt x="2503" y="713"/>
                </a:cubicBezTo>
                <a:cubicBezTo>
                  <a:pt x="2503" y="713"/>
                  <a:pt x="2504" y="713"/>
                  <a:pt x="2505" y="714"/>
                </a:cubicBezTo>
                <a:cubicBezTo>
                  <a:pt x="2506" y="715"/>
                  <a:pt x="2505" y="716"/>
                  <a:pt x="2505" y="717"/>
                </a:cubicBezTo>
                <a:cubicBezTo>
                  <a:pt x="2506" y="719"/>
                  <a:pt x="2506" y="718"/>
                  <a:pt x="2507" y="718"/>
                </a:cubicBezTo>
                <a:cubicBezTo>
                  <a:pt x="2508" y="718"/>
                  <a:pt x="2508" y="720"/>
                  <a:pt x="2508" y="720"/>
                </a:cubicBezTo>
                <a:cubicBezTo>
                  <a:pt x="2507" y="721"/>
                  <a:pt x="2506" y="721"/>
                  <a:pt x="2505" y="722"/>
                </a:cubicBezTo>
                <a:cubicBezTo>
                  <a:pt x="2504" y="720"/>
                  <a:pt x="2504" y="720"/>
                  <a:pt x="2501" y="720"/>
                </a:cubicBezTo>
                <a:cubicBezTo>
                  <a:pt x="2501" y="716"/>
                  <a:pt x="2501" y="716"/>
                  <a:pt x="2501" y="716"/>
                </a:cubicBezTo>
                <a:cubicBezTo>
                  <a:pt x="2500" y="715"/>
                  <a:pt x="2498" y="714"/>
                  <a:pt x="2497" y="714"/>
                </a:cubicBezTo>
                <a:cubicBezTo>
                  <a:pt x="2497" y="714"/>
                  <a:pt x="2495" y="712"/>
                  <a:pt x="2495" y="712"/>
                </a:cubicBezTo>
                <a:cubicBezTo>
                  <a:pt x="2494" y="711"/>
                  <a:pt x="2494" y="709"/>
                  <a:pt x="2492" y="709"/>
                </a:cubicBezTo>
                <a:cubicBezTo>
                  <a:pt x="2492" y="709"/>
                  <a:pt x="2491" y="711"/>
                  <a:pt x="2491" y="711"/>
                </a:cubicBezTo>
                <a:cubicBezTo>
                  <a:pt x="2491" y="711"/>
                  <a:pt x="2492" y="711"/>
                  <a:pt x="2492" y="712"/>
                </a:cubicBezTo>
                <a:cubicBezTo>
                  <a:pt x="2493" y="714"/>
                  <a:pt x="2497" y="716"/>
                  <a:pt x="2495" y="718"/>
                </a:cubicBezTo>
                <a:cubicBezTo>
                  <a:pt x="2490" y="715"/>
                  <a:pt x="2492" y="716"/>
                  <a:pt x="2489" y="712"/>
                </a:cubicBezTo>
                <a:cubicBezTo>
                  <a:pt x="2486" y="710"/>
                  <a:pt x="2483" y="708"/>
                  <a:pt x="2483" y="714"/>
                </a:cubicBezTo>
                <a:cubicBezTo>
                  <a:pt x="2483" y="714"/>
                  <a:pt x="2482" y="714"/>
                  <a:pt x="2480" y="713"/>
                </a:cubicBezTo>
                <a:cubicBezTo>
                  <a:pt x="2477" y="713"/>
                  <a:pt x="2479" y="713"/>
                  <a:pt x="2478" y="712"/>
                </a:cubicBezTo>
                <a:cubicBezTo>
                  <a:pt x="2478" y="711"/>
                  <a:pt x="2478" y="711"/>
                  <a:pt x="2476" y="710"/>
                </a:cubicBezTo>
                <a:cubicBezTo>
                  <a:pt x="2475" y="709"/>
                  <a:pt x="2475" y="711"/>
                  <a:pt x="2474" y="711"/>
                </a:cubicBezTo>
                <a:cubicBezTo>
                  <a:pt x="2474" y="711"/>
                  <a:pt x="2474" y="710"/>
                  <a:pt x="2474" y="709"/>
                </a:cubicBezTo>
                <a:cubicBezTo>
                  <a:pt x="2474" y="708"/>
                  <a:pt x="2474" y="704"/>
                  <a:pt x="2474" y="705"/>
                </a:cubicBezTo>
                <a:cubicBezTo>
                  <a:pt x="2474" y="705"/>
                  <a:pt x="2475" y="703"/>
                  <a:pt x="2475" y="703"/>
                </a:cubicBezTo>
                <a:cubicBezTo>
                  <a:pt x="2475" y="702"/>
                  <a:pt x="2474" y="701"/>
                  <a:pt x="2474" y="701"/>
                </a:cubicBezTo>
                <a:cubicBezTo>
                  <a:pt x="2473" y="700"/>
                  <a:pt x="2473" y="700"/>
                  <a:pt x="2472" y="700"/>
                </a:cubicBezTo>
                <a:cubicBezTo>
                  <a:pt x="2471" y="700"/>
                  <a:pt x="2472" y="701"/>
                  <a:pt x="2472" y="701"/>
                </a:cubicBezTo>
                <a:cubicBezTo>
                  <a:pt x="2472" y="702"/>
                  <a:pt x="2473" y="703"/>
                  <a:pt x="2473" y="704"/>
                </a:cubicBezTo>
                <a:cubicBezTo>
                  <a:pt x="2473" y="704"/>
                  <a:pt x="2472" y="703"/>
                  <a:pt x="2471" y="702"/>
                </a:cubicBezTo>
                <a:cubicBezTo>
                  <a:pt x="2470" y="700"/>
                  <a:pt x="2469" y="699"/>
                  <a:pt x="2467" y="697"/>
                </a:cubicBezTo>
                <a:cubicBezTo>
                  <a:pt x="2466" y="695"/>
                  <a:pt x="2466" y="693"/>
                  <a:pt x="2465" y="691"/>
                </a:cubicBezTo>
                <a:cubicBezTo>
                  <a:pt x="2464" y="689"/>
                  <a:pt x="2465" y="689"/>
                  <a:pt x="2463" y="688"/>
                </a:cubicBezTo>
                <a:cubicBezTo>
                  <a:pt x="2463" y="688"/>
                  <a:pt x="2462" y="685"/>
                  <a:pt x="2462" y="683"/>
                </a:cubicBezTo>
                <a:cubicBezTo>
                  <a:pt x="2463" y="682"/>
                  <a:pt x="2464" y="683"/>
                  <a:pt x="2464" y="683"/>
                </a:cubicBezTo>
                <a:cubicBezTo>
                  <a:pt x="2465" y="684"/>
                  <a:pt x="2466" y="685"/>
                  <a:pt x="2467" y="686"/>
                </a:cubicBezTo>
                <a:cubicBezTo>
                  <a:pt x="2470" y="685"/>
                  <a:pt x="2467" y="684"/>
                  <a:pt x="2467" y="680"/>
                </a:cubicBezTo>
                <a:cubicBezTo>
                  <a:pt x="2467" y="676"/>
                  <a:pt x="2468" y="678"/>
                  <a:pt x="2466" y="672"/>
                </a:cubicBezTo>
                <a:cubicBezTo>
                  <a:pt x="2466" y="671"/>
                  <a:pt x="2465" y="664"/>
                  <a:pt x="2466" y="662"/>
                </a:cubicBezTo>
                <a:cubicBezTo>
                  <a:pt x="2466" y="661"/>
                  <a:pt x="2466" y="659"/>
                  <a:pt x="2467" y="658"/>
                </a:cubicBezTo>
                <a:cubicBezTo>
                  <a:pt x="2468" y="657"/>
                  <a:pt x="2470" y="658"/>
                  <a:pt x="2472" y="658"/>
                </a:cubicBezTo>
                <a:close/>
                <a:moveTo>
                  <a:pt x="2454" y="760"/>
                </a:moveTo>
                <a:cubicBezTo>
                  <a:pt x="2457" y="757"/>
                  <a:pt x="2459" y="751"/>
                  <a:pt x="2460" y="750"/>
                </a:cubicBezTo>
                <a:cubicBezTo>
                  <a:pt x="2460" y="750"/>
                  <a:pt x="2462" y="749"/>
                  <a:pt x="2463" y="749"/>
                </a:cubicBezTo>
                <a:cubicBezTo>
                  <a:pt x="2464" y="749"/>
                  <a:pt x="2466" y="745"/>
                  <a:pt x="2466" y="745"/>
                </a:cubicBezTo>
                <a:cubicBezTo>
                  <a:pt x="2466" y="745"/>
                  <a:pt x="2465" y="744"/>
                  <a:pt x="2465" y="744"/>
                </a:cubicBezTo>
                <a:cubicBezTo>
                  <a:pt x="2465" y="743"/>
                  <a:pt x="2465" y="742"/>
                  <a:pt x="2465" y="741"/>
                </a:cubicBezTo>
                <a:cubicBezTo>
                  <a:pt x="2465" y="740"/>
                  <a:pt x="2465" y="739"/>
                  <a:pt x="2465" y="738"/>
                </a:cubicBezTo>
                <a:cubicBezTo>
                  <a:pt x="2465" y="738"/>
                  <a:pt x="2466" y="737"/>
                  <a:pt x="2467" y="737"/>
                </a:cubicBezTo>
                <a:cubicBezTo>
                  <a:pt x="2467" y="737"/>
                  <a:pt x="2468" y="738"/>
                  <a:pt x="2468" y="740"/>
                </a:cubicBezTo>
                <a:cubicBezTo>
                  <a:pt x="2468" y="741"/>
                  <a:pt x="2468" y="741"/>
                  <a:pt x="2468" y="741"/>
                </a:cubicBezTo>
                <a:cubicBezTo>
                  <a:pt x="2468" y="742"/>
                  <a:pt x="2468" y="743"/>
                  <a:pt x="2468" y="743"/>
                </a:cubicBezTo>
                <a:cubicBezTo>
                  <a:pt x="2467" y="743"/>
                  <a:pt x="2469" y="745"/>
                  <a:pt x="2469" y="745"/>
                </a:cubicBezTo>
                <a:cubicBezTo>
                  <a:pt x="2469" y="747"/>
                  <a:pt x="2469" y="747"/>
                  <a:pt x="2467" y="749"/>
                </a:cubicBezTo>
                <a:cubicBezTo>
                  <a:pt x="2466" y="750"/>
                  <a:pt x="2465" y="750"/>
                  <a:pt x="2465" y="751"/>
                </a:cubicBezTo>
                <a:cubicBezTo>
                  <a:pt x="2464" y="753"/>
                  <a:pt x="2466" y="752"/>
                  <a:pt x="2460" y="753"/>
                </a:cubicBezTo>
                <a:cubicBezTo>
                  <a:pt x="2460" y="755"/>
                  <a:pt x="2460" y="759"/>
                  <a:pt x="2459" y="760"/>
                </a:cubicBezTo>
                <a:cubicBezTo>
                  <a:pt x="2458" y="761"/>
                  <a:pt x="2456" y="761"/>
                  <a:pt x="2455" y="762"/>
                </a:cubicBezTo>
                <a:cubicBezTo>
                  <a:pt x="2455" y="762"/>
                  <a:pt x="2455" y="764"/>
                  <a:pt x="2453" y="766"/>
                </a:cubicBezTo>
                <a:cubicBezTo>
                  <a:pt x="2452" y="767"/>
                  <a:pt x="2451" y="767"/>
                  <a:pt x="2450" y="768"/>
                </a:cubicBezTo>
                <a:cubicBezTo>
                  <a:pt x="2449" y="768"/>
                  <a:pt x="2446" y="772"/>
                  <a:pt x="2446" y="771"/>
                </a:cubicBezTo>
                <a:cubicBezTo>
                  <a:pt x="2445" y="769"/>
                  <a:pt x="2446" y="768"/>
                  <a:pt x="2447" y="766"/>
                </a:cubicBezTo>
                <a:cubicBezTo>
                  <a:pt x="2447" y="765"/>
                  <a:pt x="2452" y="762"/>
                  <a:pt x="2454" y="760"/>
                </a:cubicBezTo>
                <a:close/>
                <a:moveTo>
                  <a:pt x="2472" y="650"/>
                </a:moveTo>
                <a:cubicBezTo>
                  <a:pt x="2471" y="650"/>
                  <a:pt x="2472" y="647"/>
                  <a:pt x="2473" y="647"/>
                </a:cubicBezTo>
                <a:cubicBezTo>
                  <a:pt x="2475" y="648"/>
                  <a:pt x="2477" y="652"/>
                  <a:pt x="2472" y="650"/>
                </a:cubicBezTo>
                <a:close/>
                <a:moveTo>
                  <a:pt x="2489" y="714"/>
                </a:moveTo>
                <a:cubicBezTo>
                  <a:pt x="2489" y="715"/>
                  <a:pt x="2490" y="717"/>
                  <a:pt x="2489" y="717"/>
                </a:cubicBezTo>
                <a:cubicBezTo>
                  <a:pt x="2487" y="717"/>
                  <a:pt x="2486" y="716"/>
                  <a:pt x="2486" y="715"/>
                </a:cubicBezTo>
                <a:cubicBezTo>
                  <a:pt x="2487" y="714"/>
                  <a:pt x="2488" y="714"/>
                  <a:pt x="2489" y="714"/>
                </a:cubicBezTo>
                <a:close/>
                <a:moveTo>
                  <a:pt x="2509" y="708"/>
                </a:moveTo>
                <a:cubicBezTo>
                  <a:pt x="2509" y="708"/>
                  <a:pt x="2511" y="710"/>
                  <a:pt x="2511" y="711"/>
                </a:cubicBezTo>
                <a:cubicBezTo>
                  <a:pt x="2511" y="714"/>
                  <a:pt x="2512" y="714"/>
                  <a:pt x="2508" y="714"/>
                </a:cubicBezTo>
                <a:cubicBezTo>
                  <a:pt x="2508" y="714"/>
                  <a:pt x="2507" y="713"/>
                  <a:pt x="2507" y="713"/>
                </a:cubicBezTo>
                <a:cubicBezTo>
                  <a:pt x="2507" y="712"/>
                  <a:pt x="2508" y="712"/>
                  <a:pt x="2508" y="711"/>
                </a:cubicBezTo>
                <a:cubicBezTo>
                  <a:pt x="2508" y="710"/>
                  <a:pt x="2507" y="709"/>
                  <a:pt x="2508" y="708"/>
                </a:cubicBezTo>
                <a:cubicBezTo>
                  <a:pt x="2508" y="708"/>
                  <a:pt x="2509" y="708"/>
                  <a:pt x="2509" y="708"/>
                </a:cubicBezTo>
                <a:close/>
                <a:moveTo>
                  <a:pt x="2474" y="808"/>
                </a:moveTo>
                <a:cubicBezTo>
                  <a:pt x="2474" y="806"/>
                  <a:pt x="2476" y="805"/>
                  <a:pt x="2477" y="805"/>
                </a:cubicBezTo>
                <a:cubicBezTo>
                  <a:pt x="2478" y="805"/>
                  <a:pt x="2478" y="805"/>
                  <a:pt x="2479" y="805"/>
                </a:cubicBezTo>
                <a:cubicBezTo>
                  <a:pt x="2480" y="807"/>
                  <a:pt x="2480" y="806"/>
                  <a:pt x="2477" y="807"/>
                </a:cubicBezTo>
                <a:cubicBezTo>
                  <a:pt x="2476" y="808"/>
                  <a:pt x="2475" y="808"/>
                  <a:pt x="2474" y="808"/>
                </a:cubicBezTo>
                <a:cubicBezTo>
                  <a:pt x="2474" y="808"/>
                  <a:pt x="2473" y="808"/>
                  <a:pt x="2474" y="808"/>
                </a:cubicBezTo>
                <a:close/>
                <a:moveTo>
                  <a:pt x="2512" y="752"/>
                </a:moveTo>
                <a:cubicBezTo>
                  <a:pt x="2512" y="752"/>
                  <a:pt x="2514" y="751"/>
                  <a:pt x="2515" y="752"/>
                </a:cubicBezTo>
                <a:cubicBezTo>
                  <a:pt x="2515" y="752"/>
                  <a:pt x="2516" y="753"/>
                  <a:pt x="2516" y="753"/>
                </a:cubicBezTo>
                <a:cubicBezTo>
                  <a:pt x="2517" y="754"/>
                  <a:pt x="2516" y="756"/>
                  <a:pt x="2516" y="756"/>
                </a:cubicBezTo>
                <a:cubicBezTo>
                  <a:pt x="2512" y="757"/>
                  <a:pt x="2513" y="757"/>
                  <a:pt x="2509" y="757"/>
                </a:cubicBezTo>
                <a:cubicBezTo>
                  <a:pt x="2509" y="756"/>
                  <a:pt x="2509" y="755"/>
                  <a:pt x="2510" y="754"/>
                </a:cubicBezTo>
                <a:cubicBezTo>
                  <a:pt x="2510" y="754"/>
                  <a:pt x="2512" y="752"/>
                  <a:pt x="2512" y="752"/>
                </a:cubicBezTo>
                <a:close/>
                <a:moveTo>
                  <a:pt x="2511" y="743"/>
                </a:moveTo>
                <a:cubicBezTo>
                  <a:pt x="2511" y="743"/>
                  <a:pt x="2511" y="746"/>
                  <a:pt x="2511" y="747"/>
                </a:cubicBezTo>
                <a:cubicBezTo>
                  <a:pt x="2510" y="749"/>
                  <a:pt x="2507" y="754"/>
                  <a:pt x="2507" y="755"/>
                </a:cubicBezTo>
                <a:cubicBezTo>
                  <a:pt x="2506" y="757"/>
                  <a:pt x="2507" y="758"/>
                  <a:pt x="2506" y="759"/>
                </a:cubicBezTo>
                <a:cubicBezTo>
                  <a:pt x="2505" y="759"/>
                  <a:pt x="2505" y="758"/>
                  <a:pt x="2505" y="758"/>
                </a:cubicBezTo>
                <a:cubicBezTo>
                  <a:pt x="2505" y="757"/>
                  <a:pt x="2505" y="754"/>
                  <a:pt x="2505" y="753"/>
                </a:cubicBezTo>
                <a:cubicBezTo>
                  <a:pt x="2506" y="751"/>
                  <a:pt x="2507" y="750"/>
                  <a:pt x="2508" y="747"/>
                </a:cubicBezTo>
                <a:cubicBezTo>
                  <a:pt x="2509" y="745"/>
                  <a:pt x="2509" y="742"/>
                  <a:pt x="2509" y="740"/>
                </a:cubicBezTo>
                <a:cubicBezTo>
                  <a:pt x="2510" y="737"/>
                  <a:pt x="2511" y="743"/>
                  <a:pt x="2511" y="743"/>
                </a:cubicBezTo>
                <a:close/>
                <a:moveTo>
                  <a:pt x="2517" y="724"/>
                </a:moveTo>
                <a:cubicBezTo>
                  <a:pt x="2517" y="724"/>
                  <a:pt x="2521" y="724"/>
                  <a:pt x="2521" y="725"/>
                </a:cubicBezTo>
                <a:cubicBezTo>
                  <a:pt x="2521" y="726"/>
                  <a:pt x="2523" y="730"/>
                  <a:pt x="2524" y="731"/>
                </a:cubicBezTo>
                <a:cubicBezTo>
                  <a:pt x="2523" y="732"/>
                  <a:pt x="2524" y="737"/>
                  <a:pt x="2525" y="738"/>
                </a:cubicBezTo>
                <a:cubicBezTo>
                  <a:pt x="2525" y="738"/>
                  <a:pt x="2527" y="740"/>
                  <a:pt x="2526" y="740"/>
                </a:cubicBezTo>
                <a:cubicBezTo>
                  <a:pt x="2525" y="741"/>
                  <a:pt x="2526" y="741"/>
                  <a:pt x="2525" y="741"/>
                </a:cubicBezTo>
                <a:cubicBezTo>
                  <a:pt x="2521" y="741"/>
                  <a:pt x="2520" y="738"/>
                  <a:pt x="2520" y="740"/>
                </a:cubicBezTo>
                <a:cubicBezTo>
                  <a:pt x="2519" y="741"/>
                  <a:pt x="2520" y="743"/>
                  <a:pt x="2521" y="744"/>
                </a:cubicBezTo>
                <a:cubicBezTo>
                  <a:pt x="2521" y="745"/>
                  <a:pt x="2523" y="746"/>
                  <a:pt x="2523" y="748"/>
                </a:cubicBezTo>
                <a:cubicBezTo>
                  <a:pt x="2522" y="749"/>
                  <a:pt x="2521" y="750"/>
                  <a:pt x="2521" y="750"/>
                </a:cubicBezTo>
                <a:cubicBezTo>
                  <a:pt x="2521" y="750"/>
                  <a:pt x="2521" y="751"/>
                  <a:pt x="2521" y="751"/>
                </a:cubicBezTo>
                <a:cubicBezTo>
                  <a:pt x="2520" y="752"/>
                  <a:pt x="2518" y="751"/>
                  <a:pt x="2518" y="750"/>
                </a:cubicBezTo>
                <a:cubicBezTo>
                  <a:pt x="2518" y="749"/>
                  <a:pt x="2519" y="744"/>
                  <a:pt x="2519" y="744"/>
                </a:cubicBezTo>
                <a:cubicBezTo>
                  <a:pt x="2517" y="742"/>
                  <a:pt x="2516" y="741"/>
                  <a:pt x="2515" y="743"/>
                </a:cubicBezTo>
                <a:cubicBezTo>
                  <a:pt x="2513" y="743"/>
                  <a:pt x="2513" y="738"/>
                  <a:pt x="2513" y="736"/>
                </a:cubicBezTo>
                <a:cubicBezTo>
                  <a:pt x="2513" y="736"/>
                  <a:pt x="2514" y="735"/>
                  <a:pt x="2514" y="735"/>
                </a:cubicBezTo>
                <a:cubicBezTo>
                  <a:pt x="2516" y="735"/>
                  <a:pt x="2516" y="738"/>
                  <a:pt x="2517" y="738"/>
                </a:cubicBezTo>
                <a:cubicBezTo>
                  <a:pt x="2518" y="738"/>
                  <a:pt x="2520" y="734"/>
                  <a:pt x="2519" y="734"/>
                </a:cubicBezTo>
                <a:cubicBezTo>
                  <a:pt x="2519" y="734"/>
                  <a:pt x="2517" y="734"/>
                  <a:pt x="2516" y="733"/>
                </a:cubicBezTo>
                <a:cubicBezTo>
                  <a:pt x="2515" y="731"/>
                  <a:pt x="2515" y="730"/>
                  <a:pt x="2515" y="729"/>
                </a:cubicBezTo>
                <a:cubicBezTo>
                  <a:pt x="2514" y="729"/>
                  <a:pt x="2512" y="727"/>
                  <a:pt x="2512" y="727"/>
                </a:cubicBezTo>
                <a:cubicBezTo>
                  <a:pt x="2511" y="723"/>
                  <a:pt x="2514" y="724"/>
                  <a:pt x="2517" y="724"/>
                </a:cubicBezTo>
                <a:close/>
                <a:moveTo>
                  <a:pt x="2502" y="722"/>
                </a:moveTo>
                <a:cubicBezTo>
                  <a:pt x="2503" y="723"/>
                  <a:pt x="2501" y="723"/>
                  <a:pt x="2500" y="723"/>
                </a:cubicBezTo>
                <a:cubicBezTo>
                  <a:pt x="2500" y="723"/>
                  <a:pt x="2500" y="722"/>
                  <a:pt x="2500" y="722"/>
                </a:cubicBezTo>
                <a:cubicBezTo>
                  <a:pt x="2499" y="720"/>
                  <a:pt x="2496" y="717"/>
                  <a:pt x="2497" y="717"/>
                </a:cubicBezTo>
                <a:cubicBezTo>
                  <a:pt x="2499" y="718"/>
                  <a:pt x="2501" y="720"/>
                  <a:pt x="2502" y="722"/>
                </a:cubicBezTo>
                <a:close/>
                <a:moveTo>
                  <a:pt x="2489" y="732"/>
                </a:moveTo>
                <a:cubicBezTo>
                  <a:pt x="2491" y="732"/>
                  <a:pt x="2494" y="735"/>
                  <a:pt x="2496" y="735"/>
                </a:cubicBezTo>
                <a:cubicBezTo>
                  <a:pt x="2496" y="736"/>
                  <a:pt x="2498" y="734"/>
                  <a:pt x="2499" y="735"/>
                </a:cubicBezTo>
                <a:cubicBezTo>
                  <a:pt x="2499" y="735"/>
                  <a:pt x="2498" y="737"/>
                  <a:pt x="2499" y="737"/>
                </a:cubicBezTo>
                <a:cubicBezTo>
                  <a:pt x="2500" y="737"/>
                  <a:pt x="2500" y="734"/>
                  <a:pt x="2501" y="735"/>
                </a:cubicBezTo>
                <a:cubicBezTo>
                  <a:pt x="2502" y="736"/>
                  <a:pt x="2502" y="738"/>
                  <a:pt x="2501" y="740"/>
                </a:cubicBezTo>
                <a:cubicBezTo>
                  <a:pt x="2501" y="741"/>
                  <a:pt x="2499" y="741"/>
                  <a:pt x="2498" y="742"/>
                </a:cubicBezTo>
                <a:cubicBezTo>
                  <a:pt x="2497" y="743"/>
                  <a:pt x="2498" y="745"/>
                  <a:pt x="2498" y="745"/>
                </a:cubicBezTo>
                <a:cubicBezTo>
                  <a:pt x="2497" y="746"/>
                  <a:pt x="2494" y="746"/>
                  <a:pt x="2493" y="747"/>
                </a:cubicBezTo>
                <a:cubicBezTo>
                  <a:pt x="2492" y="748"/>
                  <a:pt x="2491" y="750"/>
                  <a:pt x="2491" y="749"/>
                </a:cubicBezTo>
                <a:cubicBezTo>
                  <a:pt x="2489" y="747"/>
                  <a:pt x="2492" y="740"/>
                  <a:pt x="2491" y="734"/>
                </a:cubicBezTo>
                <a:cubicBezTo>
                  <a:pt x="2491" y="733"/>
                  <a:pt x="2490" y="734"/>
                  <a:pt x="2489" y="734"/>
                </a:cubicBezTo>
                <a:cubicBezTo>
                  <a:pt x="2489" y="733"/>
                  <a:pt x="2489" y="732"/>
                  <a:pt x="2489" y="732"/>
                </a:cubicBezTo>
                <a:close/>
                <a:moveTo>
                  <a:pt x="2491" y="727"/>
                </a:moveTo>
                <a:cubicBezTo>
                  <a:pt x="2490" y="727"/>
                  <a:pt x="2491" y="729"/>
                  <a:pt x="2490" y="729"/>
                </a:cubicBezTo>
                <a:cubicBezTo>
                  <a:pt x="2490" y="730"/>
                  <a:pt x="2489" y="730"/>
                  <a:pt x="2489" y="730"/>
                </a:cubicBezTo>
                <a:cubicBezTo>
                  <a:pt x="2489" y="729"/>
                  <a:pt x="2489" y="727"/>
                  <a:pt x="2489" y="727"/>
                </a:cubicBezTo>
                <a:cubicBezTo>
                  <a:pt x="2489" y="726"/>
                  <a:pt x="2490" y="725"/>
                  <a:pt x="2490" y="724"/>
                </a:cubicBezTo>
                <a:cubicBezTo>
                  <a:pt x="2492" y="724"/>
                  <a:pt x="2491" y="725"/>
                  <a:pt x="2491" y="727"/>
                </a:cubicBezTo>
                <a:close/>
                <a:moveTo>
                  <a:pt x="2784" y="981"/>
                </a:moveTo>
                <a:cubicBezTo>
                  <a:pt x="2783" y="982"/>
                  <a:pt x="2783" y="982"/>
                  <a:pt x="2783" y="982"/>
                </a:cubicBezTo>
                <a:cubicBezTo>
                  <a:pt x="2784" y="983"/>
                  <a:pt x="2784" y="983"/>
                  <a:pt x="2784" y="983"/>
                </a:cubicBezTo>
                <a:cubicBezTo>
                  <a:pt x="2784" y="983"/>
                  <a:pt x="2784" y="984"/>
                  <a:pt x="2784" y="984"/>
                </a:cubicBezTo>
                <a:cubicBezTo>
                  <a:pt x="2784" y="985"/>
                  <a:pt x="2781" y="983"/>
                  <a:pt x="2781" y="982"/>
                </a:cubicBezTo>
                <a:cubicBezTo>
                  <a:pt x="2782" y="981"/>
                  <a:pt x="2782" y="981"/>
                  <a:pt x="2782" y="981"/>
                </a:cubicBezTo>
                <a:cubicBezTo>
                  <a:pt x="2783" y="980"/>
                  <a:pt x="2782" y="979"/>
                  <a:pt x="2784" y="981"/>
                </a:cubicBezTo>
                <a:close/>
                <a:moveTo>
                  <a:pt x="2741" y="889"/>
                </a:moveTo>
                <a:cubicBezTo>
                  <a:pt x="2737" y="889"/>
                  <a:pt x="2737" y="889"/>
                  <a:pt x="2737" y="889"/>
                </a:cubicBezTo>
                <a:cubicBezTo>
                  <a:pt x="2737" y="886"/>
                  <a:pt x="2737" y="886"/>
                  <a:pt x="2737" y="886"/>
                </a:cubicBezTo>
                <a:cubicBezTo>
                  <a:pt x="2737" y="886"/>
                  <a:pt x="2739" y="885"/>
                  <a:pt x="2741" y="885"/>
                </a:cubicBezTo>
                <a:cubicBezTo>
                  <a:pt x="2742" y="885"/>
                  <a:pt x="2747" y="886"/>
                  <a:pt x="2747" y="886"/>
                </a:cubicBezTo>
                <a:cubicBezTo>
                  <a:pt x="2747" y="887"/>
                  <a:pt x="2747" y="887"/>
                  <a:pt x="2747" y="887"/>
                </a:cubicBezTo>
                <a:cubicBezTo>
                  <a:pt x="2743" y="888"/>
                  <a:pt x="2743" y="888"/>
                  <a:pt x="2743" y="888"/>
                </a:cubicBezTo>
                <a:lnTo>
                  <a:pt x="2741" y="889"/>
                </a:lnTo>
                <a:close/>
                <a:moveTo>
                  <a:pt x="2725" y="913"/>
                </a:moveTo>
                <a:cubicBezTo>
                  <a:pt x="2725" y="913"/>
                  <a:pt x="2728" y="915"/>
                  <a:pt x="2729" y="915"/>
                </a:cubicBezTo>
                <a:cubicBezTo>
                  <a:pt x="2730" y="915"/>
                  <a:pt x="2727" y="923"/>
                  <a:pt x="2727" y="924"/>
                </a:cubicBezTo>
                <a:cubicBezTo>
                  <a:pt x="2727" y="924"/>
                  <a:pt x="2727" y="924"/>
                  <a:pt x="2730" y="925"/>
                </a:cubicBezTo>
                <a:cubicBezTo>
                  <a:pt x="2732" y="925"/>
                  <a:pt x="2731" y="925"/>
                  <a:pt x="2732" y="926"/>
                </a:cubicBezTo>
                <a:cubicBezTo>
                  <a:pt x="2733" y="926"/>
                  <a:pt x="2735" y="927"/>
                  <a:pt x="2737" y="927"/>
                </a:cubicBezTo>
                <a:cubicBezTo>
                  <a:pt x="2740" y="929"/>
                  <a:pt x="2742" y="927"/>
                  <a:pt x="2745" y="931"/>
                </a:cubicBezTo>
                <a:cubicBezTo>
                  <a:pt x="2746" y="933"/>
                  <a:pt x="2748" y="935"/>
                  <a:pt x="2747" y="938"/>
                </a:cubicBezTo>
                <a:cubicBezTo>
                  <a:pt x="2743" y="937"/>
                  <a:pt x="2743" y="938"/>
                  <a:pt x="2739" y="938"/>
                </a:cubicBezTo>
                <a:cubicBezTo>
                  <a:pt x="2740" y="941"/>
                  <a:pt x="2740" y="941"/>
                  <a:pt x="2740" y="941"/>
                </a:cubicBezTo>
                <a:cubicBezTo>
                  <a:pt x="2741" y="945"/>
                  <a:pt x="2741" y="945"/>
                  <a:pt x="2741" y="945"/>
                </a:cubicBezTo>
                <a:cubicBezTo>
                  <a:pt x="2742" y="949"/>
                  <a:pt x="2742" y="949"/>
                  <a:pt x="2742" y="949"/>
                </a:cubicBezTo>
                <a:cubicBezTo>
                  <a:pt x="2742" y="949"/>
                  <a:pt x="2747" y="951"/>
                  <a:pt x="2748" y="951"/>
                </a:cubicBezTo>
                <a:cubicBezTo>
                  <a:pt x="2748" y="951"/>
                  <a:pt x="2750" y="954"/>
                  <a:pt x="2750" y="954"/>
                </a:cubicBezTo>
                <a:cubicBezTo>
                  <a:pt x="2750" y="955"/>
                  <a:pt x="2751" y="959"/>
                  <a:pt x="2751" y="959"/>
                </a:cubicBezTo>
                <a:cubicBezTo>
                  <a:pt x="2751" y="961"/>
                  <a:pt x="2753" y="960"/>
                  <a:pt x="2753" y="964"/>
                </a:cubicBezTo>
                <a:cubicBezTo>
                  <a:pt x="2753" y="966"/>
                  <a:pt x="2757" y="964"/>
                  <a:pt x="2758" y="964"/>
                </a:cubicBezTo>
                <a:cubicBezTo>
                  <a:pt x="2761" y="964"/>
                  <a:pt x="2758" y="967"/>
                  <a:pt x="2758" y="969"/>
                </a:cubicBezTo>
                <a:cubicBezTo>
                  <a:pt x="2758" y="969"/>
                  <a:pt x="2760" y="971"/>
                  <a:pt x="2760" y="971"/>
                </a:cubicBezTo>
                <a:cubicBezTo>
                  <a:pt x="2763" y="971"/>
                  <a:pt x="2764" y="970"/>
                  <a:pt x="2767" y="971"/>
                </a:cubicBezTo>
                <a:cubicBezTo>
                  <a:pt x="2763" y="973"/>
                  <a:pt x="2763" y="973"/>
                  <a:pt x="2763" y="973"/>
                </a:cubicBezTo>
                <a:cubicBezTo>
                  <a:pt x="2763" y="973"/>
                  <a:pt x="2764" y="974"/>
                  <a:pt x="2764" y="975"/>
                </a:cubicBezTo>
                <a:cubicBezTo>
                  <a:pt x="2765" y="975"/>
                  <a:pt x="2767" y="977"/>
                  <a:pt x="2767" y="977"/>
                </a:cubicBezTo>
                <a:cubicBezTo>
                  <a:pt x="2771" y="978"/>
                  <a:pt x="2771" y="978"/>
                  <a:pt x="2771" y="978"/>
                </a:cubicBezTo>
                <a:cubicBezTo>
                  <a:pt x="2771" y="978"/>
                  <a:pt x="2771" y="978"/>
                  <a:pt x="2771" y="978"/>
                </a:cubicBezTo>
                <a:cubicBezTo>
                  <a:pt x="2770" y="979"/>
                  <a:pt x="2770" y="979"/>
                  <a:pt x="2770" y="979"/>
                </a:cubicBezTo>
                <a:cubicBezTo>
                  <a:pt x="2771" y="980"/>
                  <a:pt x="2770" y="980"/>
                  <a:pt x="2770" y="982"/>
                </a:cubicBezTo>
                <a:cubicBezTo>
                  <a:pt x="2765" y="982"/>
                  <a:pt x="2765" y="982"/>
                  <a:pt x="2765" y="982"/>
                </a:cubicBezTo>
                <a:cubicBezTo>
                  <a:pt x="2764" y="980"/>
                  <a:pt x="2764" y="980"/>
                  <a:pt x="2764" y="980"/>
                </a:cubicBezTo>
                <a:cubicBezTo>
                  <a:pt x="2761" y="978"/>
                  <a:pt x="2761" y="978"/>
                  <a:pt x="2761" y="978"/>
                </a:cubicBezTo>
                <a:cubicBezTo>
                  <a:pt x="2752" y="977"/>
                  <a:pt x="2752" y="977"/>
                  <a:pt x="2752" y="977"/>
                </a:cubicBezTo>
                <a:cubicBezTo>
                  <a:pt x="2747" y="977"/>
                  <a:pt x="2748" y="977"/>
                  <a:pt x="2743" y="976"/>
                </a:cubicBezTo>
                <a:cubicBezTo>
                  <a:pt x="2743" y="976"/>
                  <a:pt x="2742" y="973"/>
                  <a:pt x="2742" y="972"/>
                </a:cubicBezTo>
                <a:cubicBezTo>
                  <a:pt x="2742" y="971"/>
                  <a:pt x="2739" y="970"/>
                  <a:pt x="2738" y="969"/>
                </a:cubicBezTo>
                <a:cubicBezTo>
                  <a:pt x="2738" y="969"/>
                  <a:pt x="2737" y="967"/>
                  <a:pt x="2737" y="966"/>
                </a:cubicBezTo>
                <a:cubicBezTo>
                  <a:pt x="2737" y="965"/>
                  <a:pt x="2736" y="964"/>
                  <a:pt x="2736" y="964"/>
                </a:cubicBezTo>
                <a:cubicBezTo>
                  <a:pt x="2734" y="964"/>
                  <a:pt x="2733" y="964"/>
                  <a:pt x="2734" y="962"/>
                </a:cubicBezTo>
                <a:cubicBezTo>
                  <a:pt x="2731" y="958"/>
                  <a:pt x="2732" y="960"/>
                  <a:pt x="2731" y="955"/>
                </a:cubicBezTo>
                <a:cubicBezTo>
                  <a:pt x="2731" y="955"/>
                  <a:pt x="2730" y="953"/>
                  <a:pt x="2730" y="953"/>
                </a:cubicBezTo>
                <a:cubicBezTo>
                  <a:pt x="2728" y="952"/>
                  <a:pt x="2723" y="952"/>
                  <a:pt x="2723" y="952"/>
                </a:cubicBezTo>
                <a:cubicBezTo>
                  <a:pt x="2719" y="950"/>
                  <a:pt x="2719" y="950"/>
                  <a:pt x="2719" y="950"/>
                </a:cubicBezTo>
                <a:cubicBezTo>
                  <a:pt x="2719" y="950"/>
                  <a:pt x="2716" y="949"/>
                  <a:pt x="2715" y="949"/>
                </a:cubicBezTo>
                <a:cubicBezTo>
                  <a:pt x="2714" y="949"/>
                  <a:pt x="2714" y="949"/>
                  <a:pt x="2714" y="949"/>
                </a:cubicBezTo>
                <a:cubicBezTo>
                  <a:pt x="2711" y="950"/>
                  <a:pt x="2711" y="950"/>
                  <a:pt x="2711" y="950"/>
                </a:cubicBezTo>
                <a:cubicBezTo>
                  <a:pt x="2708" y="948"/>
                  <a:pt x="2708" y="948"/>
                  <a:pt x="2708" y="948"/>
                </a:cubicBezTo>
                <a:cubicBezTo>
                  <a:pt x="2708" y="952"/>
                  <a:pt x="2709" y="952"/>
                  <a:pt x="2706" y="953"/>
                </a:cubicBezTo>
                <a:cubicBezTo>
                  <a:pt x="2704" y="952"/>
                  <a:pt x="2704" y="952"/>
                  <a:pt x="2704" y="952"/>
                </a:cubicBezTo>
                <a:cubicBezTo>
                  <a:pt x="2705" y="955"/>
                  <a:pt x="2705" y="955"/>
                  <a:pt x="2705" y="955"/>
                </a:cubicBezTo>
                <a:cubicBezTo>
                  <a:pt x="2705" y="955"/>
                  <a:pt x="2704" y="955"/>
                  <a:pt x="2703" y="955"/>
                </a:cubicBezTo>
                <a:cubicBezTo>
                  <a:pt x="2702" y="955"/>
                  <a:pt x="2701" y="956"/>
                  <a:pt x="2700" y="956"/>
                </a:cubicBezTo>
                <a:cubicBezTo>
                  <a:pt x="2700" y="956"/>
                  <a:pt x="2696" y="956"/>
                  <a:pt x="2696" y="956"/>
                </a:cubicBezTo>
                <a:cubicBezTo>
                  <a:pt x="2700" y="957"/>
                  <a:pt x="2700" y="956"/>
                  <a:pt x="2702" y="959"/>
                </a:cubicBezTo>
                <a:cubicBezTo>
                  <a:pt x="2703" y="960"/>
                  <a:pt x="2703" y="961"/>
                  <a:pt x="2704" y="963"/>
                </a:cubicBezTo>
                <a:cubicBezTo>
                  <a:pt x="2704" y="965"/>
                  <a:pt x="2704" y="963"/>
                  <a:pt x="2702" y="964"/>
                </a:cubicBezTo>
                <a:cubicBezTo>
                  <a:pt x="2701" y="964"/>
                  <a:pt x="2700" y="964"/>
                  <a:pt x="2699" y="966"/>
                </a:cubicBezTo>
                <a:cubicBezTo>
                  <a:pt x="2695" y="968"/>
                  <a:pt x="2696" y="966"/>
                  <a:pt x="2693" y="966"/>
                </a:cubicBezTo>
                <a:cubicBezTo>
                  <a:pt x="2688" y="966"/>
                  <a:pt x="2688" y="967"/>
                  <a:pt x="2683" y="965"/>
                </a:cubicBezTo>
                <a:cubicBezTo>
                  <a:pt x="2681" y="967"/>
                  <a:pt x="2681" y="967"/>
                  <a:pt x="2681" y="967"/>
                </a:cubicBezTo>
                <a:cubicBezTo>
                  <a:pt x="2679" y="966"/>
                  <a:pt x="2679" y="966"/>
                  <a:pt x="2679" y="966"/>
                </a:cubicBezTo>
                <a:cubicBezTo>
                  <a:pt x="2679" y="966"/>
                  <a:pt x="2674" y="961"/>
                  <a:pt x="2673" y="959"/>
                </a:cubicBezTo>
                <a:cubicBezTo>
                  <a:pt x="2669" y="951"/>
                  <a:pt x="2666" y="956"/>
                  <a:pt x="2664" y="955"/>
                </a:cubicBezTo>
                <a:cubicBezTo>
                  <a:pt x="2663" y="954"/>
                  <a:pt x="2662" y="955"/>
                  <a:pt x="2661" y="955"/>
                </a:cubicBezTo>
                <a:cubicBezTo>
                  <a:pt x="2660" y="955"/>
                  <a:pt x="2660" y="957"/>
                  <a:pt x="2659" y="957"/>
                </a:cubicBezTo>
                <a:cubicBezTo>
                  <a:pt x="2657" y="958"/>
                  <a:pt x="2657" y="957"/>
                  <a:pt x="2655" y="957"/>
                </a:cubicBezTo>
                <a:cubicBezTo>
                  <a:pt x="2651" y="957"/>
                  <a:pt x="2648" y="958"/>
                  <a:pt x="2647" y="957"/>
                </a:cubicBezTo>
                <a:cubicBezTo>
                  <a:pt x="2646" y="957"/>
                  <a:pt x="2647" y="954"/>
                  <a:pt x="2650" y="950"/>
                </a:cubicBezTo>
                <a:cubicBezTo>
                  <a:pt x="2653" y="946"/>
                  <a:pt x="2656" y="944"/>
                  <a:pt x="2660" y="946"/>
                </a:cubicBezTo>
                <a:cubicBezTo>
                  <a:pt x="2659" y="944"/>
                  <a:pt x="2655" y="941"/>
                  <a:pt x="2657" y="940"/>
                </a:cubicBezTo>
                <a:cubicBezTo>
                  <a:pt x="2660" y="939"/>
                  <a:pt x="2660" y="939"/>
                  <a:pt x="2660" y="939"/>
                </a:cubicBezTo>
                <a:cubicBezTo>
                  <a:pt x="2659" y="936"/>
                  <a:pt x="2657" y="936"/>
                  <a:pt x="2656" y="935"/>
                </a:cubicBezTo>
                <a:cubicBezTo>
                  <a:pt x="2655" y="934"/>
                  <a:pt x="2655" y="928"/>
                  <a:pt x="2654" y="927"/>
                </a:cubicBezTo>
                <a:cubicBezTo>
                  <a:pt x="2654" y="926"/>
                  <a:pt x="2651" y="924"/>
                  <a:pt x="2651" y="923"/>
                </a:cubicBezTo>
                <a:cubicBezTo>
                  <a:pt x="2651" y="922"/>
                  <a:pt x="2644" y="920"/>
                  <a:pt x="2644" y="920"/>
                </a:cubicBezTo>
                <a:cubicBezTo>
                  <a:pt x="2644" y="920"/>
                  <a:pt x="2635" y="916"/>
                  <a:pt x="2634" y="915"/>
                </a:cubicBezTo>
                <a:cubicBezTo>
                  <a:pt x="2634" y="915"/>
                  <a:pt x="2632" y="915"/>
                  <a:pt x="2631" y="915"/>
                </a:cubicBezTo>
                <a:cubicBezTo>
                  <a:pt x="2629" y="914"/>
                  <a:pt x="2629" y="914"/>
                  <a:pt x="2627" y="914"/>
                </a:cubicBezTo>
                <a:cubicBezTo>
                  <a:pt x="2626" y="914"/>
                  <a:pt x="2627" y="912"/>
                  <a:pt x="2625" y="912"/>
                </a:cubicBezTo>
                <a:cubicBezTo>
                  <a:pt x="2624" y="913"/>
                  <a:pt x="2624" y="911"/>
                  <a:pt x="2623" y="911"/>
                </a:cubicBezTo>
                <a:cubicBezTo>
                  <a:pt x="2622" y="910"/>
                  <a:pt x="2621" y="910"/>
                  <a:pt x="2620" y="908"/>
                </a:cubicBezTo>
                <a:cubicBezTo>
                  <a:pt x="2620" y="907"/>
                  <a:pt x="2619" y="908"/>
                  <a:pt x="2617" y="908"/>
                </a:cubicBezTo>
                <a:cubicBezTo>
                  <a:pt x="2614" y="908"/>
                  <a:pt x="2615" y="906"/>
                  <a:pt x="2615" y="906"/>
                </a:cubicBezTo>
                <a:cubicBezTo>
                  <a:pt x="2615" y="906"/>
                  <a:pt x="2614" y="905"/>
                  <a:pt x="2612" y="903"/>
                </a:cubicBezTo>
                <a:cubicBezTo>
                  <a:pt x="2611" y="901"/>
                  <a:pt x="2610" y="904"/>
                  <a:pt x="2607" y="908"/>
                </a:cubicBezTo>
                <a:cubicBezTo>
                  <a:pt x="2606" y="910"/>
                  <a:pt x="2605" y="909"/>
                  <a:pt x="2604" y="909"/>
                </a:cubicBezTo>
                <a:cubicBezTo>
                  <a:pt x="2603" y="909"/>
                  <a:pt x="2602" y="907"/>
                  <a:pt x="2602" y="906"/>
                </a:cubicBezTo>
                <a:cubicBezTo>
                  <a:pt x="2602" y="905"/>
                  <a:pt x="2603" y="904"/>
                  <a:pt x="2604" y="903"/>
                </a:cubicBezTo>
                <a:cubicBezTo>
                  <a:pt x="2605" y="902"/>
                  <a:pt x="2603" y="902"/>
                  <a:pt x="2603" y="901"/>
                </a:cubicBezTo>
                <a:cubicBezTo>
                  <a:pt x="2603" y="898"/>
                  <a:pt x="2602" y="900"/>
                  <a:pt x="2601" y="898"/>
                </a:cubicBezTo>
                <a:cubicBezTo>
                  <a:pt x="2600" y="898"/>
                  <a:pt x="2599" y="897"/>
                  <a:pt x="2599" y="897"/>
                </a:cubicBezTo>
                <a:cubicBezTo>
                  <a:pt x="2599" y="897"/>
                  <a:pt x="2596" y="897"/>
                  <a:pt x="2595" y="896"/>
                </a:cubicBezTo>
                <a:cubicBezTo>
                  <a:pt x="2594" y="895"/>
                  <a:pt x="2597" y="894"/>
                  <a:pt x="2597" y="894"/>
                </a:cubicBezTo>
                <a:cubicBezTo>
                  <a:pt x="2597" y="893"/>
                  <a:pt x="2597" y="893"/>
                  <a:pt x="2598" y="893"/>
                </a:cubicBezTo>
                <a:cubicBezTo>
                  <a:pt x="2602" y="893"/>
                  <a:pt x="2603" y="896"/>
                  <a:pt x="2606" y="892"/>
                </a:cubicBezTo>
                <a:cubicBezTo>
                  <a:pt x="2607" y="891"/>
                  <a:pt x="2606" y="891"/>
                  <a:pt x="2608" y="890"/>
                </a:cubicBezTo>
                <a:cubicBezTo>
                  <a:pt x="2610" y="890"/>
                  <a:pt x="2609" y="891"/>
                  <a:pt x="2610" y="891"/>
                </a:cubicBezTo>
                <a:cubicBezTo>
                  <a:pt x="2610" y="891"/>
                  <a:pt x="2609" y="893"/>
                  <a:pt x="2611" y="892"/>
                </a:cubicBezTo>
                <a:cubicBezTo>
                  <a:pt x="2614" y="892"/>
                  <a:pt x="2613" y="890"/>
                  <a:pt x="2613" y="888"/>
                </a:cubicBezTo>
                <a:cubicBezTo>
                  <a:pt x="2613" y="887"/>
                  <a:pt x="2611" y="888"/>
                  <a:pt x="2610" y="888"/>
                </a:cubicBezTo>
                <a:cubicBezTo>
                  <a:pt x="2609" y="888"/>
                  <a:pt x="2609" y="887"/>
                  <a:pt x="2604" y="889"/>
                </a:cubicBezTo>
                <a:cubicBezTo>
                  <a:pt x="2599" y="890"/>
                  <a:pt x="2599" y="888"/>
                  <a:pt x="2597" y="888"/>
                </a:cubicBezTo>
                <a:cubicBezTo>
                  <a:pt x="2595" y="887"/>
                  <a:pt x="2596" y="886"/>
                  <a:pt x="2595" y="885"/>
                </a:cubicBezTo>
                <a:cubicBezTo>
                  <a:pt x="2594" y="884"/>
                  <a:pt x="2594" y="883"/>
                  <a:pt x="2594" y="882"/>
                </a:cubicBezTo>
                <a:cubicBezTo>
                  <a:pt x="2593" y="880"/>
                  <a:pt x="2591" y="882"/>
                  <a:pt x="2586" y="881"/>
                </a:cubicBezTo>
                <a:cubicBezTo>
                  <a:pt x="2583" y="880"/>
                  <a:pt x="2586" y="879"/>
                  <a:pt x="2586" y="879"/>
                </a:cubicBezTo>
                <a:cubicBezTo>
                  <a:pt x="2587" y="878"/>
                  <a:pt x="2587" y="874"/>
                  <a:pt x="2587" y="873"/>
                </a:cubicBezTo>
                <a:cubicBezTo>
                  <a:pt x="2596" y="871"/>
                  <a:pt x="2594" y="870"/>
                  <a:pt x="2600" y="868"/>
                </a:cubicBezTo>
                <a:cubicBezTo>
                  <a:pt x="2603" y="866"/>
                  <a:pt x="2606" y="870"/>
                  <a:pt x="2609" y="871"/>
                </a:cubicBezTo>
                <a:cubicBezTo>
                  <a:pt x="2612" y="872"/>
                  <a:pt x="2611" y="870"/>
                  <a:pt x="2616" y="873"/>
                </a:cubicBezTo>
                <a:cubicBezTo>
                  <a:pt x="2616" y="874"/>
                  <a:pt x="2616" y="876"/>
                  <a:pt x="2617" y="877"/>
                </a:cubicBezTo>
                <a:cubicBezTo>
                  <a:pt x="2617" y="877"/>
                  <a:pt x="2617" y="876"/>
                  <a:pt x="2617" y="876"/>
                </a:cubicBezTo>
                <a:cubicBezTo>
                  <a:pt x="2617" y="880"/>
                  <a:pt x="2617" y="880"/>
                  <a:pt x="2616" y="883"/>
                </a:cubicBezTo>
                <a:cubicBezTo>
                  <a:pt x="2615" y="884"/>
                  <a:pt x="2616" y="884"/>
                  <a:pt x="2616" y="885"/>
                </a:cubicBezTo>
                <a:cubicBezTo>
                  <a:pt x="2616" y="886"/>
                  <a:pt x="2617" y="886"/>
                  <a:pt x="2617" y="887"/>
                </a:cubicBezTo>
                <a:cubicBezTo>
                  <a:pt x="2617" y="888"/>
                  <a:pt x="2618" y="893"/>
                  <a:pt x="2620" y="893"/>
                </a:cubicBezTo>
                <a:cubicBezTo>
                  <a:pt x="2620" y="893"/>
                  <a:pt x="2620" y="892"/>
                  <a:pt x="2620" y="891"/>
                </a:cubicBezTo>
                <a:cubicBezTo>
                  <a:pt x="2620" y="891"/>
                  <a:pt x="2620" y="889"/>
                  <a:pt x="2621" y="888"/>
                </a:cubicBezTo>
                <a:cubicBezTo>
                  <a:pt x="2623" y="888"/>
                  <a:pt x="2622" y="890"/>
                  <a:pt x="2622" y="890"/>
                </a:cubicBezTo>
                <a:cubicBezTo>
                  <a:pt x="2622" y="893"/>
                  <a:pt x="2621" y="895"/>
                  <a:pt x="2624" y="896"/>
                </a:cubicBezTo>
                <a:cubicBezTo>
                  <a:pt x="2624" y="897"/>
                  <a:pt x="2623" y="898"/>
                  <a:pt x="2624" y="899"/>
                </a:cubicBezTo>
                <a:cubicBezTo>
                  <a:pt x="2625" y="900"/>
                  <a:pt x="2626" y="900"/>
                  <a:pt x="2627" y="901"/>
                </a:cubicBezTo>
                <a:cubicBezTo>
                  <a:pt x="2630" y="903"/>
                  <a:pt x="2631" y="899"/>
                  <a:pt x="2633" y="897"/>
                </a:cubicBezTo>
                <a:cubicBezTo>
                  <a:pt x="2636" y="893"/>
                  <a:pt x="2635" y="895"/>
                  <a:pt x="2636" y="889"/>
                </a:cubicBezTo>
                <a:cubicBezTo>
                  <a:pt x="2636" y="889"/>
                  <a:pt x="2639" y="889"/>
                  <a:pt x="2641" y="888"/>
                </a:cubicBezTo>
                <a:cubicBezTo>
                  <a:pt x="2643" y="888"/>
                  <a:pt x="2643" y="888"/>
                  <a:pt x="2645" y="888"/>
                </a:cubicBezTo>
                <a:cubicBezTo>
                  <a:pt x="2646" y="888"/>
                  <a:pt x="2645" y="886"/>
                  <a:pt x="2645" y="886"/>
                </a:cubicBezTo>
                <a:cubicBezTo>
                  <a:pt x="2649" y="882"/>
                  <a:pt x="2651" y="878"/>
                  <a:pt x="2657" y="883"/>
                </a:cubicBezTo>
                <a:cubicBezTo>
                  <a:pt x="2657" y="883"/>
                  <a:pt x="2661" y="886"/>
                  <a:pt x="2663" y="886"/>
                </a:cubicBezTo>
                <a:cubicBezTo>
                  <a:pt x="2665" y="886"/>
                  <a:pt x="2669" y="890"/>
                  <a:pt x="2669" y="890"/>
                </a:cubicBezTo>
                <a:cubicBezTo>
                  <a:pt x="2676" y="891"/>
                  <a:pt x="2676" y="891"/>
                  <a:pt x="2676" y="891"/>
                </a:cubicBezTo>
                <a:cubicBezTo>
                  <a:pt x="2683" y="893"/>
                  <a:pt x="2683" y="893"/>
                  <a:pt x="2683" y="893"/>
                </a:cubicBezTo>
                <a:cubicBezTo>
                  <a:pt x="2686" y="894"/>
                  <a:pt x="2685" y="894"/>
                  <a:pt x="2688" y="895"/>
                </a:cubicBezTo>
                <a:cubicBezTo>
                  <a:pt x="2691" y="896"/>
                  <a:pt x="2695" y="897"/>
                  <a:pt x="2698" y="899"/>
                </a:cubicBezTo>
                <a:cubicBezTo>
                  <a:pt x="2699" y="900"/>
                  <a:pt x="2701" y="901"/>
                  <a:pt x="2701" y="901"/>
                </a:cubicBezTo>
                <a:cubicBezTo>
                  <a:pt x="2702" y="901"/>
                  <a:pt x="2706" y="902"/>
                  <a:pt x="2706" y="902"/>
                </a:cubicBezTo>
                <a:cubicBezTo>
                  <a:pt x="2710" y="904"/>
                  <a:pt x="2710" y="904"/>
                  <a:pt x="2710" y="904"/>
                </a:cubicBezTo>
                <a:cubicBezTo>
                  <a:pt x="2711" y="906"/>
                  <a:pt x="2711" y="906"/>
                  <a:pt x="2711" y="906"/>
                </a:cubicBezTo>
                <a:cubicBezTo>
                  <a:pt x="2711" y="906"/>
                  <a:pt x="2714" y="906"/>
                  <a:pt x="2715" y="906"/>
                </a:cubicBezTo>
                <a:cubicBezTo>
                  <a:pt x="2716" y="906"/>
                  <a:pt x="2717" y="908"/>
                  <a:pt x="2717" y="908"/>
                </a:cubicBezTo>
                <a:cubicBezTo>
                  <a:pt x="2720" y="909"/>
                  <a:pt x="2720" y="909"/>
                  <a:pt x="2720" y="909"/>
                </a:cubicBezTo>
                <a:cubicBezTo>
                  <a:pt x="2722" y="913"/>
                  <a:pt x="2722" y="913"/>
                  <a:pt x="2722" y="913"/>
                </a:cubicBezTo>
                <a:lnTo>
                  <a:pt x="2725" y="913"/>
                </a:lnTo>
                <a:close/>
                <a:moveTo>
                  <a:pt x="2742" y="921"/>
                </a:moveTo>
                <a:cubicBezTo>
                  <a:pt x="2743" y="924"/>
                  <a:pt x="2743" y="924"/>
                  <a:pt x="2743" y="924"/>
                </a:cubicBezTo>
                <a:cubicBezTo>
                  <a:pt x="2741" y="925"/>
                  <a:pt x="2741" y="925"/>
                  <a:pt x="2741" y="925"/>
                </a:cubicBezTo>
                <a:cubicBezTo>
                  <a:pt x="2740" y="923"/>
                  <a:pt x="2740" y="923"/>
                  <a:pt x="2740" y="923"/>
                </a:cubicBezTo>
                <a:lnTo>
                  <a:pt x="2742" y="921"/>
                </a:lnTo>
                <a:close/>
                <a:moveTo>
                  <a:pt x="2776" y="894"/>
                </a:moveTo>
                <a:cubicBezTo>
                  <a:pt x="2770" y="892"/>
                  <a:pt x="2770" y="892"/>
                  <a:pt x="2770" y="892"/>
                </a:cubicBezTo>
                <a:cubicBezTo>
                  <a:pt x="2771" y="892"/>
                  <a:pt x="2771" y="891"/>
                  <a:pt x="2772" y="890"/>
                </a:cubicBezTo>
                <a:cubicBezTo>
                  <a:pt x="2776" y="891"/>
                  <a:pt x="2776" y="891"/>
                  <a:pt x="2776" y="891"/>
                </a:cubicBezTo>
                <a:lnTo>
                  <a:pt x="2776" y="894"/>
                </a:lnTo>
                <a:close/>
                <a:moveTo>
                  <a:pt x="2800" y="992"/>
                </a:moveTo>
                <a:cubicBezTo>
                  <a:pt x="2801" y="993"/>
                  <a:pt x="2800" y="993"/>
                  <a:pt x="2800" y="993"/>
                </a:cubicBezTo>
                <a:cubicBezTo>
                  <a:pt x="2798" y="993"/>
                  <a:pt x="2796" y="991"/>
                  <a:pt x="2796" y="991"/>
                </a:cubicBezTo>
                <a:cubicBezTo>
                  <a:pt x="2796" y="991"/>
                  <a:pt x="2798" y="991"/>
                  <a:pt x="2798" y="991"/>
                </a:cubicBezTo>
                <a:cubicBezTo>
                  <a:pt x="2799" y="991"/>
                  <a:pt x="2800" y="992"/>
                  <a:pt x="2800" y="992"/>
                </a:cubicBezTo>
                <a:close/>
                <a:moveTo>
                  <a:pt x="2753" y="925"/>
                </a:moveTo>
                <a:cubicBezTo>
                  <a:pt x="2758" y="925"/>
                  <a:pt x="2760" y="926"/>
                  <a:pt x="2763" y="926"/>
                </a:cubicBezTo>
                <a:cubicBezTo>
                  <a:pt x="2763" y="926"/>
                  <a:pt x="2766" y="926"/>
                  <a:pt x="2767" y="926"/>
                </a:cubicBezTo>
                <a:cubicBezTo>
                  <a:pt x="2767" y="926"/>
                  <a:pt x="2767" y="925"/>
                  <a:pt x="2768" y="925"/>
                </a:cubicBezTo>
                <a:cubicBezTo>
                  <a:pt x="2769" y="926"/>
                  <a:pt x="2769" y="927"/>
                  <a:pt x="2769" y="926"/>
                </a:cubicBezTo>
                <a:cubicBezTo>
                  <a:pt x="2769" y="924"/>
                  <a:pt x="2770" y="921"/>
                  <a:pt x="2770" y="921"/>
                </a:cubicBezTo>
                <a:cubicBezTo>
                  <a:pt x="2772" y="920"/>
                  <a:pt x="2772" y="920"/>
                  <a:pt x="2772" y="920"/>
                </a:cubicBezTo>
                <a:cubicBezTo>
                  <a:pt x="2772" y="922"/>
                  <a:pt x="2772" y="922"/>
                  <a:pt x="2771" y="924"/>
                </a:cubicBezTo>
                <a:cubicBezTo>
                  <a:pt x="2771" y="926"/>
                  <a:pt x="2771" y="926"/>
                  <a:pt x="2771" y="926"/>
                </a:cubicBezTo>
                <a:cubicBezTo>
                  <a:pt x="2774" y="926"/>
                  <a:pt x="2773" y="926"/>
                  <a:pt x="2775" y="924"/>
                </a:cubicBezTo>
                <a:cubicBezTo>
                  <a:pt x="2776" y="925"/>
                  <a:pt x="2776" y="925"/>
                  <a:pt x="2776" y="925"/>
                </a:cubicBezTo>
                <a:cubicBezTo>
                  <a:pt x="2776" y="925"/>
                  <a:pt x="2780" y="925"/>
                  <a:pt x="2780" y="924"/>
                </a:cubicBezTo>
                <a:cubicBezTo>
                  <a:pt x="2780" y="923"/>
                  <a:pt x="2780" y="920"/>
                  <a:pt x="2782" y="920"/>
                </a:cubicBezTo>
                <a:cubicBezTo>
                  <a:pt x="2783" y="920"/>
                  <a:pt x="2787" y="920"/>
                  <a:pt x="2787" y="919"/>
                </a:cubicBezTo>
                <a:cubicBezTo>
                  <a:pt x="2787" y="919"/>
                  <a:pt x="2788" y="917"/>
                  <a:pt x="2787" y="917"/>
                </a:cubicBezTo>
                <a:cubicBezTo>
                  <a:pt x="2787" y="916"/>
                  <a:pt x="2786" y="912"/>
                  <a:pt x="2786" y="912"/>
                </a:cubicBezTo>
                <a:cubicBezTo>
                  <a:pt x="2786" y="912"/>
                  <a:pt x="2786" y="910"/>
                  <a:pt x="2786" y="910"/>
                </a:cubicBezTo>
                <a:cubicBezTo>
                  <a:pt x="2787" y="910"/>
                  <a:pt x="2788" y="910"/>
                  <a:pt x="2788" y="910"/>
                </a:cubicBezTo>
                <a:cubicBezTo>
                  <a:pt x="2788" y="910"/>
                  <a:pt x="2788" y="910"/>
                  <a:pt x="2788" y="910"/>
                </a:cubicBezTo>
                <a:cubicBezTo>
                  <a:pt x="2789" y="912"/>
                  <a:pt x="2789" y="912"/>
                  <a:pt x="2789" y="912"/>
                </a:cubicBezTo>
                <a:cubicBezTo>
                  <a:pt x="2793" y="911"/>
                  <a:pt x="2793" y="911"/>
                  <a:pt x="2793" y="911"/>
                </a:cubicBezTo>
                <a:cubicBezTo>
                  <a:pt x="2794" y="914"/>
                  <a:pt x="2794" y="916"/>
                  <a:pt x="2794" y="919"/>
                </a:cubicBezTo>
                <a:cubicBezTo>
                  <a:pt x="2792" y="920"/>
                  <a:pt x="2792" y="920"/>
                  <a:pt x="2790" y="921"/>
                </a:cubicBezTo>
                <a:cubicBezTo>
                  <a:pt x="2790" y="924"/>
                  <a:pt x="2790" y="924"/>
                  <a:pt x="2790" y="924"/>
                </a:cubicBezTo>
                <a:cubicBezTo>
                  <a:pt x="2790" y="924"/>
                  <a:pt x="2790" y="926"/>
                  <a:pt x="2789" y="926"/>
                </a:cubicBezTo>
                <a:cubicBezTo>
                  <a:pt x="2789" y="926"/>
                  <a:pt x="2785" y="926"/>
                  <a:pt x="2785" y="926"/>
                </a:cubicBezTo>
                <a:cubicBezTo>
                  <a:pt x="2784" y="928"/>
                  <a:pt x="2784" y="928"/>
                  <a:pt x="2784" y="928"/>
                </a:cubicBezTo>
                <a:cubicBezTo>
                  <a:pt x="2784" y="928"/>
                  <a:pt x="2782" y="929"/>
                  <a:pt x="2781" y="930"/>
                </a:cubicBezTo>
                <a:cubicBezTo>
                  <a:pt x="2781" y="930"/>
                  <a:pt x="2778" y="931"/>
                  <a:pt x="2778" y="931"/>
                </a:cubicBezTo>
                <a:cubicBezTo>
                  <a:pt x="2775" y="933"/>
                  <a:pt x="2775" y="933"/>
                  <a:pt x="2775" y="933"/>
                </a:cubicBezTo>
                <a:cubicBezTo>
                  <a:pt x="2770" y="935"/>
                  <a:pt x="2770" y="935"/>
                  <a:pt x="2770" y="935"/>
                </a:cubicBezTo>
                <a:cubicBezTo>
                  <a:pt x="2765" y="934"/>
                  <a:pt x="2765" y="934"/>
                  <a:pt x="2765" y="934"/>
                </a:cubicBezTo>
                <a:cubicBezTo>
                  <a:pt x="2764" y="932"/>
                  <a:pt x="2764" y="932"/>
                  <a:pt x="2764" y="932"/>
                </a:cubicBezTo>
                <a:cubicBezTo>
                  <a:pt x="2758" y="932"/>
                  <a:pt x="2762" y="933"/>
                  <a:pt x="2758" y="931"/>
                </a:cubicBezTo>
                <a:cubicBezTo>
                  <a:pt x="2757" y="930"/>
                  <a:pt x="2753" y="929"/>
                  <a:pt x="2753" y="929"/>
                </a:cubicBezTo>
                <a:cubicBezTo>
                  <a:pt x="2753" y="929"/>
                  <a:pt x="2752" y="925"/>
                  <a:pt x="2753" y="925"/>
                </a:cubicBezTo>
                <a:close/>
                <a:moveTo>
                  <a:pt x="2795" y="964"/>
                </a:moveTo>
                <a:cubicBezTo>
                  <a:pt x="2795" y="964"/>
                  <a:pt x="2795" y="964"/>
                  <a:pt x="2795" y="965"/>
                </a:cubicBezTo>
                <a:cubicBezTo>
                  <a:pt x="2795" y="965"/>
                  <a:pt x="2796" y="966"/>
                  <a:pt x="2795" y="966"/>
                </a:cubicBezTo>
                <a:cubicBezTo>
                  <a:pt x="2792" y="966"/>
                  <a:pt x="2793" y="967"/>
                  <a:pt x="2792" y="965"/>
                </a:cubicBezTo>
                <a:cubicBezTo>
                  <a:pt x="2794" y="963"/>
                  <a:pt x="2794" y="962"/>
                  <a:pt x="2795" y="964"/>
                </a:cubicBezTo>
                <a:close/>
                <a:moveTo>
                  <a:pt x="2777" y="890"/>
                </a:moveTo>
                <a:cubicBezTo>
                  <a:pt x="2777" y="890"/>
                  <a:pt x="2782" y="893"/>
                  <a:pt x="2783" y="894"/>
                </a:cubicBezTo>
                <a:cubicBezTo>
                  <a:pt x="2783" y="894"/>
                  <a:pt x="2786" y="897"/>
                  <a:pt x="2786" y="897"/>
                </a:cubicBezTo>
                <a:cubicBezTo>
                  <a:pt x="2786" y="897"/>
                  <a:pt x="2790" y="900"/>
                  <a:pt x="2790" y="900"/>
                </a:cubicBezTo>
                <a:cubicBezTo>
                  <a:pt x="2791" y="900"/>
                  <a:pt x="2793" y="901"/>
                  <a:pt x="2794" y="902"/>
                </a:cubicBezTo>
                <a:cubicBezTo>
                  <a:pt x="2794" y="902"/>
                  <a:pt x="2795" y="904"/>
                  <a:pt x="2796" y="905"/>
                </a:cubicBezTo>
                <a:cubicBezTo>
                  <a:pt x="2796" y="905"/>
                  <a:pt x="2797" y="906"/>
                  <a:pt x="2798" y="908"/>
                </a:cubicBezTo>
                <a:cubicBezTo>
                  <a:pt x="2800" y="909"/>
                  <a:pt x="2800" y="910"/>
                  <a:pt x="2801" y="912"/>
                </a:cubicBezTo>
                <a:cubicBezTo>
                  <a:pt x="2803" y="914"/>
                  <a:pt x="2801" y="914"/>
                  <a:pt x="2801" y="914"/>
                </a:cubicBezTo>
                <a:cubicBezTo>
                  <a:pt x="2799" y="917"/>
                  <a:pt x="2799" y="917"/>
                  <a:pt x="2799" y="917"/>
                </a:cubicBezTo>
                <a:cubicBezTo>
                  <a:pt x="2797" y="916"/>
                  <a:pt x="2797" y="916"/>
                  <a:pt x="2797" y="916"/>
                </a:cubicBezTo>
                <a:cubicBezTo>
                  <a:pt x="2797" y="916"/>
                  <a:pt x="2796" y="911"/>
                  <a:pt x="2796" y="910"/>
                </a:cubicBezTo>
                <a:cubicBezTo>
                  <a:pt x="2796" y="909"/>
                  <a:pt x="2793" y="906"/>
                  <a:pt x="2793" y="904"/>
                </a:cubicBezTo>
                <a:cubicBezTo>
                  <a:pt x="2793" y="903"/>
                  <a:pt x="2791" y="904"/>
                  <a:pt x="2791" y="904"/>
                </a:cubicBezTo>
                <a:cubicBezTo>
                  <a:pt x="2789" y="901"/>
                  <a:pt x="2789" y="901"/>
                  <a:pt x="2789" y="901"/>
                </a:cubicBezTo>
                <a:cubicBezTo>
                  <a:pt x="2784" y="898"/>
                  <a:pt x="2784" y="898"/>
                  <a:pt x="2784" y="898"/>
                </a:cubicBezTo>
                <a:cubicBezTo>
                  <a:pt x="2783" y="897"/>
                  <a:pt x="2778" y="892"/>
                  <a:pt x="2777" y="890"/>
                </a:cubicBezTo>
                <a:close/>
                <a:moveTo>
                  <a:pt x="2791" y="896"/>
                </a:moveTo>
                <a:cubicBezTo>
                  <a:pt x="2790" y="893"/>
                  <a:pt x="2790" y="893"/>
                  <a:pt x="2790" y="893"/>
                </a:cubicBezTo>
                <a:cubicBezTo>
                  <a:pt x="2793" y="893"/>
                  <a:pt x="2793" y="893"/>
                  <a:pt x="2793" y="893"/>
                </a:cubicBezTo>
                <a:lnTo>
                  <a:pt x="2791" y="896"/>
                </a:lnTo>
                <a:close/>
                <a:moveTo>
                  <a:pt x="2796" y="900"/>
                </a:moveTo>
                <a:cubicBezTo>
                  <a:pt x="2796" y="899"/>
                  <a:pt x="2799" y="896"/>
                  <a:pt x="2799" y="896"/>
                </a:cubicBezTo>
                <a:cubicBezTo>
                  <a:pt x="2799" y="899"/>
                  <a:pt x="2799" y="899"/>
                  <a:pt x="2799" y="899"/>
                </a:cubicBezTo>
                <a:cubicBezTo>
                  <a:pt x="2797" y="900"/>
                  <a:pt x="2797" y="900"/>
                  <a:pt x="2796" y="900"/>
                </a:cubicBezTo>
                <a:close/>
                <a:moveTo>
                  <a:pt x="2788" y="967"/>
                </a:moveTo>
                <a:cubicBezTo>
                  <a:pt x="2788" y="968"/>
                  <a:pt x="2789" y="969"/>
                  <a:pt x="2788" y="970"/>
                </a:cubicBezTo>
                <a:cubicBezTo>
                  <a:pt x="2787" y="970"/>
                  <a:pt x="2786" y="971"/>
                  <a:pt x="2787" y="967"/>
                </a:cubicBezTo>
                <a:cubicBezTo>
                  <a:pt x="2787" y="967"/>
                  <a:pt x="2788" y="967"/>
                  <a:pt x="2788" y="967"/>
                </a:cubicBezTo>
                <a:close/>
                <a:moveTo>
                  <a:pt x="2784" y="987"/>
                </a:moveTo>
                <a:cubicBezTo>
                  <a:pt x="2784" y="987"/>
                  <a:pt x="2784" y="989"/>
                  <a:pt x="2784" y="989"/>
                </a:cubicBezTo>
                <a:cubicBezTo>
                  <a:pt x="2780" y="989"/>
                  <a:pt x="2780" y="989"/>
                  <a:pt x="2780" y="989"/>
                </a:cubicBezTo>
                <a:cubicBezTo>
                  <a:pt x="2780" y="987"/>
                  <a:pt x="2780" y="987"/>
                  <a:pt x="2780" y="987"/>
                </a:cubicBezTo>
                <a:cubicBezTo>
                  <a:pt x="2781" y="987"/>
                  <a:pt x="2783" y="986"/>
                  <a:pt x="2784" y="987"/>
                </a:cubicBezTo>
                <a:close/>
                <a:moveTo>
                  <a:pt x="2768" y="969"/>
                </a:moveTo>
                <a:cubicBezTo>
                  <a:pt x="2768" y="969"/>
                  <a:pt x="2768" y="969"/>
                  <a:pt x="2768" y="969"/>
                </a:cubicBezTo>
                <a:cubicBezTo>
                  <a:pt x="2768" y="968"/>
                  <a:pt x="2767" y="967"/>
                  <a:pt x="2768" y="967"/>
                </a:cubicBezTo>
                <a:cubicBezTo>
                  <a:pt x="2769" y="966"/>
                  <a:pt x="2771" y="965"/>
                  <a:pt x="2771" y="966"/>
                </a:cubicBezTo>
                <a:cubicBezTo>
                  <a:pt x="2771" y="966"/>
                  <a:pt x="2771" y="968"/>
                  <a:pt x="2771" y="968"/>
                </a:cubicBezTo>
                <a:cubicBezTo>
                  <a:pt x="2771" y="968"/>
                  <a:pt x="2772" y="968"/>
                  <a:pt x="2770" y="969"/>
                </a:cubicBezTo>
                <a:cubicBezTo>
                  <a:pt x="2769" y="969"/>
                  <a:pt x="2768" y="969"/>
                  <a:pt x="2768" y="969"/>
                </a:cubicBezTo>
                <a:close/>
                <a:moveTo>
                  <a:pt x="2772" y="968"/>
                </a:moveTo>
                <a:cubicBezTo>
                  <a:pt x="2772" y="968"/>
                  <a:pt x="2772" y="968"/>
                  <a:pt x="2772" y="968"/>
                </a:cubicBezTo>
                <a:cubicBezTo>
                  <a:pt x="2772" y="968"/>
                  <a:pt x="2772" y="968"/>
                  <a:pt x="2772" y="968"/>
                </a:cubicBezTo>
                <a:close/>
                <a:moveTo>
                  <a:pt x="2779" y="962"/>
                </a:moveTo>
                <a:cubicBezTo>
                  <a:pt x="2777" y="962"/>
                  <a:pt x="2777" y="962"/>
                  <a:pt x="2777" y="962"/>
                </a:cubicBezTo>
                <a:cubicBezTo>
                  <a:pt x="2777" y="961"/>
                  <a:pt x="2777" y="961"/>
                  <a:pt x="2777" y="961"/>
                </a:cubicBezTo>
                <a:cubicBezTo>
                  <a:pt x="2779" y="960"/>
                  <a:pt x="2779" y="960"/>
                  <a:pt x="2779" y="960"/>
                </a:cubicBezTo>
                <a:cubicBezTo>
                  <a:pt x="2779" y="960"/>
                  <a:pt x="2781" y="960"/>
                  <a:pt x="2779" y="962"/>
                </a:cubicBezTo>
                <a:close/>
                <a:moveTo>
                  <a:pt x="2748" y="890"/>
                </a:moveTo>
                <a:cubicBezTo>
                  <a:pt x="2751" y="888"/>
                  <a:pt x="2751" y="888"/>
                  <a:pt x="2751" y="888"/>
                </a:cubicBezTo>
                <a:cubicBezTo>
                  <a:pt x="2753" y="890"/>
                  <a:pt x="2753" y="890"/>
                  <a:pt x="2753" y="890"/>
                </a:cubicBezTo>
                <a:cubicBezTo>
                  <a:pt x="2750" y="891"/>
                  <a:pt x="2751" y="891"/>
                  <a:pt x="2748" y="890"/>
                </a:cubicBezTo>
                <a:close/>
                <a:moveTo>
                  <a:pt x="2772" y="971"/>
                </a:moveTo>
                <a:cubicBezTo>
                  <a:pt x="2772" y="968"/>
                  <a:pt x="2772" y="968"/>
                  <a:pt x="2772" y="968"/>
                </a:cubicBezTo>
                <a:cubicBezTo>
                  <a:pt x="2774" y="968"/>
                  <a:pt x="2775" y="969"/>
                  <a:pt x="2776" y="970"/>
                </a:cubicBezTo>
                <a:cubicBezTo>
                  <a:pt x="2776" y="971"/>
                  <a:pt x="2776" y="972"/>
                  <a:pt x="2775" y="972"/>
                </a:cubicBezTo>
                <a:cubicBezTo>
                  <a:pt x="2775" y="974"/>
                  <a:pt x="2775" y="973"/>
                  <a:pt x="2776" y="974"/>
                </a:cubicBezTo>
                <a:cubicBezTo>
                  <a:pt x="2777" y="976"/>
                  <a:pt x="2777" y="975"/>
                  <a:pt x="2778" y="975"/>
                </a:cubicBezTo>
                <a:cubicBezTo>
                  <a:pt x="2779" y="974"/>
                  <a:pt x="2779" y="977"/>
                  <a:pt x="2778" y="977"/>
                </a:cubicBezTo>
                <a:cubicBezTo>
                  <a:pt x="2778" y="977"/>
                  <a:pt x="2777" y="977"/>
                  <a:pt x="2776" y="977"/>
                </a:cubicBezTo>
                <a:cubicBezTo>
                  <a:pt x="2774" y="975"/>
                  <a:pt x="2774" y="974"/>
                  <a:pt x="2774" y="972"/>
                </a:cubicBezTo>
                <a:cubicBezTo>
                  <a:pt x="2773" y="971"/>
                  <a:pt x="2773" y="971"/>
                  <a:pt x="2772" y="971"/>
                </a:cubicBezTo>
                <a:close/>
                <a:moveTo>
                  <a:pt x="2748" y="927"/>
                </a:moveTo>
                <a:cubicBezTo>
                  <a:pt x="2748" y="926"/>
                  <a:pt x="2749" y="924"/>
                  <a:pt x="2749" y="924"/>
                </a:cubicBezTo>
                <a:cubicBezTo>
                  <a:pt x="2751" y="924"/>
                  <a:pt x="2751" y="924"/>
                  <a:pt x="2751" y="924"/>
                </a:cubicBezTo>
                <a:cubicBezTo>
                  <a:pt x="2751" y="928"/>
                  <a:pt x="2751" y="928"/>
                  <a:pt x="2751" y="928"/>
                </a:cubicBezTo>
                <a:cubicBezTo>
                  <a:pt x="2749" y="928"/>
                  <a:pt x="2750" y="928"/>
                  <a:pt x="2748" y="927"/>
                </a:cubicBezTo>
                <a:close/>
                <a:moveTo>
                  <a:pt x="2815" y="925"/>
                </a:moveTo>
                <a:cubicBezTo>
                  <a:pt x="2813" y="923"/>
                  <a:pt x="2813" y="924"/>
                  <a:pt x="2816" y="919"/>
                </a:cubicBezTo>
                <a:cubicBezTo>
                  <a:pt x="2816" y="922"/>
                  <a:pt x="2816" y="922"/>
                  <a:pt x="2816" y="924"/>
                </a:cubicBezTo>
                <a:cubicBezTo>
                  <a:pt x="2816" y="924"/>
                  <a:pt x="2818" y="925"/>
                  <a:pt x="2818" y="925"/>
                </a:cubicBezTo>
                <a:cubicBezTo>
                  <a:pt x="2819" y="925"/>
                  <a:pt x="2820" y="925"/>
                  <a:pt x="2820" y="926"/>
                </a:cubicBezTo>
                <a:cubicBezTo>
                  <a:pt x="2820" y="928"/>
                  <a:pt x="2821" y="927"/>
                  <a:pt x="2821" y="929"/>
                </a:cubicBezTo>
                <a:cubicBezTo>
                  <a:pt x="2821" y="930"/>
                  <a:pt x="2822" y="932"/>
                  <a:pt x="2822" y="932"/>
                </a:cubicBezTo>
                <a:cubicBezTo>
                  <a:pt x="2823" y="933"/>
                  <a:pt x="2825" y="934"/>
                  <a:pt x="2826" y="935"/>
                </a:cubicBezTo>
                <a:cubicBezTo>
                  <a:pt x="2826" y="936"/>
                  <a:pt x="2827" y="939"/>
                  <a:pt x="2825" y="939"/>
                </a:cubicBezTo>
                <a:cubicBezTo>
                  <a:pt x="2824" y="940"/>
                  <a:pt x="2821" y="940"/>
                  <a:pt x="2821" y="940"/>
                </a:cubicBezTo>
                <a:cubicBezTo>
                  <a:pt x="2820" y="939"/>
                  <a:pt x="2820" y="936"/>
                  <a:pt x="2819" y="935"/>
                </a:cubicBezTo>
                <a:cubicBezTo>
                  <a:pt x="2817" y="932"/>
                  <a:pt x="2817" y="933"/>
                  <a:pt x="2817" y="931"/>
                </a:cubicBezTo>
                <a:cubicBezTo>
                  <a:pt x="2817" y="929"/>
                  <a:pt x="2817" y="930"/>
                  <a:pt x="2816" y="929"/>
                </a:cubicBezTo>
                <a:cubicBezTo>
                  <a:pt x="2815" y="926"/>
                  <a:pt x="2817" y="927"/>
                  <a:pt x="2815" y="925"/>
                </a:cubicBezTo>
                <a:close/>
                <a:moveTo>
                  <a:pt x="2842" y="955"/>
                </a:moveTo>
                <a:cubicBezTo>
                  <a:pt x="2841" y="955"/>
                  <a:pt x="2841" y="956"/>
                  <a:pt x="2840" y="956"/>
                </a:cubicBezTo>
                <a:cubicBezTo>
                  <a:pt x="2839" y="956"/>
                  <a:pt x="2839" y="957"/>
                  <a:pt x="2838" y="957"/>
                </a:cubicBezTo>
                <a:cubicBezTo>
                  <a:pt x="2837" y="957"/>
                  <a:pt x="2835" y="956"/>
                  <a:pt x="2835" y="955"/>
                </a:cubicBezTo>
                <a:cubicBezTo>
                  <a:pt x="2835" y="954"/>
                  <a:pt x="2836" y="952"/>
                  <a:pt x="2836" y="952"/>
                </a:cubicBezTo>
                <a:cubicBezTo>
                  <a:pt x="2836" y="952"/>
                  <a:pt x="2837" y="950"/>
                  <a:pt x="2837" y="951"/>
                </a:cubicBezTo>
                <a:cubicBezTo>
                  <a:pt x="2839" y="953"/>
                  <a:pt x="2837" y="956"/>
                  <a:pt x="2839" y="954"/>
                </a:cubicBezTo>
                <a:cubicBezTo>
                  <a:pt x="2840" y="953"/>
                  <a:pt x="2840" y="952"/>
                  <a:pt x="2840" y="952"/>
                </a:cubicBezTo>
                <a:cubicBezTo>
                  <a:pt x="2841" y="952"/>
                  <a:pt x="2843" y="954"/>
                  <a:pt x="2842" y="955"/>
                </a:cubicBezTo>
                <a:close/>
                <a:moveTo>
                  <a:pt x="2871" y="959"/>
                </a:moveTo>
                <a:cubicBezTo>
                  <a:pt x="2871" y="959"/>
                  <a:pt x="2870" y="955"/>
                  <a:pt x="2871" y="955"/>
                </a:cubicBezTo>
                <a:cubicBezTo>
                  <a:pt x="2871" y="955"/>
                  <a:pt x="2873" y="957"/>
                  <a:pt x="2873" y="957"/>
                </a:cubicBezTo>
                <a:cubicBezTo>
                  <a:pt x="2873" y="958"/>
                  <a:pt x="2873" y="959"/>
                  <a:pt x="2874" y="960"/>
                </a:cubicBezTo>
                <a:cubicBezTo>
                  <a:pt x="2874" y="961"/>
                  <a:pt x="2874" y="962"/>
                  <a:pt x="2874" y="963"/>
                </a:cubicBezTo>
                <a:cubicBezTo>
                  <a:pt x="2875" y="965"/>
                  <a:pt x="2876" y="963"/>
                  <a:pt x="2878" y="970"/>
                </a:cubicBezTo>
                <a:cubicBezTo>
                  <a:pt x="2879" y="974"/>
                  <a:pt x="2876" y="972"/>
                  <a:pt x="2875" y="970"/>
                </a:cubicBezTo>
                <a:cubicBezTo>
                  <a:pt x="2874" y="968"/>
                  <a:pt x="2872" y="966"/>
                  <a:pt x="2872" y="966"/>
                </a:cubicBezTo>
                <a:cubicBezTo>
                  <a:pt x="2872" y="965"/>
                  <a:pt x="2871" y="965"/>
                  <a:pt x="2870" y="964"/>
                </a:cubicBezTo>
                <a:cubicBezTo>
                  <a:pt x="2870" y="962"/>
                  <a:pt x="2870" y="961"/>
                  <a:pt x="2871" y="959"/>
                </a:cubicBezTo>
                <a:close/>
                <a:moveTo>
                  <a:pt x="2849" y="947"/>
                </a:moveTo>
                <a:cubicBezTo>
                  <a:pt x="2850" y="947"/>
                  <a:pt x="2851" y="947"/>
                  <a:pt x="2853" y="947"/>
                </a:cubicBezTo>
                <a:cubicBezTo>
                  <a:pt x="2853" y="947"/>
                  <a:pt x="2854" y="948"/>
                  <a:pt x="2855" y="950"/>
                </a:cubicBezTo>
                <a:cubicBezTo>
                  <a:pt x="2857" y="952"/>
                  <a:pt x="2856" y="952"/>
                  <a:pt x="2856" y="952"/>
                </a:cubicBezTo>
                <a:cubicBezTo>
                  <a:pt x="2856" y="952"/>
                  <a:pt x="2857" y="952"/>
                  <a:pt x="2859" y="953"/>
                </a:cubicBezTo>
                <a:cubicBezTo>
                  <a:pt x="2861" y="954"/>
                  <a:pt x="2862" y="955"/>
                  <a:pt x="2864" y="956"/>
                </a:cubicBezTo>
                <a:cubicBezTo>
                  <a:pt x="2865" y="956"/>
                  <a:pt x="2864" y="959"/>
                  <a:pt x="2862" y="959"/>
                </a:cubicBezTo>
                <a:cubicBezTo>
                  <a:pt x="2859" y="959"/>
                  <a:pt x="2855" y="954"/>
                  <a:pt x="2852" y="953"/>
                </a:cubicBezTo>
                <a:cubicBezTo>
                  <a:pt x="2852" y="953"/>
                  <a:pt x="2852" y="950"/>
                  <a:pt x="2852" y="950"/>
                </a:cubicBezTo>
                <a:cubicBezTo>
                  <a:pt x="2851" y="949"/>
                  <a:pt x="2849" y="951"/>
                  <a:pt x="2849" y="947"/>
                </a:cubicBezTo>
                <a:close/>
                <a:moveTo>
                  <a:pt x="2832" y="938"/>
                </a:moveTo>
                <a:cubicBezTo>
                  <a:pt x="2832" y="938"/>
                  <a:pt x="2833" y="938"/>
                  <a:pt x="2834" y="938"/>
                </a:cubicBezTo>
                <a:cubicBezTo>
                  <a:pt x="2836" y="940"/>
                  <a:pt x="2837" y="939"/>
                  <a:pt x="2838" y="941"/>
                </a:cubicBezTo>
                <a:cubicBezTo>
                  <a:pt x="2838" y="943"/>
                  <a:pt x="2840" y="944"/>
                  <a:pt x="2842" y="946"/>
                </a:cubicBezTo>
                <a:cubicBezTo>
                  <a:pt x="2842" y="946"/>
                  <a:pt x="2838" y="947"/>
                  <a:pt x="2838" y="947"/>
                </a:cubicBezTo>
                <a:cubicBezTo>
                  <a:pt x="2838" y="947"/>
                  <a:pt x="2837" y="946"/>
                  <a:pt x="2835" y="946"/>
                </a:cubicBezTo>
                <a:cubicBezTo>
                  <a:pt x="2834" y="946"/>
                  <a:pt x="2835" y="944"/>
                  <a:pt x="2834" y="942"/>
                </a:cubicBezTo>
                <a:cubicBezTo>
                  <a:pt x="2834" y="941"/>
                  <a:pt x="2834" y="941"/>
                  <a:pt x="2833" y="941"/>
                </a:cubicBezTo>
                <a:cubicBezTo>
                  <a:pt x="2833" y="940"/>
                  <a:pt x="2832" y="939"/>
                  <a:pt x="2832" y="938"/>
                </a:cubicBezTo>
                <a:close/>
                <a:moveTo>
                  <a:pt x="2863" y="968"/>
                </a:moveTo>
                <a:cubicBezTo>
                  <a:pt x="2865" y="969"/>
                  <a:pt x="2869" y="969"/>
                  <a:pt x="2870" y="971"/>
                </a:cubicBezTo>
                <a:cubicBezTo>
                  <a:pt x="2871" y="972"/>
                  <a:pt x="2870" y="973"/>
                  <a:pt x="2870" y="974"/>
                </a:cubicBezTo>
                <a:cubicBezTo>
                  <a:pt x="2870" y="974"/>
                  <a:pt x="2866" y="975"/>
                  <a:pt x="2865" y="975"/>
                </a:cubicBezTo>
                <a:cubicBezTo>
                  <a:pt x="2865" y="975"/>
                  <a:pt x="2862" y="973"/>
                  <a:pt x="2862" y="973"/>
                </a:cubicBezTo>
                <a:cubicBezTo>
                  <a:pt x="2857" y="973"/>
                  <a:pt x="2857" y="974"/>
                  <a:pt x="2859" y="968"/>
                </a:cubicBezTo>
                <a:cubicBezTo>
                  <a:pt x="2860" y="965"/>
                  <a:pt x="2863" y="968"/>
                  <a:pt x="2863" y="968"/>
                </a:cubicBezTo>
                <a:close/>
                <a:moveTo>
                  <a:pt x="2831" y="951"/>
                </a:moveTo>
                <a:cubicBezTo>
                  <a:pt x="2831" y="947"/>
                  <a:pt x="2830" y="947"/>
                  <a:pt x="2834" y="948"/>
                </a:cubicBezTo>
                <a:cubicBezTo>
                  <a:pt x="2834" y="950"/>
                  <a:pt x="2833" y="951"/>
                  <a:pt x="2832" y="952"/>
                </a:cubicBezTo>
                <a:cubicBezTo>
                  <a:pt x="2832" y="952"/>
                  <a:pt x="2831" y="951"/>
                  <a:pt x="2831" y="951"/>
                </a:cubicBezTo>
                <a:close/>
                <a:moveTo>
                  <a:pt x="2843" y="947"/>
                </a:moveTo>
                <a:cubicBezTo>
                  <a:pt x="2843" y="946"/>
                  <a:pt x="2844" y="946"/>
                  <a:pt x="2845" y="945"/>
                </a:cubicBezTo>
                <a:cubicBezTo>
                  <a:pt x="2845" y="945"/>
                  <a:pt x="2846" y="947"/>
                  <a:pt x="2846" y="947"/>
                </a:cubicBezTo>
                <a:cubicBezTo>
                  <a:pt x="2846" y="948"/>
                  <a:pt x="2845" y="951"/>
                  <a:pt x="2843" y="947"/>
                </a:cubicBezTo>
                <a:cubicBezTo>
                  <a:pt x="2843" y="947"/>
                  <a:pt x="2843" y="947"/>
                  <a:pt x="2843" y="947"/>
                </a:cubicBezTo>
                <a:close/>
                <a:moveTo>
                  <a:pt x="2879" y="984"/>
                </a:moveTo>
                <a:cubicBezTo>
                  <a:pt x="2876" y="981"/>
                  <a:pt x="2877" y="982"/>
                  <a:pt x="2876" y="979"/>
                </a:cubicBezTo>
                <a:cubicBezTo>
                  <a:pt x="2876" y="979"/>
                  <a:pt x="2875" y="979"/>
                  <a:pt x="2874" y="979"/>
                </a:cubicBezTo>
                <a:cubicBezTo>
                  <a:pt x="2874" y="978"/>
                  <a:pt x="2875" y="978"/>
                  <a:pt x="2875" y="978"/>
                </a:cubicBezTo>
                <a:cubicBezTo>
                  <a:pt x="2875" y="977"/>
                  <a:pt x="2876" y="977"/>
                  <a:pt x="2877" y="977"/>
                </a:cubicBezTo>
                <a:cubicBezTo>
                  <a:pt x="2878" y="978"/>
                  <a:pt x="2880" y="979"/>
                  <a:pt x="2880" y="980"/>
                </a:cubicBezTo>
                <a:cubicBezTo>
                  <a:pt x="2880" y="981"/>
                  <a:pt x="2883" y="981"/>
                  <a:pt x="2883" y="981"/>
                </a:cubicBezTo>
                <a:cubicBezTo>
                  <a:pt x="2884" y="983"/>
                  <a:pt x="2886" y="986"/>
                  <a:pt x="2883" y="985"/>
                </a:cubicBezTo>
                <a:cubicBezTo>
                  <a:pt x="2881" y="985"/>
                  <a:pt x="2880" y="985"/>
                  <a:pt x="2879" y="984"/>
                </a:cubicBezTo>
                <a:close/>
                <a:moveTo>
                  <a:pt x="2847" y="960"/>
                </a:moveTo>
                <a:cubicBezTo>
                  <a:pt x="2846" y="961"/>
                  <a:pt x="2847" y="961"/>
                  <a:pt x="2845" y="962"/>
                </a:cubicBezTo>
                <a:cubicBezTo>
                  <a:pt x="2844" y="962"/>
                  <a:pt x="2844" y="962"/>
                  <a:pt x="2843" y="961"/>
                </a:cubicBezTo>
                <a:cubicBezTo>
                  <a:pt x="2842" y="960"/>
                  <a:pt x="2842" y="957"/>
                  <a:pt x="2842" y="957"/>
                </a:cubicBezTo>
                <a:cubicBezTo>
                  <a:pt x="2843" y="957"/>
                  <a:pt x="2844" y="956"/>
                  <a:pt x="2845" y="955"/>
                </a:cubicBezTo>
                <a:cubicBezTo>
                  <a:pt x="2845" y="955"/>
                  <a:pt x="2844" y="957"/>
                  <a:pt x="2845" y="958"/>
                </a:cubicBezTo>
                <a:cubicBezTo>
                  <a:pt x="2846" y="962"/>
                  <a:pt x="2847" y="958"/>
                  <a:pt x="2847" y="960"/>
                </a:cubicBezTo>
                <a:close/>
                <a:moveTo>
                  <a:pt x="2916" y="1104"/>
                </a:moveTo>
                <a:cubicBezTo>
                  <a:pt x="2916" y="1104"/>
                  <a:pt x="2916" y="1102"/>
                  <a:pt x="2916" y="1102"/>
                </a:cubicBezTo>
                <a:cubicBezTo>
                  <a:pt x="2917" y="1101"/>
                  <a:pt x="2918" y="1101"/>
                  <a:pt x="2918" y="1102"/>
                </a:cubicBezTo>
                <a:cubicBezTo>
                  <a:pt x="2919" y="1102"/>
                  <a:pt x="2919" y="1104"/>
                  <a:pt x="2918" y="1104"/>
                </a:cubicBezTo>
                <a:cubicBezTo>
                  <a:pt x="2917" y="1104"/>
                  <a:pt x="2916" y="1104"/>
                  <a:pt x="2916" y="1104"/>
                </a:cubicBezTo>
                <a:close/>
                <a:moveTo>
                  <a:pt x="2909" y="1097"/>
                </a:moveTo>
                <a:cubicBezTo>
                  <a:pt x="2909" y="1097"/>
                  <a:pt x="2908" y="1097"/>
                  <a:pt x="2909" y="1096"/>
                </a:cubicBezTo>
                <a:cubicBezTo>
                  <a:pt x="2909" y="1095"/>
                  <a:pt x="2911" y="1092"/>
                  <a:pt x="2912" y="1093"/>
                </a:cubicBezTo>
                <a:cubicBezTo>
                  <a:pt x="2912" y="1094"/>
                  <a:pt x="2912" y="1097"/>
                  <a:pt x="2912" y="1097"/>
                </a:cubicBezTo>
                <a:cubicBezTo>
                  <a:pt x="2913" y="1098"/>
                  <a:pt x="2912" y="1100"/>
                  <a:pt x="2911" y="1100"/>
                </a:cubicBezTo>
                <a:cubicBezTo>
                  <a:pt x="2911" y="1099"/>
                  <a:pt x="2909" y="1097"/>
                  <a:pt x="2909" y="1097"/>
                </a:cubicBezTo>
                <a:close/>
                <a:moveTo>
                  <a:pt x="2887" y="1088"/>
                </a:moveTo>
                <a:cubicBezTo>
                  <a:pt x="2888" y="1089"/>
                  <a:pt x="2887" y="1090"/>
                  <a:pt x="2887" y="1091"/>
                </a:cubicBezTo>
                <a:cubicBezTo>
                  <a:pt x="2888" y="1092"/>
                  <a:pt x="2890" y="1093"/>
                  <a:pt x="2891" y="1094"/>
                </a:cubicBezTo>
                <a:cubicBezTo>
                  <a:pt x="2891" y="1094"/>
                  <a:pt x="2893" y="1094"/>
                  <a:pt x="2893" y="1095"/>
                </a:cubicBezTo>
                <a:cubicBezTo>
                  <a:pt x="2893" y="1100"/>
                  <a:pt x="2892" y="1097"/>
                  <a:pt x="2897" y="1101"/>
                </a:cubicBezTo>
                <a:cubicBezTo>
                  <a:pt x="2900" y="1103"/>
                  <a:pt x="2901" y="1104"/>
                  <a:pt x="2903" y="1107"/>
                </a:cubicBezTo>
                <a:cubicBezTo>
                  <a:pt x="2904" y="1107"/>
                  <a:pt x="2905" y="1107"/>
                  <a:pt x="2905" y="1108"/>
                </a:cubicBezTo>
                <a:cubicBezTo>
                  <a:pt x="2906" y="1109"/>
                  <a:pt x="2905" y="1111"/>
                  <a:pt x="2905" y="1112"/>
                </a:cubicBezTo>
                <a:cubicBezTo>
                  <a:pt x="2905" y="1112"/>
                  <a:pt x="2902" y="1113"/>
                  <a:pt x="2901" y="1112"/>
                </a:cubicBezTo>
                <a:cubicBezTo>
                  <a:pt x="2900" y="1111"/>
                  <a:pt x="2895" y="1109"/>
                  <a:pt x="2895" y="1108"/>
                </a:cubicBezTo>
                <a:cubicBezTo>
                  <a:pt x="2895" y="1105"/>
                  <a:pt x="2896" y="1105"/>
                  <a:pt x="2890" y="1103"/>
                </a:cubicBezTo>
                <a:cubicBezTo>
                  <a:pt x="2889" y="1102"/>
                  <a:pt x="2888" y="1100"/>
                  <a:pt x="2888" y="1099"/>
                </a:cubicBezTo>
                <a:cubicBezTo>
                  <a:pt x="2888" y="1096"/>
                  <a:pt x="2885" y="1095"/>
                  <a:pt x="2885" y="1094"/>
                </a:cubicBezTo>
                <a:cubicBezTo>
                  <a:pt x="2885" y="1093"/>
                  <a:pt x="2882" y="1090"/>
                  <a:pt x="2882" y="1090"/>
                </a:cubicBezTo>
                <a:cubicBezTo>
                  <a:pt x="2882" y="1090"/>
                  <a:pt x="2881" y="1087"/>
                  <a:pt x="2881" y="1086"/>
                </a:cubicBezTo>
                <a:cubicBezTo>
                  <a:pt x="2880" y="1085"/>
                  <a:pt x="2879" y="1082"/>
                  <a:pt x="2879" y="1081"/>
                </a:cubicBezTo>
                <a:cubicBezTo>
                  <a:pt x="2879" y="1081"/>
                  <a:pt x="2878" y="1079"/>
                  <a:pt x="2878" y="1078"/>
                </a:cubicBezTo>
                <a:cubicBezTo>
                  <a:pt x="2877" y="1077"/>
                  <a:pt x="2878" y="1076"/>
                  <a:pt x="2878" y="1076"/>
                </a:cubicBezTo>
                <a:cubicBezTo>
                  <a:pt x="2879" y="1076"/>
                  <a:pt x="2878" y="1077"/>
                  <a:pt x="2879" y="1078"/>
                </a:cubicBezTo>
                <a:cubicBezTo>
                  <a:pt x="2879" y="1079"/>
                  <a:pt x="2881" y="1084"/>
                  <a:pt x="2882" y="1085"/>
                </a:cubicBezTo>
                <a:cubicBezTo>
                  <a:pt x="2883" y="1087"/>
                  <a:pt x="2886" y="1086"/>
                  <a:pt x="2887" y="1088"/>
                </a:cubicBezTo>
                <a:close/>
                <a:moveTo>
                  <a:pt x="2929" y="1018"/>
                </a:moveTo>
                <a:cubicBezTo>
                  <a:pt x="2929" y="1018"/>
                  <a:pt x="2929" y="1017"/>
                  <a:pt x="2929" y="1017"/>
                </a:cubicBezTo>
                <a:cubicBezTo>
                  <a:pt x="2930" y="1016"/>
                  <a:pt x="2930" y="1015"/>
                  <a:pt x="2931" y="1017"/>
                </a:cubicBezTo>
                <a:cubicBezTo>
                  <a:pt x="2931" y="1017"/>
                  <a:pt x="2931" y="1018"/>
                  <a:pt x="2931" y="1018"/>
                </a:cubicBezTo>
                <a:cubicBezTo>
                  <a:pt x="2931" y="1018"/>
                  <a:pt x="2931" y="1019"/>
                  <a:pt x="2930" y="1019"/>
                </a:cubicBezTo>
                <a:cubicBezTo>
                  <a:pt x="2930" y="1019"/>
                  <a:pt x="2929" y="1019"/>
                  <a:pt x="2929" y="1018"/>
                </a:cubicBezTo>
                <a:close/>
                <a:moveTo>
                  <a:pt x="2933" y="1040"/>
                </a:moveTo>
                <a:cubicBezTo>
                  <a:pt x="2933" y="1039"/>
                  <a:pt x="2933" y="1038"/>
                  <a:pt x="2933" y="1037"/>
                </a:cubicBezTo>
                <a:cubicBezTo>
                  <a:pt x="2934" y="1030"/>
                  <a:pt x="2934" y="1030"/>
                  <a:pt x="2934" y="1030"/>
                </a:cubicBezTo>
                <a:cubicBezTo>
                  <a:pt x="2935" y="1030"/>
                  <a:pt x="2935" y="1034"/>
                  <a:pt x="2934" y="1035"/>
                </a:cubicBezTo>
                <a:cubicBezTo>
                  <a:pt x="2933" y="1036"/>
                  <a:pt x="2935" y="1041"/>
                  <a:pt x="2933" y="1040"/>
                </a:cubicBezTo>
                <a:close/>
                <a:moveTo>
                  <a:pt x="2930" y="1034"/>
                </a:moveTo>
                <a:cubicBezTo>
                  <a:pt x="2930" y="1034"/>
                  <a:pt x="2931" y="1034"/>
                  <a:pt x="2932" y="1033"/>
                </a:cubicBezTo>
                <a:cubicBezTo>
                  <a:pt x="2933" y="1036"/>
                  <a:pt x="2932" y="1036"/>
                  <a:pt x="2930" y="1036"/>
                </a:cubicBezTo>
                <a:cubicBezTo>
                  <a:pt x="2930" y="1036"/>
                  <a:pt x="2928" y="1036"/>
                  <a:pt x="2930" y="1034"/>
                </a:cubicBezTo>
                <a:close/>
                <a:moveTo>
                  <a:pt x="2932" y="1043"/>
                </a:moveTo>
                <a:cubicBezTo>
                  <a:pt x="2933" y="1043"/>
                  <a:pt x="2933" y="1044"/>
                  <a:pt x="2933" y="1045"/>
                </a:cubicBezTo>
                <a:cubicBezTo>
                  <a:pt x="2935" y="1046"/>
                  <a:pt x="2932" y="1046"/>
                  <a:pt x="2931" y="1046"/>
                </a:cubicBezTo>
                <a:cubicBezTo>
                  <a:pt x="2931" y="1045"/>
                  <a:pt x="2931" y="1045"/>
                  <a:pt x="2931" y="1045"/>
                </a:cubicBezTo>
                <a:cubicBezTo>
                  <a:pt x="2930" y="1044"/>
                  <a:pt x="2930" y="1045"/>
                  <a:pt x="2930" y="1045"/>
                </a:cubicBezTo>
                <a:cubicBezTo>
                  <a:pt x="2928" y="1044"/>
                  <a:pt x="2931" y="1042"/>
                  <a:pt x="2932" y="1043"/>
                </a:cubicBezTo>
                <a:close/>
                <a:moveTo>
                  <a:pt x="2917" y="983"/>
                </a:moveTo>
                <a:cubicBezTo>
                  <a:pt x="2918" y="982"/>
                  <a:pt x="2920" y="983"/>
                  <a:pt x="2921" y="982"/>
                </a:cubicBezTo>
                <a:cubicBezTo>
                  <a:pt x="2921" y="982"/>
                  <a:pt x="2924" y="984"/>
                  <a:pt x="2923" y="984"/>
                </a:cubicBezTo>
                <a:cubicBezTo>
                  <a:pt x="2920" y="986"/>
                  <a:pt x="2917" y="984"/>
                  <a:pt x="2917" y="983"/>
                </a:cubicBezTo>
                <a:close/>
                <a:moveTo>
                  <a:pt x="2929" y="1023"/>
                </a:moveTo>
                <a:cubicBezTo>
                  <a:pt x="2929" y="1022"/>
                  <a:pt x="2928" y="1022"/>
                  <a:pt x="2929" y="1021"/>
                </a:cubicBezTo>
                <a:cubicBezTo>
                  <a:pt x="2929" y="1020"/>
                  <a:pt x="2930" y="1021"/>
                  <a:pt x="2930" y="1021"/>
                </a:cubicBezTo>
                <a:cubicBezTo>
                  <a:pt x="2932" y="1023"/>
                  <a:pt x="2930" y="1022"/>
                  <a:pt x="2930" y="1023"/>
                </a:cubicBezTo>
                <a:cubicBezTo>
                  <a:pt x="2930" y="1023"/>
                  <a:pt x="2929" y="1023"/>
                  <a:pt x="2929" y="1023"/>
                </a:cubicBezTo>
                <a:close/>
                <a:moveTo>
                  <a:pt x="2918" y="1030"/>
                </a:moveTo>
                <a:cubicBezTo>
                  <a:pt x="2918" y="1029"/>
                  <a:pt x="2918" y="1026"/>
                  <a:pt x="2918" y="1026"/>
                </a:cubicBezTo>
                <a:cubicBezTo>
                  <a:pt x="2918" y="1026"/>
                  <a:pt x="2921" y="1025"/>
                  <a:pt x="2921" y="1026"/>
                </a:cubicBezTo>
                <a:cubicBezTo>
                  <a:pt x="2922" y="1028"/>
                  <a:pt x="2922" y="1031"/>
                  <a:pt x="2922" y="1032"/>
                </a:cubicBezTo>
                <a:cubicBezTo>
                  <a:pt x="2922" y="1032"/>
                  <a:pt x="2923" y="1032"/>
                  <a:pt x="2924" y="1031"/>
                </a:cubicBezTo>
                <a:cubicBezTo>
                  <a:pt x="2924" y="1031"/>
                  <a:pt x="2925" y="1032"/>
                  <a:pt x="2925" y="1034"/>
                </a:cubicBezTo>
                <a:cubicBezTo>
                  <a:pt x="2924" y="1037"/>
                  <a:pt x="2925" y="1036"/>
                  <a:pt x="2922" y="1038"/>
                </a:cubicBezTo>
                <a:cubicBezTo>
                  <a:pt x="2917" y="1038"/>
                  <a:pt x="2919" y="1038"/>
                  <a:pt x="2918" y="1035"/>
                </a:cubicBezTo>
                <a:cubicBezTo>
                  <a:pt x="2918" y="1034"/>
                  <a:pt x="2919" y="1032"/>
                  <a:pt x="2918" y="1030"/>
                </a:cubicBezTo>
                <a:close/>
                <a:moveTo>
                  <a:pt x="2924" y="1012"/>
                </a:moveTo>
                <a:cubicBezTo>
                  <a:pt x="2925" y="1012"/>
                  <a:pt x="2925" y="1012"/>
                  <a:pt x="2925" y="1012"/>
                </a:cubicBezTo>
                <a:cubicBezTo>
                  <a:pt x="2925" y="1013"/>
                  <a:pt x="2926" y="1014"/>
                  <a:pt x="2925" y="1014"/>
                </a:cubicBezTo>
                <a:cubicBezTo>
                  <a:pt x="2924" y="1014"/>
                  <a:pt x="2923" y="1014"/>
                  <a:pt x="2923" y="1014"/>
                </a:cubicBezTo>
                <a:cubicBezTo>
                  <a:pt x="2923" y="1013"/>
                  <a:pt x="2924" y="1012"/>
                  <a:pt x="2924" y="1012"/>
                </a:cubicBezTo>
                <a:close/>
                <a:moveTo>
                  <a:pt x="2924" y="1040"/>
                </a:moveTo>
                <a:cubicBezTo>
                  <a:pt x="2924" y="1041"/>
                  <a:pt x="2927" y="1045"/>
                  <a:pt x="2928" y="1045"/>
                </a:cubicBezTo>
                <a:cubicBezTo>
                  <a:pt x="2928" y="1045"/>
                  <a:pt x="2931" y="1046"/>
                  <a:pt x="2928" y="1047"/>
                </a:cubicBezTo>
                <a:cubicBezTo>
                  <a:pt x="2926" y="1048"/>
                  <a:pt x="2925" y="1048"/>
                  <a:pt x="2925" y="1048"/>
                </a:cubicBezTo>
                <a:cubicBezTo>
                  <a:pt x="2925" y="1048"/>
                  <a:pt x="2925" y="1048"/>
                  <a:pt x="2924" y="1047"/>
                </a:cubicBezTo>
                <a:cubicBezTo>
                  <a:pt x="2924" y="1046"/>
                  <a:pt x="2923" y="1045"/>
                  <a:pt x="2923" y="1044"/>
                </a:cubicBezTo>
                <a:cubicBezTo>
                  <a:pt x="2923" y="1044"/>
                  <a:pt x="2924" y="1043"/>
                  <a:pt x="2923" y="1043"/>
                </a:cubicBezTo>
                <a:cubicBezTo>
                  <a:pt x="2923" y="1042"/>
                  <a:pt x="2922" y="1043"/>
                  <a:pt x="2922" y="1043"/>
                </a:cubicBezTo>
                <a:cubicBezTo>
                  <a:pt x="2922" y="1042"/>
                  <a:pt x="2923" y="1041"/>
                  <a:pt x="2923" y="1040"/>
                </a:cubicBezTo>
                <a:cubicBezTo>
                  <a:pt x="2923" y="1040"/>
                  <a:pt x="2924" y="1039"/>
                  <a:pt x="2924" y="1040"/>
                </a:cubicBezTo>
                <a:close/>
                <a:moveTo>
                  <a:pt x="2931" y="1051"/>
                </a:moveTo>
                <a:cubicBezTo>
                  <a:pt x="2931" y="1050"/>
                  <a:pt x="2931" y="1048"/>
                  <a:pt x="2932" y="1048"/>
                </a:cubicBezTo>
                <a:cubicBezTo>
                  <a:pt x="2932" y="1048"/>
                  <a:pt x="2932" y="1049"/>
                  <a:pt x="2932" y="1050"/>
                </a:cubicBezTo>
                <a:cubicBezTo>
                  <a:pt x="2933" y="1050"/>
                  <a:pt x="2934" y="1050"/>
                  <a:pt x="2934" y="1051"/>
                </a:cubicBezTo>
                <a:cubicBezTo>
                  <a:pt x="2933" y="1052"/>
                  <a:pt x="2931" y="1052"/>
                  <a:pt x="2931" y="1051"/>
                </a:cubicBezTo>
                <a:close/>
                <a:moveTo>
                  <a:pt x="2936" y="1078"/>
                </a:moveTo>
                <a:cubicBezTo>
                  <a:pt x="2937" y="1078"/>
                  <a:pt x="2937" y="1080"/>
                  <a:pt x="2937" y="1081"/>
                </a:cubicBezTo>
                <a:cubicBezTo>
                  <a:pt x="2937" y="1081"/>
                  <a:pt x="2936" y="1083"/>
                  <a:pt x="2935" y="1083"/>
                </a:cubicBezTo>
                <a:cubicBezTo>
                  <a:pt x="2933" y="1083"/>
                  <a:pt x="2933" y="1076"/>
                  <a:pt x="2936" y="1078"/>
                </a:cubicBezTo>
                <a:close/>
                <a:moveTo>
                  <a:pt x="2937" y="1088"/>
                </a:moveTo>
                <a:cubicBezTo>
                  <a:pt x="2939" y="1087"/>
                  <a:pt x="2941" y="1087"/>
                  <a:pt x="2939" y="1088"/>
                </a:cubicBezTo>
                <a:cubicBezTo>
                  <a:pt x="2938" y="1089"/>
                  <a:pt x="2937" y="1088"/>
                  <a:pt x="2937" y="1088"/>
                </a:cubicBezTo>
                <a:close/>
                <a:moveTo>
                  <a:pt x="2936" y="1072"/>
                </a:moveTo>
                <a:cubicBezTo>
                  <a:pt x="2937" y="1073"/>
                  <a:pt x="2938" y="1074"/>
                  <a:pt x="2937" y="1074"/>
                </a:cubicBezTo>
                <a:cubicBezTo>
                  <a:pt x="2936" y="1074"/>
                  <a:pt x="2934" y="1075"/>
                  <a:pt x="2934" y="1075"/>
                </a:cubicBezTo>
                <a:cubicBezTo>
                  <a:pt x="2934" y="1074"/>
                  <a:pt x="2933" y="1074"/>
                  <a:pt x="2933" y="1074"/>
                </a:cubicBezTo>
                <a:cubicBezTo>
                  <a:pt x="2933" y="1071"/>
                  <a:pt x="2934" y="1068"/>
                  <a:pt x="2936" y="1072"/>
                </a:cubicBezTo>
                <a:close/>
                <a:moveTo>
                  <a:pt x="2932" y="1058"/>
                </a:moveTo>
                <a:cubicBezTo>
                  <a:pt x="2933" y="1059"/>
                  <a:pt x="2934" y="1062"/>
                  <a:pt x="2933" y="1063"/>
                </a:cubicBezTo>
                <a:cubicBezTo>
                  <a:pt x="2932" y="1063"/>
                  <a:pt x="2931" y="1063"/>
                  <a:pt x="2931" y="1063"/>
                </a:cubicBezTo>
                <a:cubicBezTo>
                  <a:pt x="2930" y="1063"/>
                  <a:pt x="2929" y="1062"/>
                  <a:pt x="2929" y="1061"/>
                </a:cubicBezTo>
                <a:cubicBezTo>
                  <a:pt x="2928" y="1059"/>
                  <a:pt x="2930" y="1057"/>
                  <a:pt x="2932" y="1058"/>
                </a:cubicBezTo>
                <a:close/>
                <a:moveTo>
                  <a:pt x="2656" y="1048"/>
                </a:moveTo>
                <a:cubicBezTo>
                  <a:pt x="2653" y="1049"/>
                  <a:pt x="2652" y="1049"/>
                  <a:pt x="2652" y="1049"/>
                </a:cubicBezTo>
                <a:cubicBezTo>
                  <a:pt x="2652" y="1049"/>
                  <a:pt x="2651" y="1048"/>
                  <a:pt x="2651" y="1048"/>
                </a:cubicBezTo>
                <a:cubicBezTo>
                  <a:pt x="2652" y="1046"/>
                  <a:pt x="2653" y="1045"/>
                  <a:pt x="2655" y="1045"/>
                </a:cubicBezTo>
                <a:cubicBezTo>
                  <a:pt x="2657" y="1045"/>
                  <a:pt x="2657" y="1045"/>
                  <a:pt x="2657" y="1046"/>
                </a:cubicBezTo>
                <a:cubicBezTo>
                  <a:pt x="2657" y="1047"/>
                  <a:pt x="2659" y="1047"/>
                  <a:pt x="2656" y="1048"/>
                </a:cubicBezTo>
                <a:close/>
                <a:moveTo>
                  <a:pt x="2575" y="995"/>
                </a:moveTo>
                <a:cubicBezTo>
                  <a:pt x="2575" y="995"/>
                  <a:pt x="2575" y="994"/>
                  <a:pt x="2575" y="994"/>
                </a:cubicBezTo>
                <a:cubicBezTo>
                  <a:pt x="2572" y="996"/>
                  <a:pt x="2572" y="994"/>
                  <a:pt x="2570" y="996"/>
                </a:cubicBezTo>
                <a:cubicBezTo>
                  <a:pt x="2569" y="993"/>
                  <a:pt x="2570" y="993"/>
                  <a:pt x="2572" y="991"/>
                </a:cubicBezTo>
                <a:cubicBezTo>
                  <a:pt x="2573" y="989"/>
                  <a:pt x="2573" y="988"/>
                  <a:pt x="2573" y="988"/>
                </a:cubicBezTo>
                <a:cubicBezTo>
                  <a:pt x="2573" y="988"/>
                  <a:pt x="2574" y="988"/>
                  <a:pt x="2575" y="989"/>
                </a:cubicBezTo>
                <a:cubicBezTo>
                  <a:pt x="2576" y="990"/>
                  <a:pt x="2575" y="992"/>
                  <a:pt x="2577" y="990"/>
                </a:cubicBezTo>
                <a:cubicBezTo>
                  <a:pt x="2580" y="989"/>
                  <a:pt x="2580" y="988"/>
                  <a:pt x="2581" y="988"/>
                </a:cubicBezTo>
                <a:cubicBezTo>
                  <a:pt x="2581" y="988"/>
                  <a:pt x="2582" y="988"/>
                  <a:pt x="2582" y="988"/>
                </a:cubicBezTo>
                <a:cubicBezTo>
                  <a:pt x="2583" y="990"/>
                  <a:pt x="2584" y="991"/>
                  <a:pt x="2583" y="993"/>
                </a:cubicBezTo>
                <a:cubicBezTo>
                  <a:pt x="2582" y="994"/>
                  <a:pt x="2580" y="996"/>
                  <a:pt x="2579" y="996"/>
                </a:cubicBezTo>
                <a:cubicBezTo>
                  <a:pt x="2578" y="996"/>
                  <a:pt x="2575" y="995"/>
                  <a:pt x="2575" y="995"/>
                </a:cubicBezTo>
                <a:close/>
                <a:moveTo>
                  <a:pt x="2655" y="1052"/>
                </a:moveTo>
                <a:cubicBezTo>
                  <a:pt x="2655" y="1053"/>
                  <a:pt x="2656" y="1053"/>
                  <a:pt x="2655" y="1054"/>
                </a:cubicBezTo>
                <a:cubicBezTo>
                  <a:pt x="2654" y="1054"/>
                  <a:pt x="2655" y="1055"/>
                  <a:pt x="2654" y="1054"/>
                </a:cubicBezTo>
                <a:cubicBezTo>
                  <a:pt x="2653" y="1054"/>
                  <a:pt x="2653" y="1053"/>
                  <a:pt x="2653" y="1053"/>
                </a:cubicBezTo>
                <a:cubicBezTo>
                  <a:pt x="2653" y="1053"/>
                  <a:pt x="2655" y="1051"/>
                  <a:pt x="2655" y="1052"/>
                </a:cubicBezTo>
                <a:close/>
                <a:moveTo>
                  <a:pt x="2651" y="1307"/>
                </a:moveTo>
                <a:cubicBezTo>
                  <a:pt x="2648" y="1313"/>
                  <a:pt x="2647" y="1311"/>
                  <a:pt x="2647" y="1307"/>
                </a:cubicBezTo>
                <a:cubicBezTo>
                  <a:pt x="2647" y="1307"/>
                  <a:pt x="2647" y="1305"/>
                  <a:pt x="2648" y="1305"/>
                </a:cubicBezTo>
                <a:cubicBezTo>
                  <a:pt x="2649" y="1305"/>
                  <a:pt x="2650" y="1304"/>
                  <a:pt x="2650" y="1304"/>
                </a:cubicBezTo>
                <a:cubicBezTo>
                  <a:pt x="2651" y="1305"/>
                  <a:pt x="2653" y="1303"/>
                  <a:pt x="2651" y="1307"/>
                </a:cubicBezTo>
                <a:close/>
                <a:moveTo>
                  <a:pt x="2645" y="1317"/>
                </a:moveTo>
                <a:cubicBezTo>
                  <a:pt x="2644" y="1318"/>
                  <a:pt x="2643" y="1320"/>
                  <a:pt x="2642" y="1321"/>
                </a:cubicBezTo>
                <a:cubicBezTo>
                  <a:pt x="2640" y="1322"/>
                  <a:pt x="2641" y="1321"/>
                  <a:pt x="2640" y="1324"/>
                </a:cubicBezTo>
                <a:cubicBezTo>
                  <a:pt x="2640" y="1327"/>
                  <a:pt x="2640" y="1329"/>
                  <a:pt x="2639" y="1329"/>
                </a:cubicBezTo>
                <a:cubicBezTo>
                  <a:pt x="2638" y="1330"/>
                  <a:pt x="2639" y="1328"/>
                  <a:pt x="2636" y="1330"/>
                </a:cubicBezTo>
                <a:cubicBezTo>
                  <a:pt x="2633" y="1332"/>
                  <a:pt x="2633" y="1332"/>
                  <a:pt x="2632" y="1333"/>
                </a:cubicBezTo>
                <a:cubicBezTo>
                  <a:pt x="2631" y="1334"/>
                  <a:pt x="2630" y="1336"/>
                  <a:pt x="2629" y="1337"/>
                </a:cubicBezTo>
                <a:cubicBezTo>
                  <a:pt x="2628" y="1337"/>
                  <a:pt x="2627" y="1338"/>
                  <a:pt x="2626" y="1339"/>
                </a:cubicBezTo>
                <a:cubicBezTo>
                  <a:pt x="2625" y="1339"/>
                  <a:pt x="2626" y="1337"/>
                  <a:pt x="2623" y="1339"/>
                </a:cubicBezTo>
                <a:cubicBezTo>
                  <a:pt x="2621" y="1340"/>
                  <a:pt x="2621" y="1342"/>
                  <a:pt x="2620" y="1343"/>
                </a:cubicBezTo>
                <a:cubicBezTo>
                  <a:pt x="2619" y="1344"/>
                  <a:pt x="2621" y="1342"/>
                  <a:pt x="2617" y="1344"/>
                </a:cubicBezTo>
                <a:cubicBezTo>
                  <a:pt x="2614" y="1346"/>
                  <a:pt x="2612" y="1348"/>
                  <a:pt x="2612" y="1348"/>
                </a:cubicBezTo>
                <a:cubicBezTo>
                  <a:pt x="2612" y="1348"/>
                  <a:pt x="2613" y="1349"/>
                  <a:pt x="2611" y="1347"/>
                </a:cubicBezTo>
                <a:cubicBezTo>
                  <a:pt x="2609" y="1345"/>
                  <a:pt x="2610" y="1346"/>
                  <a:pt x="2608" y="1345"/>
                </a:cubicBezTo>
                <a:cubicBezTo>
                  <a:pt x="2607" y="1345"/>
                  <a:pt x="2607" y="1347"/>
                  <a:pt x="2607" y="1344"/>
                </a:cubicBezTo>
                <a:cubicBezTo>
                  <a:pt x="2604" y="1333"/>
                  <a:pt x="2607" y="1337"/>
                  <a:pt x="2609" y="1333"/>
                </a:cubicBezTo>
                <a:cubicBezTo>
                  <a:pt x="2610" y="1331"/>
                  <a:pt x="2610" y="1332"/>
                  <a:pt x="2610" y="1329"/>
                </a:cubicBezTo>
                <a:cubicBezTo>
                  <a:pt x="2610" y="1319"/>
                  <a:pt x="2609" y="1324"/>
                  <a:pt x="2613" y="1317"/>
                </a:cubicBezTo>
                <a:cubicBezTo>
                  <a:pt x="2614" y="1314"/>
                  <a:pt x="2614" y="1314"/>
                  <a:pt x="2614" y="1314"/>
                </a:cubicBezTo>
                <a:cubicBezTo>
                  <a:pt x="2618" y="1309"/>
                  <a:pt x="2616" y="1314"/>
                  <a:pt x="2618" y="1315"/>
                </a:cubicBezTo>
                <a:cubicBezTo>
                  <a:pt x="2618" y="1315"/>
                  <a:pt x="2619" y="1315"/>
                  <a:pt x="2620" y="1315"/>
                </a:cubicBezTo>
                <a:cubicBezTo>
                  <a:pt x="2625" y="1316"/>
                  <a:pt x="2622" y="1319"/>
                  <a:pt x="2626" y="1319"/>
                </a:cubicBezTo>
                <a:cubicBezTo>
                  <a:pt x="2628" y="1319"/>
                  <a:pt x="2630" y="1319"/>
                  <a:pt x="2631" y="1319"/>
                </a:cubicBezTo>
                <a:cubicBezTo>
                  <a:pt x="2632" y="1319"/>
                  <a:pt x="2637" y="1317"/>
                  <a:pt x="2639" y="1317"/>
                </a:cubicBezTo>
                <a:cubicBezTo>
                  <a:pt x="2640" y="1317"/>
                  <a:pt x="2641" y="1316"/>
                  <a:pt x="2642" y="1316"/>
                </a:cubicBezTo>
                <a:cubicBezTo>
                  <a:pt x="2644" y="1316"/>
                  <a:pt x="2645" y="1315"/>
                  <a:pt x="2645" y="1317"/>
                </a:cubicBezTo>
                <a:close/>
                <a:moveTo>
                  <a:pt x="2614" y="1307"/>
                </a:moveTo>
                <a:cubicBezTo>
                  <a:pt x="2612" y="1308"/>
                  <a:pt x="2612" y="1308"/>
                  <a:pt x="2612" y="1308"/>
                </a:cubicBezTo>
                <a:cubicBezTo>
                  <a:pt x="2611" y="1308"/>
                  <a:pt x="2611" y="1308"/>
                  <a:pt x="2611" y="1307"/>
                </a:cubicBezTo>
                <a:cubicBezTo>
                  <a:pt x="2611" y="1307"/>
                  <a:pt x="2614" y="1303"/>
                  <a:pt x="2614" y="1303"/>
                </a:cubicBezTo>
                <a:cubicBezTo>
                  <a:pt x="2614" y="1303"/>
                  <a:pt x="2616" y="1301"/>
                  <a:pt x="2616" y="1303"/>
                </a:cubicBezTo>
                <a:cubicBezTo>
                  <a:pt x="2616" y="1305"/>
                  <a:pt x="2616" y="1306"/>
                  <a:pt x="2614" y="1307"/>
                </a:cubicBezTo>
                <a:close/>
                <a:moveTo>
                  <a:pt x="2566" y="1251"/>
                </a:moveTo>
                <a:cubicBezTo>
                  <a:pt x="2565" y="1251"/>
                  <a:pt x="2565" y="1251"/>
                  <a:pt x="2564" y="1251"/>
                </a:cubicBezTo>
                <a:cubicBezTo>
                  <a:pt x="2564" y="1251"/>
                  <a:pt x="2564" y="1250"/>
                  <a:pt x="2565" y="1250"/>
                </a:cubicBezTo>
                <a:cubicBezTo>
                  <a:pt x="2566" y="1249"/>
                  <a:pt x="2567" y="1248"/>
                  <a:pt x="2568" y="1250"/>
                </a:cubicBezTo>
                <a:cubicBezTo>
                  <a:pt x="2568" y="1250"/>
                  <a:pt x="2566" y="1251"/>
                  <a:pt x="2566" y="1251"/>
                </a:cubicBezTo>
                <a:close/>
                <a:moveTo>
                  <a:pt x="2640" y="1297"/>
                </a:moveTo>
                <a:cubicBezTo>
                  <a:pt x="2639" y="1297"/>
                  <a:pt x="2639" y="1297"/>
                  <a:pt x="2639" y="1297"/>
                </a:cubicBezTo>
                <a:cubicBezTo>
                  <a:pt x="2639" y="1297"/>
                  <a:pt x="2639" y="1297"/>
                  <a:pt x="2639" y="1296"/>
                </a:cubicBezTo>
                <a:cubicBezTo>
                  <a:pt x="2639" y="1296"/>
                  <a:pt x="2641" y="1295"/>
                  <a:pt x="2641" y="1295"/>
                </a:cubicBezTo>
                <a:cubicBezTo>
                  <a:pt x="2641" y="1297"/>
                  <a:pt x="2641" y="1296"/>
                  <a:pt x="2640" y="1297"/>
                </a:cubicBezTo>
                <a:close/>
                <a:moveTo>
                  <a:pt x="2650" y="1313"/>
                </a:moveTo>
                <a:cubicBezTo>
                  <a:pt x="2650" y="1314"/>
                  <a:pt x="2649" y="1314"/>
                  <a:pt x="2648" y="1314"/>
                </a:cubicBezTo>
                <a:cubicBezTo>
                  <a:pt x="2646" y="1314"/>
                  <a:pt x="2646" y="1315"/>
                  <a:pt x="2646" y="1312"/>
                </a:cubicBezTo>
                <a:cubicBezTo>
                  <a:pt x="2649" y="1312"/>
                  <a:pt x="2650" y="1311"/>
                  <a:pt x="2650" y="1313"/>
                </a:cubicBezTo>
                <a:close/>
                <a:moveTo>
                  <a:pt x="2760" y="1158"/>
                </a:moveTo>
                <a:cubicBezTo>
                  <a:pt x="2759" y="1158"/>
                  <a:pt x="2760" y="1162"/>
                  <a:pt x="2760" y="1162"/>
                </a:cubicBezTo>
                <a:cubicBezTo>
                  <a:pt x="2760" y="1162"/>
                  <a:pt x="2759" y="1163"/>
                  <a:pt x="2759" y="1164"/>
                </a:cubicBezTo>
                <a:cubicBezTo>
                  <a:pt x="2758" y="1164"/>
                  <a:pt x="2758" y="1166"/>
                  <a:pt x="2758" y="1166"/>
                </a:cubicBezTo>
                <a:cubicBezTo>
                  <a:pt x="2758" y="1166"/>
                  <a:pt x="2758" y="1168"/>
                  <a:pt x="2759" y="1168"/>
                </a:cubicBezTo>
                <a:cubicBezTo>
                  <a:pt x="2760" y="1168"/>
                  <a:pt x="2760" y="1167"/>
                  <a:pt x="2761" y="1167"/>
                </a:cubicBezTo>
                <a:cubicBezTo>
                  <a:pt x="2759" y="1174"/>
                  <a:pt x="2759" y="1174"/>
                  <a:pt x="2759" y="1174"/>
                </a:cubicBezTo>
                <a:cubicBezTo>
                  <a:pt x="2759" y="1174"/>
                  <a:pt x="2759" y="1177"/>
                  <a:pt x="2759" y="1177"/>
                </a:cubicBezTo>
                <a:cubicBezTo>
                  <a:pt x="2759" y="1181"/>
                  <a:pt x="2754" y="1186"/>
                  <a:pt x="2754" y="1186"/>
                </a:cubicBezTo>
                <a:cubicBezTo>
                  <a:pt x="2754" y="1186"/>
                  <a:pt x="2751" y="1193"/>
                  <a:pt x="2751" y="1194"/>
                </a:cubicBezTo>
                <a:cubicBezTo>
                  <a:pt x="2751" y="1195"/>
                  <a:pt x="2746" y="1201"/>
                  <a:pt x="2744" y="1202"/>
                </a:cubicBezTo>
                <a:cubicBezTo>
                  <a:pt x="2741" y="1204"/>
                  <a:pt x="2742" y="1205"/>
                  <a:pt x="2742" y="1206"/>
                </a:cubicBezTo>
                <a:cubicBezTo>
                  <a:pt x="2742" y="1207"/>
                  <a:pt x="2741" y="1209"/>
                  <a:pt x="2740" y="1212"/>
                </a:cubicBezTo>
                <a:cubicBezTo>
                  <a:pt x="2739" y="1214"/>
                  <a:pt x="2739" y="1215"/>
                  <a:pt x="2735" y="1216"/>
                </a:cubicBezTo>
                <a:cubicBezTo>
                  <a:pt x="2732" y="1218"/>
                  <a:pt x="2733" y="1218"/>
                  <a:pt x="2733" y="1219"/>
                </a:cubicBezTo>
                <a:cubicBezTo>
                  <a:pt x="2732" y="1219"/>
                  <a:pt x="2730" y="1223"/>
                  <a:pt x="2730" y="1223"/>
                </a:cubicBezTo>
                <a:cubicBezTo>
                  <a:pt x="2728" y="1224"/>
                  <a:pt x="2726" y="1226"/>
                  <a:pt x="2724" y="1228"/>
                </a:cubicBezTo>
                <a:cubicBezTo>
                  <a:pt x="2714" y="1234"/>
                  <a:pt x="2714" y="1234"/>
                  <a:pt x="2714" y="1234"/>
                </a:cubicBezTo>
                <a:cubicBezTo>
                  <a:pt x="2713" y="1235"/>
                  <a:pt x="2705" y="1247"/>
                  <a:pt x="2703" y="1247"/>
                </a:cubicBezTo>
                <a:cubicBezTo>
                  <a:pt x="2702" y="1247"/>
                  <a:pt x="2703" y="1247"/>
                  <a:pt x="2703" y="1251"/>
                </a:cubicBezTo>
                <a:cubicBezTo>
                  <a:pt x="2702" y="1254"/>
                  <a:pt x="2701" y="1253"/>
                  <a:pt x="2701" y="1253"/>
                </a:cubicBezTo>
                <a:cubicBezTo>
                  <a:pt x="2700" y="1255"/>
                  <a:pt x="2693" y="1257"/>
                  <a:pt x="2693" y="1260"/>
                </a:cubicBezTo>
                <a:cubicBezTo>
                  <a:pt x="2693" y="1260"/>
                  <a:pt x="2690" y="1265"/>
                  <a:pt x="2687" y="1267"/>
                </a:cubicBezTo>
                <a:cubicBezTo>
                  <a:pt x="2685" y="1269"/>
                  <a:pt x="2684" y="1271"/>
                  <a:pt x="2684" y="1271"/>
                </a:cubicBezTo>
                <a:cubicBezTo>
                  <a:pt x="2684" y="1271"/>
                  <a:pt x="2681" y="1277"/>
                  <a:pt x="2681" y="1277"/>
                </a:cubicBezTo>
                <a:cubicBezTo>
                  <a:pt x="2680" y="1278"/>
                  <a:pt x="2679" y="1279"/>
                  <a:pt x="2677" y="1281"/>
                </a:cubicBezTo>
                <a:cubicBezTo>
                  <a:pt x="2676" y="1283"/>
                  <a:pt x="2670" y="1282"/>
                  <a:pt x="2669" y="1282"/>
                </a:cubicBezTo>
                <a:cubicBezTo>
                  <a:pt x="2668" y="1282"/>
                  <a:pt x="2660" y="1282"/>
                  <a:pt x="2660" y="1282"/>
                </a:cubicBezTo>
                <a:cubicBezTo>
                  <a:pt x="2658" y="1284"/>
                  <a:pt x="2656" y="1286"/>
                  <a:pt x="2653" y="1288"/>
                </a:cubicBezTo>
                <a:cubicBezTo>
                  <a:pt x="2652" y="1289"/>
                  <a:pt x="2650" y="1290"/>
                  <a:pt x="2648" y="1291"/>
                </a:cubicBezTo>
                <a:cubicBezTo>
                  <a:pt x="2648" y="1291"/>
                  <a:pt x="2648" y="1292"/>
                  <a:pt x="2648" y="1293"/>
                </a:cubicBezTo>
                <a:cubicBezTo>
                  <a:pt x="2648" y="1293"/>
                  <a:pt x="2643" y="1293"/>
                  <a:pt x="2642" y="1293"/>
                </a:cubicBezTo>
                <a:cubicBezTo>
                  <a:pt x="2640" y="1293"/>
                  <a:pt x="2640" y="1294"/>
                  <a:pt x="2639" y="1295"/>
                </a:cubicBezTo>
                <a:cubicBezTo>
                  <a:pt x="2638" y="1295"/>
                  <a:pt x="2635" y="1294"/>
                  <a:pt x="2634" y="1293"/>
                </a:cubicBezTo>
                <a:cubicBezTo>
                  <a:pt x="2634" y="1293"/>
                  <a:pt x="2633" y="1291"/>
                  <a:pt x="2634" y="1290"/>
                </a:cubicBezTo>
                <a:cubicBezTo>
                  <a:pt x="2634" y="1289"/>
                  <a:pt x="2634" y="1289"/>
                  <a:pt x="2634" y="1289"/>
                </a:cubicBezTo>
                <a:cubicBezTo>
                  <a:pt x="2634" y="1289"/>
                  <a:pt x="2634" y="1289"/>
                  <a:pt x="2634" y="1289"/>
                </a:cubicBezTo>
                <a:cubicBezTo>
                  <a:pt x="2634" y="1289"/>
                  <a:pt x="2635" y="1289"/>
                  <a:pt x="2635" y="1289"/>
                </a:cubicBezTo>
                <a:cubicBezTo>
                  <a:pt x="2635" y="1288"/>
                  <a:pt x="2635" y="1288"/>
                  <a:pt x="2635" y="1288"/>
                </a:cubicBezTo>
                <a:cubicBezTo>
                  <a:pt x="2636" y="1288"/>
                  <a:pt x="2635" y="1288"/>
                  <a:pt x="2635" y="1289"/>
                </a:cubicBezTo>
                <a:cubicBezTo>
                  <a:pt x="2634" y="1289"/>
                  <a:pt x="2634" y="1289"/>
                  <a:pt x="2634" y="1289"/>
                </a:cubicBezTo>
                <a:cubicBezTo>
                  <a:pt x="2631" y="1291"/>
                  <a:pt x="2634" y="1290"/>
                  <a:pt x="2629" y="1290"/>
                </a:cubicBezTo>
                <a:cubicBezTo>
                  <a:pt x="2626" y="1290"/>
                  <a:pt x="2631" y="1287"/>
                  <a:pt x="2632" y="1286"/>
                </a:cubicBezTo>
                <a:cubicBezTo>
                  <a:pt x="2633" y="1286"/>
                  <a:pt x="2632" y="1286"/>
                  <a:pt x="2632" y="1286"/>
                </a:cubicBezTo>
                <a:cubicBezTo>
                  <a:pt x="2633" y="1285"/>
                  <a:pt x="2633" y="1284"/>
                  <a:pt x="2632" y="1283"/>
                </a:cubicBezTo>
                <a:cubicBezTo>
                  <a:pt x="2632" y="1283"/>
                  <a:pt x="2631" y="1284"/>
                  <a:pt x="2630" y="1284"/>
                </a:cubicBezTo>
                <a:cubicBezTo>
                  <a:pt x="2630" y="1284"/>
                  <a:pt x="2628" y="1286"/>
                  <a:pt x="2628" y="1286"/>
                </a:cubicBezTo>
                <a:cubicBezTo>
                  <a:pt x="2628" y="1286"/>
                  <a:pt x="2628" y="1287"/>
                  <a:pt x="2628" y="1287"/>
                </a:cubicBezTo>
                <a:cubicBezTo>
                  <a:pt x="2628" y="1287"/>
                  <a:pt x="2626" y="1289"/>
                  <a:pt x="2624" y="1289"/>
                </a:cubicBezTo>
                <a:cubicBezTo>
                  <a:pt x="2621" y="1289"/>
                  <a:pt x="2621" y="1290"/>
                  <a:pt x="2617" y="1292"/>
                </a:cubicBezTo>
                <a:cubicBezTo>
                  <a:pt x="2614" y="1294"/>
                  <a:pt x="2614" y="1294"/>
                  <a:pt x="2611" y="1294"/>
                </a:cubicBezTo>
                <a:cubicBezTo>
                  <a:pt x="2611" y="1294"/>
                  <a:pt x="2609" y="1291"/>
                  <a:pt x="2609" y="1289"/>
                </a:cubicBezTo>
                <a:cubicBezTo>
                  <a:pt x="2609" y="1286"/>
                  <a:pt x="2608" y="1289"/>
                  <a:pt x="2608" y="1289"/>
                </a:cubicBezTo>
                <a:cubicBezTo>
                  <a:pt x="2608" y="1289"/>
                  <a:pt x="2606" y="1289"/>
                  <a:pt x="2605" y="1289"/>
                </a:cubicBezTo>
                <a:cubicBezTo>
                  <a:pt x="2603" y="1288"/>
                  <a:pt x="2604" y="1288"/>
                  <a:pt x="2603" y="1288"/>
                </a:cubicBezTo>
                <a:cubicBezTo>
                  <a:pt x="2601" y="1287"/>
                  <a:pt x="2598" y="1290"/>
                  <a:pt x="2597" y="1288"/>
                </a:cubicBezTo>
                <a:cubicBezTo>
                  <a:pt x="2596" y="1287"/>
                  <a:pt x="2599" y="1285"/>
                  <a:pt x="2591" y="1285"/>
                </a:cubicBezTo>
                <a:cubicBezTo>
                  <a:pt x="2591" y="1285"/>
                  <a:pt x="2591" y="1284"/>
                  <a:pt x="2591" y="1283"/>
                </a:cubicBezTo>
                <a:cubicBezTo>
                  <a:pt x="2591" y="1281"/>
                  <a:pt x="2591" y="1281"/>
                  <a:pt x="2591" y="1281"/>
                </a:cubicBezTo>
                <a:cubicBezTo>
                  <a:pt x="2591" y="1281"/>
                  <a:pt x="2589" y="1277"/>
                  <a:pt x="2589" y="1277"/>
                </a:cubicBezTo>
                <a:cubicBezTo>
                  <a:pt x="2588" y="1276"/>
                  <a:pt x="2590" y="1275"/>
                  <a:pt x="2590" y="1275"/>
                </a:cubicBezTo>
                <a:cubicBezTo>
                  <a:pt x="2590" y="1275"/>
                  <a:pt x="2590" y="1274"/>
                  <a:pt x="2590" y="1273"/>
                </a:cubicBezTo>
                <a:cubicBezTo>
                  <a:pt x="2591" y="1273"/>
                  <a:pt x="2592" y="1272"/>
                  <a:pt x="2592" y="1272"/>
                </a:cubicBezTo>
                <a:cubicBezTo>
                  <a:pt x="2593" y="1266"/>
                  <a:pt x="2594" y="1264"/>
                  <a:pt x="2592" y="1259"/>
                </a:cubicBezTo>
                <a:cubicBezTo>
                  <a:pt x="2594" y="1258"/>
                  <a:pt x="2594" y="1258"/>
                  <a:pt x="2594" y="1255"/>
                </a:cubicBezTo>
                <a:cubicBezTo>
                  <a:pt x="2594" y="1254"/>
                  <a:pt x="2594" y="1255"/>
                  <a:pt x="2593" y="1255"/>
                </a:cubicBezTo>
                <a:cubicBezTo>
                  <a:pt x="2592" y="1255"/>
                  <a:pt x="2592" y="1257"/>
                  <a:pt x="2591" y="1258"/>
                </a:cubicBezTo>
                <a:cubicBezTo>
                  <a:pt x="2591" y="1259"/>
                  <a:pt x="2590" y="1257"/>
                  <a:pt x="2589" y="1257"/>
                </a:cubicBezTo>
                <a:cubicBezTo>
                  <a:pt x="2588" y="1257"/>
                  <a:pt x="2586" y="1258"/>
                  <a:pt x="2583" y="1259"/>
                </a:cubicBezTo>
                <a:cubicBezTo>
                  <a:pt x="2580" y="1260"/>
                  <a:pt x="2581" y="1258"/>
                  <a:pt x="2582" y="1257"/>
                </a:cubicBezTo>
                <a:cubicBezTo>
                  <a:pt x="2582" y="1257"/>
                  <a:pt x="2585" y="1256"/>
                  <a:pt x="2586" y="1255"/>
                </a:cubicBezTo>
                <a:cubicBezTo>
                  <a:pt x="2587" y="1254"/>
                  <a:pt x="2589" y="1251"/>
                  <a:pt x="2590" y="1250"/>
                </a:cubicBezTo>
                <a:cubicBezTo>
                  <a:pt x="2589" y="1248"/>
                  <a:pt x="2589" y="1244"/>
                  <a:pt x="2589" y="1242"/>
                </a:cubicBezTo>
                <a:cubicBezTo>
                  <a:pt x="2588" y="1244"/>
                  <a:pt x="2586" y="1245"/>
                  <a:pt x="2585" y="1247"/>
                </a:cubicBezTo>
                <a:cubicBezTo>
                  <a:pt x="2585" y="1247"/>
                  <a:pt x="2584" y="1249"/>
                  <a:pt x="2582" y="1252"/>
                </a:cubicBezTo>
                <a:cubicBezTo>
                  <a:pt x="2580" y="1255"/>
                  <a:pt x="2580" y="1253"/>
                  <a:pt x="2580" y="1253"/>
                </a:cubicBezTo>
                <a:cubicBezTo>
                  <a:pt x="2580" y="1253"/>
                  <a:pt x="2579" y="1253"/>
                  <a:pt x="2578" y="1253"/>
                </a:cubicBezTo>
                <a:cubicBezTo>
                  <a:pt x="2577" y="1253"/>
                  <a:pt x="2576" y="1254"/>
                  <a:pt x="2575" y="1254"/>
                </a:cubicBezTo>
                <a:cubicBezTo>
                  <a:pt x="2575" y="1254"/>
                  <a:pt x="2574" y="1255"/>
                  <a:pt x="2574" y="1255"/>
                </a:cubicBezTo>
                <a:cubicBezTo>
                  <a:pt x="2573" y="1255"/>
                  <a:pt x="2573" y="1255"/>
                  <a:pt x="2572" y="1255"/>
                </a:cubicBezTo>
                <a:cubicBezTo>
                  <a:pt x="2572" y="1255"/>
                  <a:pt x="2573" y="1253"/>
                  <a:pt x="2573" y="1252"/>
                </a:cubicBezTo>
                <a:cubicBezTo>
                  <a:pt x="2575" y="1250"/>
                  <a:pt x="2578" y="1250"/>
                  <a:pt x="2579" y="1250"/>
                </a:cubicBezTo>
                <a:cubicBezTo>
                  <a:pt x="2579" y="1249"/>
                  <a:pt x="2580" y="1248"/>
                  <a:pt x="2580" y="1248"/>
                </a:cubicBezTo>
                <a:cubicBezTo>
                  <a:pt x="2581" y="1248"/>
                  <a:pt x="2583" y="1241"/>
                  <a:pt x="2584" y="1239"/>
                </a:cubicBezTo>
                <a:cubicBezTo>
                  <a:pt x="2586" y="1238"/>
                  <a:pt x="2588" y="1237"/>
                  <a:pt x="2589" y="1236"/>
                </a:cubicBezTo>
                <a:cubicBezTo>
                  <a:pt x="2590" y="1235"/>
                  <a:pt x="2589" y="1233"/>
                  <a:pt x="2590" y="1232"/>
                </a:cubicBezTo>
                <a:cubicBezTo>
                  <a:pt x="2590" y="1231"/>
                  <a:pt x="2592" y="1231"/>
                  <a:pt x="2592" y="1230"/>
                </a:cubicBezTo>
                <a:cubicBezTo>
                  <a:pt x="2593" y="1228"/>
                  <a:pt x="2596" y="1224"/>
                  <a:pt x="2594" y="1223"/>
                </a:cubicBezTo>
                <a:cubicBezTo>
                  <a:pt x="2592" y="1222"/>
                  <a:pt x="2592" y="1227"/>
                  <a:pt x="2590" y="1229"/>
                </a:cubicBezTo>
                <a:cubicBezTo>
                  <a:pt x="2590" y="1230"/>
                  <a:pt x="2588" y="1229"/>
                  <a:pt x="2588" y="1230"/>
                </a:cubicBezTo>
                <a:cubicBezTo>
                  <a:pt x="2583" y="1234"/>
                  <a:pt x="2582" y="1238"/>
                  <a:pt x="2582" y="1238"/>
                </a:cubicBezTo>
                <a:cubicBezTo>
                  <a:pt x="2582" y="1238"/>
                  <a:pt x="2577" y="1240"/>
                  <a:pt x="2575" y="1240"/>
                </a:cubicBezTo>
                <a:cubicBezTo>
                  <a:pt x="2573" y="1240"/>
                  <a:pt x="2570" y="1246"/>
                  <a:pt x="2570" y="1246"/>
                </a:cubicBezTo>
                <a:cubicBezTo>
                  <a:pt x="2570" y="1246"/>
                  <a:pt x="2567" y="1248"/>
                  <a:pt x="2564" y="1249"/>
                </a:cubicBezTo>
                <a:cubicBezTo>
                  <a:pt x="2562" y="1250"/>
                  <a:pt x="2561" y="1249"/>
                  <a:pt x="2561" y="1249"/>
                </a:cubicBezTo>
                <a:cubicBezTo>
                  <a:pt x="2561" y="1249"/>
                  <a:pt x="2561" y="1247"/>
                  <a:pt x="2561" y="1246"/>
                </a:cubicBezTo>
                <a:cubicBezTo>
                  <a:pt x="2561" y="1244"/>
                  <a:pt x="2563" y="1245"/>
                  <a:pt x="2563" y="1243"/>
                </a:cubicBezTo>
                <a:cubicBezTo>
                  <a:pt x="2564" y="1242"/>
                  <a:pt x="2562" y="1239"/>
                  <a:pt x="2562" y="1239"/>
                </a:cubicBezTo>
                <a:cubicBezTo>
                  <a:pt x="2561" y="1237"/>
                  <a:pt x="2562" y="1234"/>
                  <a:pt x="2561" y="1232"/>
                </a:cubicBezTo>
                <a:cubicBezTo>
                  <a:pt x="2560" y="1231"/>
                  <a:pt x="2558" y="1231"/>
                  <a:pt x="2558" y="1230"/>
                </a:cubicBezTo>
                <a:cubicBezTo>
                  <a:pt x="2557" y="1229"/>
                  <a:pt x="2557" y="1228"/>
                  <a:pt x="2558" y="1227"/>
                </a:cubicBezTo>
                <a:cubicBezTo>
                  <a:pt x="2558" y="1227"/>
                  <a:pt x="2560" y="1227"/>
                  <a:pt x="2560" y="1226"/>
                </a:cubicBezTo>
                <a:cubicBezTo>
                  <a:pt x="2560" y="1225"/>
                  <a:pt x="2558" y="1224"/>
                  <a:pt x="2558" y="1223"/>
                </a:cubicBezTo>
                <a:cubicBezTo>
                  <a:pt x="2558" y="1222"/>
                  <a:pt x="2559" y="1221"/>
                  <a:pt x="2558" y="1220"/>
                </a:cubicBezTo>
                <a:cubicBezTo>
                  <a:pt x="2556" y="1219"/>
                  <a:pt x="2554" y="1218"/>
                  <a:pt x="2551" y="1217"/>
                </a:cubicBezTo>
                <a:cubicBezTo>
                  <a:pt x="2549" y="1217"/>
                  <a:pt x="2547" y="1217"/>
                  <a:pt x="2545" y="1217"/>
                </a:cubicBezTo>
                <a:cubicBezTo>
                  <a:pt x="2545" y="1217"/>
                  <a:pt x="2541" y="1216"/>
                  <a:pt x="2539" y="1215"/>
                </a:cubicBezTo>
                <a:cubicBezTo>
                  <a:pt x="2536" y="1214"/>
                  <a:pt x="2538" y="1215"/>
                  <a:pt x="2537" y="1214"/>
                </a:cubicBezTo>
                <a:cubicBezTo>
                  <a:pt x="2535" y="1214"/>
                  <a:pt x="2535" y="1214"/>
                  <a:pt x="2534" y="1214"/>
                </a:cubicBezTo>
                <a:cubicBezTo>
                  <a:pt x="2532" y="1214"/>
                  <a:pt x="2530" y="1214"/>
                  <a:pt x="2528" y="1213"/>
                </a:cubicBezTo>
                <a:cubicBezTo>
                  <a:pt x="2525" y="1213"/>
                  <a:pt x="2524" y="1213"/>
                  <a:pt x="2520" y="1213"/>
                </a:cubicBezTo>
                <a:cubicBezTo>
                  <a:pt x="2516" y="1213"/>
                  <a:pt x="2516" y="1215"/>
                  <a:pt x="2514" y="1215"/>
                </a:cubicBezTo>
                <a:cubicBezTo>
                  <a:pt x="2512" y="1216"/>
                  <a:pt x="2510" y="1218"/>
                  <a:pt x="2507" y="1219"/>
                </a:cubicBezTo>
                <a:cubicBezTo>
                  <a:pt x="2505" y="1219"/>
                  <a:pt x="2504" y="1220"/>
                  <a:pt x="2499" y="1222"/>
                </a:cubicBezTo>
                <a:cubicBezTo>
                  <a:pt x="2495" y="1223"/>
                  <a:pt x="2493" y="1222"/>
                  <a:pt x="2492" y="1222"/>
                </a:cubicBezTo>
                <a:cubicBezTo>
                  <a:pt x="2491" y="1222"/>
                  <a:pt x="2484" y="1221"/>
                  <a:pt x="2484" y="1221"/>
                </a:cubicBezTo>
                <a:cubicBezTo>
                  <a:pt x="2483" y="1222"/>
                  <a:pt x="2482" y="1222"/>
                  <a:pt x="2481" y="1223"/>
                </a:cubicBezTo>
                <a:cubicBezTo>
                  <a:pt x="2481" y="1223"/>
                  <a:pt x="2467" y="1228"/>
                  <a:pt x="2467" y="1228"/>
                </a:cubicBezTo>
                <a:cubicBezTo>
                  <a:pt x="2466" y="1227"/>
                  <a:pt x="2463" y="1231"/>
                  <a:pt x="2463" y="1231"/>
                </a:cubicBezTo>
                <a:cubicBezTo>
                  <a:pt x="2463" y="1231"/>
                  <a:pt x="2457" y="1237"/>
                  <a:pt x="2456" y="1238"/>
                </a:cubicBezTo>
                <a:cubicBezTo>
                  <a:pt x="2454" y="1240"/>
                  <a:pt x="2454" y="1239"/>
                  <a:pt x="2454" y="1239"/>
                </a:cubicBezTo>
                <a:cubicBezTo>
                  <a:pt x="2454" y="1239"/>
                  <a:pt x="2446" y="1239"/>
                  <a:pt x="2445" y="1239"/>
                </a:cubicBezTo>
                <a:cubicBezTo>
                  <a:pt x="2444" y="1239"/>
                  <a:pt x="2443" y="1240"/>
                  <a:pt x="2443" y="1240"/>
                </a:cubicBezTo>
                <a:cubicBezTo>
                  <a:pt x="2443" y="1240"/>
                  <a:pt x="2437" y="1239"/>
                  <a:pt x="2437" y="1239"/>
                </a:cubicBezTo>
                <a:cubicBezTo>
                  <a:pt x="2436" y="1239"/>
                  <a:pt x="2426" y="1238"/>
                  <a:pt x="2425" y="1238"/>
                </a:cubicBezTo>
                <a:cubicBezTo>
                  <a:pt x="2420" y="1238"/>
                  <a:pt x="2421" y="1237"/>
                  <a:pt x="2418" y="1243"/>
                </a:cubicBezTo>
                <a:cubicBezTo>
                  <a:pt x="2415" y="1243"/>
                  <a:pt x="2413" y="1243"/>
                  <a:pt x="2411" y="1244"/>
                </a:cubicBezTo>
                <a:cubicBezTo>
                  <a:pt x="2408" y="1245"/>
                  <a:pt x="2406" y="1247"/>
                  <a:pt x="2404" y="1249"/>
                </a:cubicBezTo>
                <a:cubicBezTo>
                  <a:pt x="2404" y="1249"/>
                  <a:pt x="2398" y="1251"/>
                  <a:pt x="2397" y="1251"/>
                </a:cubicBezTo>
                <a:cubicBezTo>
                  <a:pt x="2396" y="1251"/>
                  <a:pt x="2395" y="1252"/>
                  <a:pt x="2393" y="1252"/>
                </a:cubicBezTo>
                <a:cubicBezTo>
                  <a:pt x="2391" y="1252"/>
                  <a:pt x="2392" y="1252"/>
                  <a:pt x="2391" y="1252"/>
                </a:cubicBezTo>
                <a:cubicBezTo>
                  <a:pt x="2391" y="1252"/>
                  <a:pt x="2388" y="1252"/>
                  <a:pt x="2385" y="1252"/>
                </a:cubicBezTo>
                <a:cubicBezTo>
                  <a:pt x="2383" y="1251"/>
                  <a:pt x="2383" y="1250"/>
                  <a:pt x="2382" y="1250"/>
                </a:cubicBezTo>
                <a:cubicBezTo>
                  <a:pt x="2381" y="1249"/>
                  <a:pt x="2381" y="1248"/>
                  <a:pt x="2380" y="1247"/>
                </a:cubicBezTo>
                <a:cubicBezTo>
                  <a:pt x="2378" y="1246"/>
                  <a:pt x="2379" y="1244"/>
                  <a:pt x="2377" y="1244"/>
                </a:cubicBezTo>
                <a:cubicBezTo>
                  <a:pt x="2374" y="1244"/>
                  <a:pt x="2373" y="1245"/>
                  <a:pt x="2375" y="1241"/>
                </a:cubicBezTo>
                <a:cubicBezTo>
                  <a:pt x="2375" y="1238"/>
                  <a:pt x="2375" y="1236"/>
                  <a:pt x="2376" y="1234"/>
                </a:cubicBezTo>
                <a:cubicBezTo>
                  <a:pt x="2377" y="1233"/>
                  <a:pt x="2378" y="1235"/>
                  <a:pt x="2378" y="1235"/>
                </a:cubicBezTo>
                <a:cubicBezTo>
                  <a:pt x="2380" y="1236"/>
                  <a:pt x="2383" y="1233"/>
                  <a:pt x="2385" y="1232"/>
                </a:cubicBezTo>
                <a:cubicBezTo>
                  <a:pt x="2385" y="1232"/>
                  <a:pt x="2385" y="1228"/>
                  <a:pt x="2385" y="1227"/>
                </a:cubicBezTo>
                <a:cubicBezTo>
                  <a:pt x="2385" y="1225"/>
                  <a:pt x="2388" y="1223"/>
                  <a:pt x="2389" y="1222"/>
                </a:cubicBezTo>
                <a:cubicBezTo>
                  <a:pt x="2390" y="1220"/>
                  <a:pt x="2389" y="1220"/>
                  <a:pt x="2390" y="1217"/>
                </a:cubicBezTo>
                <a:cubicBezTo>
                  <a:pt x="2391" y="1215"/>
                  <a:pt x="2391" y="1212"/>
                  <a:pt x="2391" y="1212"/>
                </a:cubicBezTo>
                <a:cubicBezTo>
                  <a:pt x="2390" y="1210"/>
                  <a:pt x="2387" y="1198"/>
                  <a:pt x="2387" y="1197"/>
                </a:cubicBezTo>
                <a:cubicBezTo>
                  <a:pt x="2387" y="1197"/>
                  <a:pt x="2388" y="1195"/>
                  <a:pt x="2390" y="1193"/>
                </a:cubicBezTo>
                <a:cubicBezTo>
                  <a:pt x="2391" y="1191"/>
                  <a:pt x="2390" y="1191"/>
                  <a:pt x="2391" y="1190"/>
                </a:cubicBezTo>
                <a:cubicBezTo>
                  <a:pt x="2392" y="1187"/>
                  <a:pt x="2391" y="1186"/>
                  <a:pt x="2389" y="1184"/>
                </a:cubicBezTo>
                <a:cubicBezTo>
                  <a:pt x="2388" y="1183"/>
                  <a:pt x="2389" y="1179"/>
                  <a:pt x="2389" y="1178"/>
                </a:cubicBezTo>
                <a:cubicBezTo>
                  <a:pt x="2388" y="1177"/>
                  <a:pt x="2386" y="1172"/>
                  <a:pt x="2386" y="1170"/>
                </a:cubicBezTo>
                <a:cubicBezTo>
                  <a:pt x="2387" y="1170"/>
                  <a:pt x="2387" y="1169"/>
                  <a:pt x="2387" y="1168"/>
                </a:cubicBezTo>
                <a:cubicBezTo>
                  <a:pt x="2388" y="1166"/>
                  <a:pt x="2385" y="1163"/>
                  <a:pt x="2385" y="1161"/>
                </a:cubicBezTo>
                <a:cubicBezTo>
                  <a:pt x="2385" y="1161"/>
                  <a:pt x="2384" y="1159"/>
                  <a:pt x="2385" y="1159"/>
                </a:cubicBezTo>
                <a:cubicBezTo>
                  <a:pt x="2386" y="1158"/>
                  <a:pt x="2386" y="1155"/>
                  <a:pt x="2386" y="1155"/>
                </a:cubicBezTo>
                <a:cubicBezTo>
                  <a:pt x="2386" y="1154"/>
                  <a:pt x="2384" y="1152"/>
                  <a:pt x="2384" y="1151"/>
                </a:cubicBezTo>
                <a:cubicBezTo>
                  <a:pt x="2384" y="1150"/>
                  <a:pt x="2385" y="1146"/>
                  <a:pt x="2386" y="1145"/>
                </a:cubicBezTo>
                <a:cubicBezTo>
                  <a:pt x="2387" y="1143"/>
                  <a:pt x="2389" y="1148"/>
                  <a:pt x="2389" y="1148"/>
                </a:cubicBezTo>
                <a:cubicBezTo>
                  <a:pt x="2389" y="1148"/>
                  <a:pt x="2389" y="1156"/>
                  <a:pt x="2390" y="1155"/>
                </a:cubicBezTo>
                <a:cubicBezTo>
                  <a:pt x="2392" y="1155"/>
                  <a:pt x="2391" y="1151"/>
                  <a:pt x="2391" y="1151"/>
                </a:cubicBezTo>
                <a:cubicBezTo>
                  <a:pt x="2391" y="1151"/>
                  <a:pt x="2393" y="1148"/>
                  <a:pt x="2393" y="1147"/>
                </a:cubicBezTo>
                <a:cubicBezTo>
                  <a:pt x="2393" y="1147"/>
                  <a:pt x="2390" y="1141"/>
                  <a:pt x="2390" y="1141"/>
                </a:cubicBezTo>
                <a:cubicBezTo>
                  <a:pt x="2389" y="1139"/>
                  <a:pt x="2388" y="1137"/>
                  <a:pt x="2388" y="1134"/>
                </a:cubicBezTo>
                <a:cubicBezTo>
                  <a:pt x="2388" y="1134"/>
                  <a:pt x="2388" y="1129"/>
                  <a:pt x="2390" y="1127"/>
                </a:cubicBezTo>
                <a:cubicBezTo>
                  <a:pt x="2391" y="1126"/>
                  <a:pt x="2391" y="1126"/>
                  <a:pt x="2393" y="1125"/>
                </a:cubicBezTo>
                <a:cubicBezTo>
                  <a:pt x="2394" y="1124"/>
                  <a:pt x="2394" y="1122"/>
                  <a:pt x="2394" y="1120"/>
                </a:cubicBezTo>
                <a:cubicBezTo>
                  <a:pt x="2395" y="1119"/>
                  <a:pt x="2394" y="1115"/>
                  <a:pt x="2394" y="1115"/>
                </a:cubicBezTo>
                <a:cubicBezTo>
                  <a:pt x="2394" y="1115"/>
                  <a:pt x="2394" y="1111"/>
                  <a:pt x="2394" y="1110"/>
                </a:cubicBezTo>
                <a:cubicBezTo>
                  <a:pt x="2395" y="1110"/>
                  <a:pt x="2399" y="1105"/>
                  <a:pt x="2399" y="1105"/>
                </a:cubicBezTo>
                <a:cubicBezTo>
                  <a:pt x="2399" y="1105"/>
                  <a:pt x="2399" y="1109"/>
                  <a:pt x="2399" y="1110"/>
                </a:cubicBezTo>
                <a:cubicBezTo>
                  <a:pt x="2399" y="1111"/>
                  <a:pt x="2400" y="1112"/>
                  <a:pt x="2400" y="1112"/>
                </a:cubicBezTo>
                <a:cubicBezTo>
                  <a:pt x="2400" y="1112"/>
                  <a:pt x="2401" y="1112"/>
                  <a:pt x="2401" y="1112"/>
                </a:cubicBezTo>
                <a:cubicBezTo>
                  <a:pt x="2401" y="1112"/>
                  <a:pt x="2403" y="1107"/>
                  <a:pt x="2404" y="1106"/>
                </a:cubicBezTo>
                <a:cubicBezTo>
                  <a:pt x="2405" y="1105"/>
                  <a:pt x="2408" y="1104"/>
                  <a:pt x="2409" y="1103"/>
                </a:cubicBezTo>
                <a:cubicBezTo>
                  <a:pt x="2413" y="1101"/>
                  <a:pt x="2414" y="1099"/>
                  <a:pt x="2418" y="1098"/>
                </a:cubicBezTo>
                <a:cubicBezTo>
                  <a:pt x="2419" y="1098"/>
                  <a:pt x="2421" y="1096"/>
                  <a:pt x="2422" y="1095"/>
                </a:cubicBezTo>
                <a:cubicBezTo>
                  <a:pt x="2422" y="1094"/>
                  <a:pt x="2426" y="1093"/>
                  <a:pt x="2426" y="1092"/>
                </a:cubicBezTo>
                <a:cubicBezTo>
                  <a:pt x="2427" y="1090"/>
                  <a:pt x="2428" y="1091"/>
                  <a:pt x="2429" y="1091"/>
                </a:cubicBezTo>
                <a:cubicBezTo>
                  <a:pt x="2430" y="1091"/>
                  <a:pt x="2432" y="1093"/>
                  <a:pt x="2432" y="1093"/>
                </a:cubicBezTo>
                <a:cubicBezTo>
                  <a:pt x="2435" y="1092"/>
                  <a:pt x="2438" y="1091"/>
                  <a:pt x="2441" y="1090"/>
                </a:cubicBezTo>
                <a:cubicBezTo>
                  <a:pt x="2442" y="1087"/>
                  <a:pt x="2444" y="1088"/>
                  <a:pt x="2448" y="1088"/>
                </a:cubicBezTo>
                <a:cubicBezTo>
                  <a:pt x="2450" y="1088"/>
                  <a:pt x="2450" y="1086"/>
                  <a:pt x="2452" y="1084"/>
                </a:cubicBezTo>
                <a:cubicBezTo>
                  <a:pt x="2453" y="1083"/>
                  <a:pt x="2452" y="1084"/>
                  <a:pt x="2453" y="1084"/>
                </a:cubicBezTo>
                <a:cubicBezTo>
                  <a:pt x="2457" y="1084"/>
                  <a:pt x="2456" y="1085"/>
                  <a:pt x="2462" y="1084"/>
                </a:cubicBezTo>
                <a:cubicBezTo>
                  <a:pt x="2463" y="1084"/>
                  <a:pt x="2465" y="1082"/>
                  <a:pt x="2467" y="1081"/>
                </a:cubicBezTo>
                <a:cubicBezTo>
                  <a:pt x="2470" y="1079"/>
                  <a:pt x="2469" y="1080"/>
                  <a:pt x="2475" y="1076"/>
                </a:cubicBezTo>
                <a:cubicBezTo>
                  <a:pt x="2481" y="1072"/>
                  <a:pt x="2477" y="1073"/>
                  <a:pt x="2477" y="1071"/>
                </a:cubicBezTo>
                <a:cubicBezTo>
                  <a:pt x="2478" y="1069"/>
                  <a:pt x="2478" y="1069"/>
                  <a:pt x="2479" y="1068"/>
                </a:cubicBezTo>
                <a:cubicBezTo>
                  <a:pt x="2480" y="1066"/>
                  <a:pt x="2484" y="1066"/>
                  <a:pt x="2484" y="1064"/>
                </a:cubicBezTo>
                <a:cubicBezTo>
                  <a:pt x="2485" y="1063"/>
                  <a:pt x="2485" y="1063"/>
                  <a:pt x="2485" y="1062"/>
                </a:cubicBezTo>
                <a:cubicBezTo>
                  <a:pt x="2485" y="1061"/>
                  <a:pt x="2483" y="1061"/>
                  <a:pt x="2485" y="1056"/>
                </a:cubicBezTo>
                <a:cubicBezTo>
                  <a:pt x="2485" y="1055"/>
                  <a:pt x="2485" y="1054"/>
                  <a:pt x="2485" y="1054"/>
                </a:cubicBezTo>
                <a:cubicBezTo>
                  <a:pt x="2486" y="1053"/>
                  <a:pt x="2485" y="1053"/>
                  <a:pt x="2487" y="1053"/>
                </a:cubicBezTo>
                <a:cubicBezTo>
                  <a:pt x="2488" y="1052"/>
                  <a:pt x="2488" y="1051"/>
                  <a:pt x="2488" y="1051"/>
                </a:cubicBezTo>
                <a:cubicBezTo>
                  <a:pt x="2491" y="1049"/>
                  <a:pt x="2491" y="1049"/>
                  <a:pt x="2491" y="1049"/>
                </a:cubicBezTo>
                <a:cubicBezTo>
                  <a:pt x="2492" y="1048"/>
                  <a:pt x="2493" y="1047"/>
                  <a:pt x="2493" y="1047"/>
                </a:cubicBezTo>
                <a:cubicBezTo>
                  <a:pt x="2494" y="1046"/>
                  <a:pt x="2494" y="1045"/>
                  <a:pt x="2495" y="1045"/>
                </a:cubicBezTo>
                <a:cubicBezTo>
                  <a:pt x="2495" y="1048"/>
                  <a:pt x="2495" y="1048"/>
                  <a:pt x="2496" y="1050"/>
                </a:cubicBezTo>
                <a:cubicBezTo>
                  <a:pt x="2496" y="1056"/>
                  <a:pt x="2495" y="1053"/>
                  <a:pt x="2498" y="1057"/>
                </a:cubicBezTo>
                <a:cubicBezTo>
                  <a:pt x="2499" y="1058"/>
                  <a:pt x="2498" y="1057"/>
                  <a:pt x="2498" y="1056"/>
                </a:cubicBezTo>
                <a:cubicBezTo>
                  <a:pt x="2499" y="1056"/>
                  <a:pt x="2499" y="1052"/>
                  <a:pt x="2500" y="1052"/>
                </a:cubicBezTo>
                <a:cubicBezTo>
                  <a:pt x="2500" y="1052"/>
                  <a:pt x="2500" y="1052"/>
                  <a:pt x="2501" y="1052"/>
                </a:cubicBezTo>
                <a:cubicBezTo>
                  <a:pt x="2503" y="1051"/>
                  <a:pt x="2502" y="1052"/>
                  <a:pt x="2502" y="1050"/>
                </a:cubicBezTo>
                <a:cubicBezTo>
                  <a:pt x="2502" y="1049"/>
                  <a:pt x="2502" y="1049"/>
                  <a:pt x="2501" y="1049"/>
                </a:cubicBezTo>
                <a:cubicBezTo>
                  <a:pt x="2500" y="1049"/>
                  <a:pt x="2499" y="1046"/>
                  <a:pt x="2499" y="1045"/>
                </a:cubicBezTo>
                <a:cubicBezTo>
                  <a:pt x="2499" y="1045"/>
                  <a:pt x="2500" y="1043"/>
                  <a:pt x="2500" y="1043"/>
                </a:cubicBezTo>
                <a:cubicBezTo>
                  <a:pt x="2501" y="1042"/>
                  <a:pt x="2502" y="1044"/>
                  <a:pt x="2502" y="1044"/>
                </a:cubicBezTo>
                <a:cubicBezTo>
                  <a:pt x="2502" y="1044"/>
                  <a:pt x="2502" y="1044"/>
                  <a:pt x="2504" y="1044"/>
                </a:cubicBezTo>
                <a:cubicBezTo>
                  <a:pt x="2506" y="1044"/>
                  <a:pt x="2504" y="1045"/>
                  <a:pt x="2507" y="1045"/>
                </a:cubicBezTo>
                <a:cubicBezTo>
                  <a:pt x="2510" y="1045"/>
                  <a:pt x="2507" y="1043"/>
                  <a:pt x="2510" y="1043"/>
                </a:cubicBezTo>
                <a:cubicBezTo>
                  <a:pt x="2511" y="1043"/>
                  <a:pt x="2511" y="1042"/>
                  <a:pt x="2510" y="1040"/>
                </a:cubicBezTo>
                <a:cubicBezTo>
                  <a:pt x="2508" y="1039"/>
                  <a:pt x="2511" y="1035"/>
                  <a:pt x="2511" y="1034"/>
                </a:cubicBezTo>
                <a:cubicBezTo>
                  <a:pt x="2511" y="1034"/>
                  <a:pt x="2513" y="1034"/>
                  <a:pt x="2514" y="1035"/>
                </a:cubicBezTo>
                <a:cubicBezTo>
                  <a:pt x="2515" y="1035"/>
                  <a:pt x="2516" y="1035"/>
                  <a:pt x="2515" y="1034"/>
                </a:cubicBezTo>
                <a:cubicBezTo>
                  <a:pt x="2515" y="1032"/>
                  <a:pt x="2517" y="1029"/>
                  <a:pt x="2517" y="1032"/>
                </a:cubicBezTo>
                <a:cubicBezTo>
                  <a:pt x="2518" y="1031"/>
                  <a:pt x="2518" y="1031"/>
                  <a:pt x="2519" y="1030"/>
                </a:cubicBezTo>
                <a:cubicBezTo>
                  <a:pt x="2517" y="1028"/>
                  <a:pt x="2518" y="1029"/>
                  <a:pt x="2518" y="1026"/>
                </a:cubicBezTo>
                <a:cubicBezTo>
                  <a:pt x="2518" y="1025"/>
                  <a:pt x="2520" y="1025"/>
                  <a:pt x="2520" y="1025"/>
                </a:cubicBezTo>
                <a:cubicBezTo>
                  <a:pt x="2520" y="1025"/>
                  <a:pt x="2521" y="1025"/>
                  <a:pt x="2521" y="1024"/>
                </a:cubicBezTo>
                <a:cubicBezTo>
                  <a:pt x="2522" y="1024"/>
                  <a:pt x="2522" y="1024"/>
                  <a:pt x="2523" y="1024"/>
                </a:cubicBezTo>
                <a:cubicBezTo>
                  <a:pt x="2523" y="1024"/>
                  <a:pt x="2523" y="1021"/>
                  <a:pt x="2523" y="1021"/>
                </a:cubicBezTo>
                <a:cubicBezTo>
                  <a:pt x="2524" y="1021"/>
                  <a:pt x="2524" y="1022"/>
                  <a:pt x="2524" y="1023"/>
                </a:cubicBezTo>
                <a:cubicBezTo>
                  <a:pt x="2524" y="1024"/>
                  <a:pt x="2525" y="1024"/>
                  <a:pt x="2525" y="1024"/>
                </a:cubicBezTo>
                <a:cubicBezTo>
                  <a:pt x="2526" y="1025"/>
                  <a:pt x="2526" y="1024"/>
                  <a:pt x="2526" y="1024"/>
                </a:cubicBezTo>
                <a:cubicBezTo>
                  <a:pt x="2526" y="1024"/>
                  <a:pt x="2526" y="1024"/>
                  <a:pt x="2527" y="1023"/>
                </a:cubicBezTo>
                <a:cubicBezTo>
                  <a:pt x="2528" y="1022"/>
                  <a:pt x="2527" y="1023"/>
                  <a:pt x="2527" y="1019"/>
                </a:cubicBezTo>
                <a:cubicBezTo>
                  <a:pt x="2527" y="1019"/>
                  <a:pt x="2528" y="1018"/>
                  <a:pt x="2528" y="1019"/>
                </a:cubicBezTo>
                <a:cubicBezTo>
                  <a:pt x="2529" y="1021"/>
                  <a:pt x="2529" y="1021"/>
                  <a:pt x="2530" y="1020"/>
                </a:cubicBezTo>
                <a:cubicBezTo>
                  <a:pt x="2531" y="1018"/>
                  <a:pt x="2533" y="1021"/>
                  <a:pt x="2533" y="1021"/>
                </a:cubicBezTo>
                <a:cubicBezTo>
                  <a:pt x="2534" y="1020"/>
                  <a:pt x="2532" y="1019"/>
                  <a:pt x="2537" y="1016"/>
                </a:cubicBezTo>
                <a:cubicBezTo>
                  <a:pt x="2538" y="1015"/>
                  <a:pt x="2538" y="1018"/>
                  <a:pt x="2538" y="1018"/>
                </a:cubicBezTo>
                <a:cubicBezTo>
                  <a:pt x="2541" y="1019"/>
                  <a:pt x="2540" y="1015"/>
                  <a:pt x="2545" y="1024"/>
                </a:cubicBezTo>
                <a:cubicBezTo>
                  <a:pt x="2546" y="1025"/>
                  <a:pt x="2547" y="1026"/>
                  <a:pt x="2547" y="1027"/>
                </a:cubicBezTo>
                <a:cubicBezTo>
                  <a:pt x="2547" y="1028"/>
                  <a:pt x="2546" y="1028"/>
                  <a:pt x="2546" y="1029"/>
                </a:cubicBezTo>
                <a:cubicBezTo>
                  <a:pt x="2545" y="1030"/>
                  <a:pt x="2545" y="1032"/>
                  <a:pt x="2545" y="1033"/>
                </a:cubicBezTo>
                <a:cubicBezTo>
                  <a:pt x="2545" y="1033"/>
                  <a:pt x="2546" y="1033"/>
                  <a:pt x="2547" y="1033"/>
                </a:cubicBezTo>
                <a:cubicBezTo>
                  <a:pt x="2548" y="1032"/>
                  <a:pt x="2547" y="1028"/>
                  <a:pt x="2548" y="1028"/>
                </a:cubicBezTo>
                <a:cubicBezTo>
                  <a:pt x="2550" y="1027"/>
                  <a:pt x="2551" y="1028"/>
                  <a:pt x="2553" y="1029"/>
                </a:cubicBezTo>
                <a:cubicBezTo>
                  <a:pt x="2553" y="1029"/>
                  <a:pt x="2554" y="1028"/>
                  <a:pt x="2555" y="1029"/>
                </a:cubicBezTo>
                <a:cubicBezTo>
                  <a:pt x="2556" y="1029"/>
                  <a:pt x="2556" y="1031"/>
                  <a:pt x="2557" y="1032"/>
                </a:cubicBezTo>
                <a:cubicBezTo>
                  <a:pt x="2556" y="1030"/>
                  <a:pt x="2556" y="1029"/>
                  <a:pt x="2558" y="1028"/>
                </a:cubicBezTo>
                <a:cubicBezTo>
                  <a:pt x="2558" y="1028"/>
                  <a:pt x="2560" y="1030"/>
                  <a:pt x="2561" y="1029"/>
                </a:cubicBezTo>
                <a:cubicBezTo>
                  <a:pt x="2562" y="1028"/>
                  <a:pt x="2562" y="1028"/>
                  <a:pt x="2562" y="1028"/>
                </a:cubicBezTo>
                <a:cubicBezTo>
                  <a:pt x="2562" y="1027"/>
                  <a:pt x="2562" y="1027"/>
                  <a:pt x="2562" y="1026"/>
                </a:cubicBezTo>
                <a:cubicBezTo>
                  <a:pt x="2562" y="1025"/>
                  <a:pt x="2561" y="1024"/>
                  <a:pt x="2560" y="1023"/>
                </a:cubicBezTo>
                <a:cubicBezTo>
                  <a:pt x="2560" y="1022"/>
                  <a:pt x="2561" y="1021"/>
                  <a:pt x="2562" y="1020"/>
                </a:cubicBezTo>
                <a:cubicBezTo>
                  <a:pt x="2564" y="1019"/>
                  <a:pt x="2564" y="1015"/>
                  <a:pt x="2565" y="1013"/>
                </a:cubicBezTo>
                <a:cubicBezTo>
                  <a:pt x="2566" y="1013"/>
                  <a:pt x="2567" y="1015"/>
                  <a:pt x="2568" y="1014"/>
                </a:cubicBezTo>
                <a:cubicBezTo>
                  <a:pt x="2569" y="1014"/>
                  <a:pt x="2570" y="1012"/>
                  <a:pt x="2570" y="1011"/>
                </a:cubicBezTo>
                <a:cubicBezTo>
                  <a:pt x="2571" y="1010"/>
                  <a:pt x="2569" y="1009"/>
                  <a:pt x="2569" y="1009"/>
                </a:cubicBezTo>
                <a:cubicBezTo>
                  <a:pt x="2568" y="1006"/>
                  <a:pt x="2570" y="1007"/>
                  <a:pt x="2571" y="1006"/>
                </a:cubicBezTo>
                <a:cubicBezTo>
                  <a:pt x="2571" y="1006"/>
                  <a:pt x="2571" y="1005"/>
                  <a:pt x="2571" y="1004"/>
                </a:cubicBezTo>
                <a:cubicBezTo>
                  <a:pt x="2572" y="1003"/>
                  <a:pt x="2573" y="1004"/>
                  <a:pt x="2573" y="1004"/>
                </a:cubicBezTo>
                <a:cubicBezTo>
                  <a:pt x="2573" y="1003"/>
                  <a:pt x="2573" y="1003"/>
                  <a:pt x="2573" y="1003"/>
                </a:cubicBezTo>
                <a:cubicBezTo>
                  <a:pt x="2575" y="1000"/>
                  <a:pt x="2578" y="1002"/>
                  <a:pt x="2578" y="1001"/>
                </a:cubicBezTo>
                <a:cubicBezTo>
                  <a:pt x="2579" y="1001"/>
                  <a:pt x="2578" y="998"/>
                  <a:pt x="2581" y="998"/>
                </a:cubicBezTo>
                <a:cubicBezTo>
                  <a:pt x="2583" y="999"/>
                  <a:pt x="2582" y="1000"/>
                  <a:pt x="2586" y="1000"/>
                </a:cubicBezTo>
                <a:cubicBezTo>
                  <a:pt x="2587" y="1000"/>
                  <a:pt x="2587" y="999"/>
                  <a:pt x="2588" y="999"/>
                </a:cubicBezTo>
                <a:cubicBezTo>
                  <a:pt x="2590" y="999"/>
                  <a:pt x="2591" y="1000"/>
                  <a:pt x="2594" y="998"/>
                </a:cubicBezTo>
                <a:cubicBezTo>
                  <a:pt x="2594" y="998"/>
                  <a:pt x="2596" y="995"/>
                  <a:pt x="2596" y="994"/>
                </a:cubicBezTo>
                <a:cubicBezTo>
                  <a:pt x="2596" y="994"/>
                  <a:pt x="2595" y="992"/>
                  <a:pt x="2594" y="991"/>
                </a:cubicBezTo>
                <a:cubicBezTo>
                  <a:pt x="2593" y="989"/>
                  <a:pt x="2591" y="991"/>
                  <a:pt x="2590" y="991"/>
                </a:cubicBezTo>
                <a:cubicBezTo>
                  <a:pt x="2589" y="992"/>
                  <a:pt x="2587" y="990"/>
                  <a:pt x="2587" y="988"/>
                </a:cubicBezTo>
                <a:cubicBezTo>
                  <a:pt x="2588" y="988"/>
                  <a:pt x="2588" y="988"/>
                  <a:pt x="2588" y="988"/>
                </a:cubicBezTo>
                <a:cubicBezTo>
                  <a:pt x="2588" y="988"/>
                  <a:pt x="2592" y="986"/>
                  <a:pt x="2591" y="988"/>
                </a:cubicBezTo>
                <a:cubicBezTo>
                  <a:pt x="2596" y="988"/>
                  <a:pt x="2594" y="988"/>
                  <a:pt x="2594" y="989"/>
                </a:cubicBezTo>
                <a:cubicBezTo>
                  <a:pt x="2595" y="989"/>
                  <a:pt x="2595" y="989"/>
                  <a:pt x="2596" y="990"/>
                </a:cubicBezTo>
                <a:cubicBezTo>
                  <a:pt x="2597" y="991"/>
                  <a:pt x="2596" y="990"/>
                  <a:pt x="2596" y="990"/>
                </a:cubicBezTo>
                <a:cubicBezTo>
                  <a:pt x="2597" y="990"/>
                  <a:pt x="2598" y="990"/>
                  <a:pt x="2598" y="990"/>
                </a:cubicBezTo>
                <a:cubicBezTo>
                  <a:pt x="2598" y="991"/>
                  <a:pt x="2599" y="992"/>
                  <a:pt x="2600" y="992"/>
                </a:cubicBezTo>
                <a:cubicBezTo>
                  <a:pt x="2601" y="993"/>
                  <a:pt x="2604" y="995"/>
                  <a:pt x="2606" y="994"/>
                </a:cubicBezTo>
                <a:cubicBezTo>
                  <a:pt x="2607" y="994"/>
                  <a:pt x="2607" y="994"/>
                  <a:pt x="2607" y="994"/>
                </a:cubicBezTo>
                <a:cubicBezTo>
                  <a:pt x="2607" y="994"/>
                  <a:pt x="2610" y="996"/>
                  <a:pt x="2611" y="997"/>
                </a:cubicBezTo>
                <a:cubicBezTo>
                  <a:pt x="2612" y="998"/>
                  <a:pt x="2612" y="997"/>
                  <a:pt x="2613" y="997"/>
                </a:cubicBezTo>
                <a:cubicBezTo>
                  <a:pt x="2614" y="996"/>
                  <a:pt x="2617" y="996"/>
                  <a:pt x="2617" y="998"/>
                </a:cubicBezTo>
                <a:cubicBezTo>
                  <a:pt x="2617" y="998"/>
                  <a:pt x="2620" y="999"/>
                  <a:pt x="2620" y="998"/>
                </a:cubicBezTo>
                <a:cubicBezTo>
                  <a:pt x="2621" y="997"/>
                  <a:pt x="2622" y="998"/>
                  <a:pt x="2622" y="998"/>
                </a:cubicBezTo>
                <a:cubicBezTo>
                  <a:pt x="2624" y="999"/>
                  <a:pt x="2623" y="999"/>
                  <a:pt x="2626" y="999"/>
                </a:cubicBezTo>
                <a:cubicBezTo>
                  <a:pt x="2627" y="999"/>
                  <a:pt x="2627" y="1001"/>
                  <a:pt x="2627" y="1002"/>
                </a:cubicBezTo>
                <a:cubicBezTo>
                  <a:pt x="2628" y="1002"/>
                  <a:pt x="2629" y="1002"/>
                  <a:pt x="2630" y="1001"/>
                </a:cubicBezTo>
                <a:cubicBezTo>
                  <a:pt x="2631" y="1001"/>
                  <a:pt x="2630" y="1000"/>
                  <a:pt x="2630" y="999"/>
                </a:cubicBezTo>
                <a:cubicBezTo>
                  <a:pt x="2630" y="998"/>
                  <a:pt x="2630" y="998"/>
                  <a:pt x="2631" y="997"/>
                </a:cubicBezTo>
                <a:cubicBezTo>
                  <a:pt x="2633" y="996"/>
                  <a:pt x="2632" y="997"/>
                  <a:pt x="2632" y="997"/>
                </a:cubicBezTo>
                <a:cubicBezTo>
                  <a:pt x="2632" y="997"/>
                  <a:pt x="2634" y="999"/>
                  <a:pt x="2634" y="999"/>
                </a:cubicBezTo>
                <a:cubicBezTo>
                  <a:pt x="2634" y="999"/>
                  <a:pt x="2636" y="1000"/>
                  <a:pt x="2636" y="1000"/>
                </a:cubicBezTo>
                <a:cubicBezTo>
                  <a:pt x="2636" y="1000"/>
                  <a:pt x="2633" y="1004"/>
                  <a:pt x="2632" y="1004"/>
                </a:cubicBezTo>
                <a:cubicBezTo>
                  <a:pt x="2629" y="1004"/>
                  <a:pt x="2631" y="1008"/>
                  <a:pt x="2630" y="1010"/>
                </a:cubicBezTo>
                <a:cubicBezTo>
                  <a:pt x="2630" y="1011"/>
                  <a:pt x="2630" y="1010"/>
                  <a:pt x="2629" y="1010"/>
                </a:cubicBezTo>
                <a:cubicBezTo>
                  <a:pt x="2629" y="1010"/>
                  <a:pt x="2627" y="1011"/>
                  <a:pt x="2626" y="1011"/>
                </a:cubicBezTo>
                <a:cubicBezTo>
                  <a:pt x="2626" y="1011"/>
                  <a:pt x="2624" y="1013"/>
                  <a:pt x="2624" y="1013"/>
                </a:cubicBezTo>
                <a:cubicBezTo>
                  <a:pt x="2623" y="1014"/>
                  <a:pt x="2624" y="1019"/>
                  <a:pt x="2624" y="1020"/>
                </a:cubicBezTo>
                <a:cubicBezTo>
                  <a:pt x="2624" y="1020"/>
                  <a:pt x="2622" y="1022"/>
                  <a:pt x="2620" y="1023"/>
                </a:cubicBezTo>
                <a:cubicBezTo>
                  <a:pt x="2619" y="1024"/>
                  <a:pt x="2618" y="1027"/>
                  <a:pt x="2618" y="1027"/>
                </a:cubicBezTo>
                <a:cubicBezTo>
                  <a:pt x="2618" y="1027"/>
                  <a:pt x="2619" y="1030"/>
                  <a:pt x="2621" y="1031"/>
                </a:cubicBezTo>
                <a:cubicBezTo>
                  <a:pt x="2623" y="1032"/>
                  <a:pt x="2625" y="1035"/>
                  <a:pt x="2627" y="1037"/>
                </a:cubicBezTo>
                <a:cubicBezTo>
                  <a:pt x="2629" y="1039"/>
                  <a:pt x="2628" y="1037"/>
                  <a:pt x="2629" y="1037"/>
                </a:cubicBezTo>
                <a:cubicBezTo>
                  <a:pt x="2630" y="1037"/>
                  <a:pt x="2633" y="1041"/>
                  <a:pt x="2634" y="1042"/>
                </a:cubicBezTo>
                <a:cubicBezTo>
                  <a:pt x="2635" y="1043"/>
                  <a:pt x="2636" y="1043"/>
                  <a:pt x="2637" y="1043"/>
                </a:cubicBezTo>
                <a:cubicBezTo>
                  <a:pt x="2638" y="1043"/>
                  <a:pt x="2638" y="1043"/>
                  <a:pt x="2638" y="1045"/>
                </a:cubicBezTo>
                <a:cubicBezTo>
                  <a:pt x="2639" y="1046"/>
                  <a:pt x="2641" y="1049"/>
                  <a:pt x="2641" y="1049"/>
                </a:cubicBezTo>
                <a:cubicBezTo>
                  <a:pt x="2642" y="1049"/>
                  <a:pt x="2642" y="1049"/>
                  <a:pt x="2643" y="1049"/>
                </a:cubicBezTo>
                <a:cubicBezTo>
                  <a:pt x="2643" y="1049"/>
                  <a:pt x="2647" y="1051"/>
                  <a:pt x="2648" y="1051"/>
                </a:cubicBezTo>
                <a:cubicBezTo>
                  <a:pt x="2648" y="1052"/>
                  <a:pt x="2648" y="1052"/>
                  <a:pt x="2649" y="1054"/>
                </a:cubicBezTo>
                <a:cubicBezTo>
                  <a:pt x="2651" y="1057"/>
                  <a:pt x="2651" y="1056"/>
                  <a:pt x="2652" y="1057"/>
                </a:cubicBezTo>
                <a:cubicBezTo>
                  <a:pt x="2654" y="1059"/>
                  <a:pt x="2655" y="1059"/>
                  <a:pt x="2656" y="1060"/>
                </a:cubicBezTo>
                <a:cubicBezTo>
                  <a:pt x="2656" y="1060"/>
                  <a:pt x="2656" y="1060"/>
                  <a:pt x="2661" y="1060"/>
                </a:cubicBezTo>
                <a:cubicBezTo>
                  <a:pt x="2665" y="1060"/>
                  <a:pt x="2663" y="1060"/>
                  <a:pt x="2666" y="1056"/>
                </a:cubicBezTo>
                <a:cubicBezTo>
                  <a:pt x="2668" y="1054"/>
                  <a:pt x="2670" y="1050"/>
                  <a:pt x="2670" y="1049"/>
                </a:cubicBezTo>
                <a:cubicBezTo>
                  <a:pt x="2671" y="1045"/>
                  <a:pt x="2675" y="1043"/>
                  <a:pt x="2675" y="1037"/>
                </a:cubicBezTo>
                <a:cubicBezTo>
                  <a:pt x="2675" y="1035"/>
                  <a:pt x="2677" y="1034"/>
                  <a:pt x="2678" y="1029"/>
                </a:cubicBezTo>
                <a:cubicBezTo>
                  <a:pt x="2678" y="1027"/>
                  <a:pt x="2678" y="1027"/>
                  <a:pt x="2678" y="1025"/>
                </a:cubicBezTo>
                <a:cubicBezTo>
                  <a:pt x="2677" y="1022"/>
                  <a:pt x="2680" y="1021"/>
                  <a:pt x="2678" y="1019"/>
                </a:cubicBezTo>
                <a:cubicBezTo>
                  <a:pt x="2678" y="1018"/>
                  <a:pt x="2678" y="1016"/>
                  <a:pt x="2678" y="1015"/>
                </a:cubicBezTo>
                <a:cubicBezTo>
                  <a:pt x="2679" y="1013"/>
                  <a:pt x="2680" y="1013"/>
                  <a:pt x="2680" y="1011"/>
                </a:cubicBezTo>
                <a:cubicBezTo>
                  <a:pt x="2681" y="1010"/>
                  <a:pt x="2681" y="1010"/>
                  <a:pt x="2681" y="1010"/>
                </a:cubicBezTo>
                <a:cubicBezTo>
                  <a:pt x="2680" y="1008"/>
                  <a:pt x="2679" y="1009"/>
                  <a:pt x="2680" y="1007"/>
                </a:cubicBezTo>
                <a:cubicBezTo>
                  <a:pt x="2682" y="1006"/>
                  <a:pt x="2682" y="1007"/>
                  <a:pt x="2682" y="1004"/>
                </a:cubicBezTo>
                <a:cubicBezTo>
                  <a:pt x="2682" y="1003"/>
                  <a:pt x="2682" y="1003"/>
                  <a:pt x="2681" y="1002"/>
                </a:cubicBezTo>
                <a:cubicBezTo>
                  <a:pt x="2681" y="1001"/>
                  <a:pt x="2681" y="1001"/>
                  <a:pt x="2681" y="1001"/>
                </a:cubicBezTo>
                <a:cubicBezTo>
                  <a:pt x="2682" y="1000"/>
                  <a:pt x="2685" y="995"/>
                  <a:pt x="2686" y="993"/>
                </a:cubicBezTo>
                <a:cubicBezTo>
                  <a:pt x="2686" y="992"/>
                  <a:pt x="2686" y="991"/>
                  <a:pt x="2686" y="991"/>
                </a:cubicBezTo>
                <a:cubicBezTo>
                  <a:pt x="2686" y="991"/>
                  <a:pt x="2689" y="987"/>
                  <a:pt x="2688" y="986"/>
                </a:cubicBezTo>
                <a:cubicBezTo>
                  <a:pt x="2688" y="986"/>
                  <a:pt x="2689" y="985"/>
                  <a:pt x="2689" y="985"/>
                </a:cubicBezTo>
                <a:cubicBezTo>
                  <a:pt x="2690" y="985"/>
                  <a:pt x="2692" y="981"/>
                  <a:pt x="2693" y="983"/>
                </a:cubicBezTo>
                <a:cubicBezTo>
                  <a:pt x="2693" y="984"/>
                  <a:pt x="2693" y="984"/>
                  <a:pt x="2693" y="985"/>
                </a:cubicBezTo>
                <a:cubicBezTo>
                  <a:pt x="2693" y="985"/>
                  <a:pt x="2694" y="986"/>
                  <a:pt x="2694" y="986"/>
                </a:cubicBezTo>
                <a:cubicBezTo>
                  <a:pt x="2694" y="986"/>
                  <a:pt x="2695" y="988"/>
                  <a:pt x="2695" y="989"/>
                </a:cubicBezTo>
                <a:cubicBezTo>
                  <a:pt x="2695" y="992"/>
                  <a:pt x="2693" y="995"/>
                  <a:pt x="2695" y="996"/>
                </a:cubicBezTo>
                <a:cubicBezTo>
                  <a:pt x="2695" y="996"/>
                  <a:pt x="2697" y="997"/>
                  <a:pt x="2697" y="997"/>
                </a:cubicBezTo>
                <a:cubicBezTo>
                  <a:pt x="2696" y="998"/>
                  <a:pt x="2696" y="999"/>
                  <a:pt x="2696" y="1000"/>
                </a:cubicBezTo>
                <a:cubicBezTo>
                  <a:pt x="2696" y="1001"/>
                  <a:pt x="2697" y="1001"/>
                  <a:pt x="2698" y="1002"/>
                </a:cubicBezTo>
                <a:cubicBezTo>
                  <a:pt x="2698" y="1002"/>
                  <a:pt x="2698" y="1003"/>
                  <a:pt x="2698" y="1004"/>
                </a:cubicBezTo>
                <a:cubicBezTo>
                  <a:pt x="2698" y="1007"/>
                  <a:pt x="2699" y="1006"/>
                  <a:pt x="2700" y="1007"/>
                </a:cubicBezTo>
                <a:cubicBezTo>
                  <a:pt x="2700" y="1008"/>
                  <a:pt x="2699" y="1009"/>
                  <a:pt x="2699" y="1010"/>
                </a:cubicBezTo>
                <a:cubicBezTo>
                  <a:pt x="2699" y="1011"/>
                  <a:pt x="2699" y="1012"/>
                  <a:pt x="2699" y="1013"/>
                </a:cubicBezTo>
                <a:cubicBezTo>
                  <a:pt x="2699" y="1015"/>
                  <a:pt x="2698" y="1016"/>
                  <a:pt x="2698" y="1018"/>
                </a:cubicBezTo>
                <a:cubicBezTo>
                  <a:pt x="2698" y="1020"/>
                  <a:pt x="2699" y="1023"/>
                  <a:pt x="2700" y="1025"/>
                </a:cubicBezTo>
                <a:cubicBezTo>
                  <a:pt x="2704" y="1024"/>
                  <a:pt x="2704" y="1024"/>
                  <a:pt x="2708" y="1021"/>
                </a:cubicBezTo>
                <a:cubicBezTo>
                  <a:pt x="2708" y="1021"/>
                  <a:pt x="2708" y="1022"/>
                  <a:pt x="2708" y="1023"/>
                </a:cubicBezTo>
                <a:cubicBezTo>
                  <a:pt x="2708" y="1024"/>
                  <a:pt x="2711" y="1027"/>
                  <a:pt x="2712" y="1029"/>
                </a:cubicBezTo>
                <a:cubicBezTo>
                  <a:pt x="2713" y="1030"/>
                  <a:pt x="2712" y="1030"/>
                  <a:pt x="2712" y="1036"/>
                </a:cubicBezTo>
                <a:cubicBezTo>
                  <a:pt x="2713" y="1040"/>
                  <a:pt x="2711" y="1045"/>
                  <a:pt x="2712" y="1046"/>
                </a:cubicBezTo>
                <a:cubicBezTo>
                  <a:pt x="2712" y="1047"/>
                  <a:pt x="2713" y="1049"/>
                  <a:pt x="2713" y="1050"/>
                </a:cubicBezTo>
                <a:cubicBezTo>
                  <a:pt x="2713" y="1051"/>
                  <a:pt x="2715" y="1055"/>
                  <a:pt x="2716" y="1056"/>
                </a:cubicBezTo>
                <a:cubicBezTo>
                  <a:pt x="2716" y="1058"/>
                  <a:pt x="2715" y="1062"/>
                  <a:pt x="2715" y="1063"/>
                </a:cubicBezTo>
                <a:cubicBezTo>
                  <a:pt x="2715" y="1063"/>
                  <a:pt x="2713" y="1065"/>
                  <a:pt x="2713" y="1065"/>
                </a:cubicBezTo>
                <a:cubicBezTo>
                  <a:pt x="2714" y="1066"/>
                  <a:pt x="2715" y="1067"/>
                  <a:pt x="2716" y="1067"/>
                </a:cubicBezTo>
                <a:cubicBezTo>
                  <a:pt x="2716" y="1067"/>
                  <a:pt x="2715" y="1071"/>
                  <a:pt x="2715" y="1073"/>
                </a:cubicBezTo>
                <a:cubicBezTo>
                  <a:pt x="2715" y="1075"/>
                  <a:pt x="2716" y="1074"/>
                  <a:pt x="2716" y="1074"/>
                </a:cubicBezTo>
                <a:cubicBezTo>
                  <a:pt x="2717" y="1075"/>
                  <a:pt x="2718" y="1077"/>
                  <a:pt x="2720" y="1077"/>
                </a:cubicBezTo>
                <a:cubicBezTo>
                  <a:pt x="2720" y="1077"/>
                  <a:pt x="2725" y="1079"/>
                  <a:pt x="2725" y="1079"/>
                </a:cubicBezTo>
                <a:cubicBezTo>
                  <a:pt x="2726" y="1080"/>
                  <a:pt x="2726" y="1082"/>
                  <a:pt x="2727" y="1083"/>
                </a:cubicBezTo>
                <a:cubicBezTo>
                  <a:pt x="2727" y="1083"/>
                  <a:pt x="2727" y="1083"/>
                  <a:pt x="2728" y="1083"/>
                </a:cubicBezTo>
                <a:cubicBezTo>
                  <a:pt x="2729" y="1084"/>
                  <a:pt x="2729" y="1085"/>
                  <a:pt x="2730" y="1087"/>
                </a:cubicBezTo>
                <a:cubicBezTo>
                  <a:pt x="2730" y="1087"/>
                  <a:pt x="2732" y="1086"/>
                  <a:pt x="2733" y="1086"/>
                </a:cubicBezTo>
                <a:cubicBezTo>
                  <a:pt x="2733" y="1086"/>
                  <a:pt x="2736" y="1091"/>
                  <a:pt x="2736" y="1091"/>
                </a:cubicBezTo>
                <a:cubicBezTo>
                  <a:pt x="2736" y="1091"/>
                  <a:pt x="2736" y="1091"/>
                  <a:pt x="2735" y="1092"/>
                </a:cubicBezTo>
                <a:cubicBezTo>
                  <a:pt x="2734" y="1093"/>
                  <a:pt x="2736" y="1094"/>
                  <a:pt x="2737" y="1095"/>
                </a:cubicBezTo>
                <a:cubicBezTo>
                  <a:pt x="2740" y="1097"/>
                  <a:pt x="2739" y="1096"/>
                  <a:pt x="2739" y="1100"/>
                </a:cubicBezTo>
                <a:cubicBezTo>
                  <a:pt x="2739" y="1100"/>
                  <a:pt x="2740" y="1103"/>
                  <a:pt x="2740" y="1103"/>
                </a:cubicBezTo>
                <a:cubicBezTo>
                  <a:pt x="2740" y="1103"/>
                  <a:pt x="2740" y="1106"/>
                  <a:pt x="2740" y="1106"/>
                </a:cubicBezTo>
                <a:cubicBezTo>
                  <a:pt x="2740" y="1107"/>
                  <a:pt x="2740" y="1110"/>
                  <a:pt x="2740" y="1111"/>
                </a:cubicBezTo>
                <a:cubicBezTo>
                  <a:pt x="2740" y="1113"/>
                  <a:pt x="2742" y="1113"/>
                  <a:pt x="2742" y="1112"/>
                </a:cubicBezTo>
                <a:cubicBezTo>
                  <a:pt x="2743" y="1110"/>
                  <a:pt x="2743" y="1108"/>
                  <a:pt x="2744" y="1110"/>
                </a:cubicBezTo>
                <a:cubicBezTo>
                  <a:pt x="2745" y="1112"/>
                  <a:pt x="2746" y="1113"/>
                  <a:pt x="2748" y="1113"/>
                </a:cubicBezTo>
                <a:cubicBezTo>
                  <a:pt x="2748" y="1113"/>
                  <a:pt x="2748" y="1112"/>
                  <a:pt x="2748" y="1110"/>
                </a:cubicBezTo>
                <a:cubicBezTo>
                  <a:pt x="2749" y="1109"/>
                  <a:pt x="2749" y="1111"/>
                  <a:pt x="2749" y="1111"/>
                </a:cubicBezTo>
                <a:cubicBezTo>
                  <a:pt x="2750" y="1115"/>
                  <a:pt x="2750" y="1115"/>
                  <a:pt x="2749" y="1118"/>
                </a:cubicBezTo>
                <a:cubicBezTo>
                  <a:pt x="2748" y="1120"/>
                  <a:pt x="2747" y="1122"/>
                  <a:pt x="2748" y="1124"/>
                </a:cubicBezTo>
                <a:cubicBezTo>
                  <a:pt x="2749" y="1123"/>
                  <a:pt x="2751" y="1123"/>
                  <a:pt x="2752" y="1123"/>
                </a:cubicBezTo>
                <a:cubicBezTo>
                  <a:pt x="2751" y="1124"/>
                  <a:pt x="2750" y="1125"/>
                  <a:pt x="2750" y="1127"/>
                </a:cubicBezTo>
                <a:cubicBezTo>
                  <a:pt x="2750" y="1128"/>
                  <a:pt x="2751" y="1129"/>
                  <a:pt x="2752" y="1130"/>
                </a:cubicBezTo>
                <a:cubicBezTo>
                  <a:pt x="2752" y="1130"/>
                  <a:pt x="2755" y="1130"/>
                  <a:pt x="2756" y="1130"/>
                </a:cubicBezTo>
                <a:cubicBezTo>
                  <a:pt x="2756" y="1131"/>
                  <a:pt x="2756" y="1136"/>
                  <a:pt x="2757" y="1137"/>
                </a:cubicBezTo>
                <a:cubicBezTo>
                  <a:pt x="2757" y="1137"/>
                  <a:pt x="2760" y="1138"/>
                  <a:pt x="2760" y="1139"/>
                </a:cubicBezTo>
                <a:cubicBezTo>
                  <a:pt x="2760" y="1139"/>
                  <a:pt x="2761" y="1142"/>
                  <a:pt x="2761" y="1142"/>
                </a:cubicBezTo>
                <a:cubicBezTo>
                  <a:pt x="2761" y="1143"/>
                  <a:pt x="2762" y="1145"/>
                  <a:pt x="2763" y="1146"/>
                </a:cubicBezTo>
                <a:cubicBezTo>
                  <a:pt x="2764" y="1143"/>
                  <a:pt x="2764" y="1143"/>
                  <a:pt x="2766" y="1141"/>
                </a:cubicBezTo>
                <a:cubicBezTo>
                  <a:pt x="2766" y="1139"/>
                  <a:pt x="2766" y="1139"/>
                  <a:pt x="2768" y="1137"/>
                </a:cubicBezTo>
                <a:cubicBezTo>
                  <a:pt x="2768" y="1138"/>
                  <a:pt x="2768" y="1140"/>
                  <a:pt x="2767" y="1141"/>
                </a:cubicBezTo>
                <a:cubicBezTo>
                  <a:pt x="2767" y="1143"/>
                  <a:pt x="2762" y="1148"/>
                  <a:pt x="2762" y="1149"/>
                </a:cubicBezTo>
                <a:cubicBezTo>
                  <a:pt x="2762" y="1150"/>
                  <a:pt x="2763" y="1151"/>
                  <a:pt x="2763" y="1152"/>
                </a:cubicBezTo>
                <a:cubicBezTo>
                  <a:pt x="2763" y="1152"/>
                  <a:pt x="2761" y="1157"/>
                  <a:pt x="2760" y="1158"/>
                </a:cubicBezTo>
                <a:close/>
                <a:moveTo>
                  <a:pt x="2634" y="1018"/>
                </a:moveTo>
                <a:cubicBezTo>
                  <a:pt x="2632" y="1021"/>
                  <a:pt x="2632" y="1021"/>
                  <a:pt x="2632" y="1021"/>
                </a:cubicBezTo>
                <a:cubicBezTo>
                  <a:pt x="2632" y="1021"/>
                  <a:pt x="2634" y="1021"/>
                  <a:pt x="2633" y="1021"/>
                </a:cubicBezTo>
                <a:cubicBezTo>
                  <a:pt x="2633" y="1022"/>
                  <a:pt x="2635" y="1022"/>
                  <a:pt x="2632" y="1022"/>
                </a:cubicBezTo>
                <a:cubicBezTo>
                  <a:pt x="2629" y="1022"/>
                  <a:pt x="2628" y="1022"/>
                  <a:pt x="2628" y="1022"/>
                </a:cubicBezTo>
                <a:cubicBezTo>
                  <a:pt x="2628" y="1018"/>
                  <a:pt x="2627" y="1020"/>
                  <a:pt x="2629" y="1018"/>
                </a:cubicBezTo>
                <a:cubicBezTo>
                  <a:pt x="2629" y="1018"/>
                  <a:pt x="2630" y="1017"/>
                  <a:pt x="2630" y="1016"/>
                </a:cubicBezTo>
                <a:cubicBezTo>
                  <a:pt x="2631" y="1016"/>
                  <a:pt x="2632" y="1015"/>
                  <a:pt x="2632" y="1016"/>
                </a:cubicBezTo>
                <a:cubicBezTo>
                  <a:pt x="2632" y="1016"/>
                  <a:pt x="2632" y="1018"/>
                  <a:pt x="2633" y="1018"/>
                </a:cubicBezTo>
                <a:cubicBezTo>
                  <a:pt x="2633" y="1018"/>
                  <a:pt x="2635" y="1016"/>
                  <a:pt x="2634" y="1018"/>
                </a:cubicBezTo>
                <a:close/>
                <a:moveTo>
                  <a:pt x="2580" y="1262"/>
                </a:moveTo>
                <a:cubicBezTo>
                  <a:pt x="2578" y="1262"/>
                  <a:pt x="2578" y="1262"/>
                  <a:pt x="2577" y="1262"/>
                </a:cubicBezTo>
                <a:cubicBezTo>
                  <a:pt x="2575" y="1262"/>
                  <a:pt x="2576" y="1262"/>
                  <a:pt x="2575" y="1262"/>
                </a:cubicBezTo>
                <a:cubicBezTo>
                  <a:pt x="2575" y="1263"/>
                  <a:pt x="2577" y="1263"/>
                  <a:pt x="2574" y="1263"/>
                </a:cubicBezTo>
                <a:cubicBezTo>
                  <a:pt x="2569" y="1263"/>
                  <a:pt x="2571" y="1263"/>
                  <a:pt x="2566" y="1263"/>
                </a:cubicBezTo>
                <a:cubicBezTo>
                  <a:pt x="2565" y="1263"/>
                  <a:pt x="2568" y="1260"/>
                  <a:pt x="2568" y="1260"/>
                </a:cubicBezTo>
                <a:cubicBezTo>
                  <a:pt x="2569" y="1260"/>
                  <a:pt x="2573" y="1259"/>
                  <a:pt x="2574" y="1259"/>
                </a:cubicBezTo>
                <a:cubicBezTo>
                  <a:pt x="2575" y="1259"/>
                  <a:pt x="2577" y="1257"/>
                  <a:pt x="2577" y="1258"/>
                </a:cubicBezTo>
                <a:cubicBezTo>
                  <a:pt x="2578" y="1260"/>
                  <a:pt x="2577" y="1260"/>
                  <a:pt x="2578" y="1260"/>
                </a:cubicBezTo>
                <a:cubicBezTo>
                  <a:pt x="2579" y="1260"/>
                  <a:pt x="2579" y="1259"/>
                  <a:pt x="2580" y="1260"/>
                </a:cubicBezTo>
                <a:cubicBezTo>
                  <a:pt x="2581" y="1261"/>
                  <a:pt x="2583" y="1261"/>
                  <a:pt x="2580" y="1262"/>
                </a:cubicBezTo>
                <a:close/>
                <a:moveTo>
                  <a:pt x="2560" y="1245"/>
                </a:moveTo>
                <a:cubicBezTo>
                  <a:pt x="2561" y="1245"/>
                  <a:pt x="2561" y="1247"/>
                  <a:pt x="2560" y="1247"/>
                </a:cubicBezTo>
                <a:cubicBezTo>
                  <a:pt x="2560" y="1247"/>
                  <a:pt x="2559" y="1246"/>
                  <a:pt x="2559" y="1246"/>
                </a:cubicBezTo>
                <a:cubicBezTo>
                  <a:pt x="2559" y="1246"/>
                  <a:pt x="2560" y="1245"/>
                  <a:pt x="2560" y="1245"/>
                </a:cubicBezTo>
                <a:close/>
                <a:moveTo>
                  <a:pt x="2385" y="1143"/>
                </a:moveTo>
                <a:cubicBezTo>
                  <a:pt x="2384" y="1143"/>
                  <a:pt x="2383" y="1143"/>
                  <a:pt x="2383" y="1143"/>
                </a:cubicBezTo>
                <a:cubicBezTo>
                  <a:pt x="2384" y="1141"/>
                  <a:pt x="2385" y="1139"/>
                  <a:pt x="2386" y="1137"/>
                </a:cubicBezTo>
                <a:cubicBezTo>
                  <a:pt x="2387" y="1139"/>
                  <a:pt x="2387" y="1141"/>
                  <a:pt x="2385" y="1143"/>
                </a:cubicBezTo>
                <a:close/>
                <a:moveTo>
                  <a:pt x="2383" y="1151"/>
                </a:moveTo>
                <a:cubicBezTo>
                  <a:pt x="2384" y="1152"/>
                  <a:pt x="2385" y="1154"/>
                  <a:pt x="2385" y="1154"/>
                </a:cubicBezTo>
                <a:cubicBezTo>
                  <a:pt x="2386" y="1156"/>
                  <a:pt x="2384" y="1156"/>
                  <a:pt x="2384" y="1157"/>
                </a:cubicBezTo>
                <a:cubicBezTo>
                  <a:pt x="2384" y="1157"/>
                  <a:pt x="2383" y="1160"/>
                  <a:pt x="2382" y="1155"/>
                </a:cubicBezTo>
                <a:cubicBezTo>
                  <a:pt x="2382" y="1151"/>
                  <a:pt x="2382" y="1151"/>
                  <a:pt x="2382" y="1151"/>
                </a:cubicBezTo>
                <a:cubicBezTo>
                  <a:pt x="2381" y="1150"/>
                  <a:pt x="2380" y="1147"/>
                  <a:pt x="2381" y="1146"/>
                </a:cubicBezTo>
                <a:cubicBezTo>
                  <a:pt x="2381" y="1146"/>
                  <a:pt x="2381" y="1144"/>
                  <a:pt x="2382" y="1145"/>
                </a:cubicBezTo>
                <a:cubicBezTo>
                  <a:pt x="2382" y="1145"/>
                  <a:pt x="2383" y="1148"/>
                  <a:pt x="2383" y="1149"/>
                </a:cubicBezTo>
                <a:cubicBezTo>
                  <a:pt x="2383" y="1149"/>
                  <a:pt x="2382" y="1150"/>
                  <a:pt x="2383" y="1151"/>
                </a:cubicBezTo>
                <a:close/>
                <a:moveTo>
                  <a:pt x="2767" y="1379"/>
                </a:moveTo>
                <a:cubicBezTo>
                  <a:pt x="2768" y="1379"/>
                  <a:pt x="2768" y="1379"/>
                  <a:pt x="2769" y="1378"/>
                </a:cubicBezTo>
                <a:cubicBezTo>
                  <a:pt x="2773" y="1382"/>
                  <a:pt x="2769" y="1380"/>
                  <a:pt x="2767" y="1379"/>
                </a:cubicBezTo>
                <a:close/>
                <a:moveTo>
                  <a:pt x="2929" y="1292"/>
                </a:moveTo>
                <a:cubicBezTo>
                  <a:pt x="2928" y="1292"/>
                  <a:pt x="2927" y="1293"/>
                  <a:pt x="2927" y="1293"/>
                </a:cubicBezTo>
                <a:cubicBezTo>
                  <a:pt x="2927" y="1294"/>
                  <a:pt x="2926" y="1294"/>
                  <a:pt x="2925" y="1295"/>
                </a:cubicBezTo>
                <a:cubicBezTo>
                  <a:pt x="2926" y="1296"/>
                  <a:pt x="2926" y="1298"/>
                  <a:pt x="2925" y="1299"/>
                </a:cubicBezTo>
                <a:cubicBezTo>
                  <a:pt x="2925" y="1299"/>
                  <a:pt x="2924" y="1299"/>
                  <a:pt x="2924" y="1298"/>
                </a:cubicBezTo>
                <a:cubicBezTo>
                  <a:pt x="2923" y="1298"/>
                  <a:pt x="2923" y="1297"/>
                  <a:pt x="2923" y="1296"/>
                </a:cubicBezTo>
                <a:cubicBezTo>
                  <a:pt x="2918" y="1296"/>
                  <a:pt x="2918" y="1295"/>
                  <a:pt x="2913" y="1299"/>
                </a:cubicBezTo>
                <a:cubicBezTo>
                  <a:pt x="2912" y="1300"/>
                  <a:pt x="2913" y="1301"/>
                  <a:pt x="2912" y="1303"/>
                </a:cubicBezTo>
                <a:cubicBezTo>
                  <a:pt x="2911" y="1307"/>
                  <a:pt x="2908" y="1307"/>
                  <a:pt x="2906" y="1310"/>
                </a:cubicBezTo>
                <a:cubicBezTo>
                  <a:pt x="2903" y="1312"/>
                  <a:pt x="2898" y="1315"/>
                  <a:pt x="2894" y="1318"/>
                </a:cubicBezTo>
                <a:cubicBezTo>
                  <a:pt x="2889" y="1320"/>
                  <a:pt x="2888" y="1321"/>
                  <a:pt x="2888" y="1322"/>
                </a:cubicBezTo>
                <a:cubicBezTo>
                  <a:pt x="2886" y="1322"/>
                  <a:pt x="2883" y="1327"/>
                  <a:pt x="2881" y="1324"/>
                </a:cubicBezTo>
                <a:cubicBezTo>
                  <a:pt x="2881" y="1324"/>
                  <a:pt x="2881" y="1323"/>
                  <a:pt x="2883" y="1321"/>
                </a:cubicBezTo>
                <a:cubicBezTo>
                  <a:pt x="2884" y="1320"/>
                  <a:pt x="2878" y="1321"/>
                  <a:pt x="2878" y="1321"/>
                </a:cubicBezTo>
                <a:cubicBezTo>
                  <a:pt x="2875" y="1320"/>
                  <a:pt x="2881" y="1319"/>
                  <a:pt x="2882" y="1318"/>
                </a:cubicBezTo>
                <a:cubicBezTo>
                  <a:pt x="2883" y="1317"/>
                  <a:pt x="2884" y="1316"/>
                  <a:pt x="2885" y="1316"/>
                </a:cubicBezTo>
                <a:cubicBezTo>
                  <a:pt x="2888" y="1315"/>
                  <a:pt x="2891" y="1308"/>
                  <a:pt x="2892" y="1307"/>
                </a:cubicBezTo>
                <a:cubicBezTo>
                  <a:pt x="2892" y="1306"/>
                  <a:pt x="2892" y="1306"/>
                  <a:pt x="2892" y="1306"/>
                </a:cubicBezTo>
                <a:cubicBezTo>
                  <a:pt x="2891" y="1305"/>
                  <a:pt x="2891" y="1305"/>
                  <a:pt x="2890" y="1305"/>
                </a:cubicBezTo>
                <a:cubicBezTo>
                  <a:pt x="2888" y="1304"/>
                  <a:pt x="2889" y="1304"/>
                  <a:pt x="2888" y="1303"/>
                </a:cubicBezTo>
                <a:cubicBezTo>
                  <a:pt x="2887" y="1302"/>
                  <a:pt x="2887" y="1302"/>
                  <a:pt x="2887" y="1302"/>
                </a:cubicBezTo>
                <a:cubicBezTo>
                  <a:pt x="2886" y="1302"/>
                  <a:pt x="2886" y="1302"/>
                  <a:pt x="2885" y="1302"/>
                </a:cubicBezTo>
                <a:cubicBezTo>
                  <a:pt x="2885" y="1301"/>
                  <a:pt x="2885" y="1298"/>
                  <a:pt x="2886" y="1299"/>
                </a:cubicBezTo>
                <a:cubicBezTo>
                  <a:pt x="2886" y="1299"/>
                  <a:pt x="2888" y="1297"/>
                  <a:pt x="2890" y="1296"/>
                </a:cubicBezTo>
                <a:cubicBezTo>
                  <a:pt x="2893" y="1294"/>
                  <a:pt x="2892" y="1295"/>
                  <a:pt x="2894" y="1295"/>
                </a:cubicBezTo>
                <a:cubicBezTo>
                  <a:pt x="2895" y="1294"/>
                  <a:pt x="2898" y="1292"/>
                  <a:pt x="2900" y="1290"/>
                </a:cubicBezTo>
                <a:cubicBezTo>
                  <a:pt x="2900" y="1289"/>
                  <a:pt x="2901" y="1288"/>
                  <a:pt x="2902" y="1287"/>
                </a:cubicBezTo>
                <a:cubicBezTo>
                  <a:pt x="2903" y="1286"/>
                  <a:pt x="2903" y="1286"/>
                  <a:pt x="2903" y="1285"/>
                </a:cubicBezTo>
                <a:cubicBezTo>
                  <a:pt x="2904" y="1284"/>
                  <a:pt x="2904" y="1284"/>
                  <a:pt x="2905" y="1282"/>
                </a:cubicBezTo>
                <a:cubicBezTo>
                  <a:pt x="2907" y="1280"/>
                  <a:pt x="2907" y="1280"/>
                  <a:pt x="2908" y="1279"/>
                </a:cubicBezTo>
                <a:cubicBezTo>
                  <a:pt x="2909" y="1279"/>
                  <a:pt x="2908" y="1278"/>
                  <a:pt x="2908" y="1277"/>
                </a:cubicBezTo>
                <a:cubicBezTo>
                  <a:pt x="2909" y="1276"/>
                  <a:pt x="2910" y="1277"/>
                  <a:pt x="2910" y="1274"/>
                </a:cubicBezTo>
                <a:cubicBezTo>
                  <a:pt x="2910" y="1274"/>
                  <a:pt x="2909" y="1274"/>
                  <a:pt x="2908" y="1273"/>
                </a:cubicBezTo>
                <a:cubicBezTo>
                  <a:pt x="2907" y="1273"/>
                  <a:pt x="2909" y="1272"/>
                  <a:pt x="2909" y="1272"/>
                </a:cubicBezTo>
                <a:cubicBezTo>
                  <a:pt x="2909" y="1271"/>
                  <a:pt x="2910" y="1269"/>
                  <a:pt x="2910" y="1268"/>
                </a:cubicBezTo>
                <a:cubicBezTo>
                  <a:pt x="2910" y="1268"/>
                  <a:pt x="2910" y="1268"/>
                  <a:pt x="2909" y="1268"/>
                </a:cubicBezTo>
                <a:cubicBezTo>
                  <a:pt x="2907" y="1268"/>
                  <a:pt x="2910" y="1266"/>
                  <a:pt x="2910" y="1264"/>
                </a:cubicBezTo>
                <a:cubicBezTo>
                  <a:pt x="2910" y="1264"/>
                  <a:pt x="2909" y="1264"/>
                  <a:pt x="2908" y="1263"/>
                </a:cubicBezTo>
                <a:cubicBezTo>
                  <a:pt x="2907" y="1263"/>
                  <a:pt x="2907" y="1261"/>
                  <a:pt x="2907" y="1260"/>
                </a:cubicBezTo>
                <a:cubicBezTo>
                  <a:pt x="2907" y="1258"/>
                  <a:pt x="2905" y="1254"/>
                  <a:pt x="2906" y="1254"/>
                </a:cubicBezTo>
                <a:cubicBezTo>
                  <a:pt x="2906" y="1254"/>
                  <a:pt x="2907" y="1252"/>
                  <a:pt x="2908" y="1251"/>
                </a:cubicBezTo>
                <a:cubicBezTo>
                  <a:pt x="2908" y="1250"/>
                  <a:pt x="2907" y="1249"/>
                  <a:pt x="2907" y="1249"/>
                </a:cubicBezTo>
                <a:cubicBezTo>
                  <a:pt x="2907" y="1249"/>
                  <a:pt x="2907" y="1246"/>
                  <a:pt x="2907" y="1246"/>
                </a:cubicBezTo>
                <a:cubicBezTo>
                  <a:pt x="2908" y="1246"/>
                  <a:pt x="2908" y="1245"/>
                  <a:pt x="2910" y="1245"/>
                </a:cubicBezTo>
                <a:cubicBezTo>
                  <a:pt x="2911" y="1244"/>
                  <a:pt x="2911" y="1245"/>
                  <a:pt x="2911" y="1246"/>
                </a:cubicBezTo>
                <a:cubicBezTo>
                  <a:pt x="2911" y="1246"/>
                  <a:pt x="2910" y="1247"/>
                  <a:pt x="2910" y="1248"/>
                </a:cubicBezTo>
                <a:cubicBezTo>
                  <a:pt x="2910" y="1248"/>
                  <a:pt x="2910" y="1251"/>
                  <a:pt x="2910" y="1251"/>
                </a:cubicBezTo>
                <a:cubicBezTo>
                  <a:pt x="2911" y="1250"/>
                  <a:pt x="2911" y="1250"/>
                  <a:pt x="2912" y="1250"/>
                </a:cubicBezTo>
                <a:cubicBezTo>
                  <a:pt x="2913" y="1250"/>
                  <a:pt x="2913" y="1252"/>
                  <a:pt x="2915" y="1252"/>
                </a:cubicBezTo>
                <a:cubicBezTo>
                  <a:pt x="2915" y="1252"/>
                  <a:pt x="2916" y="1253"/>
                  <a:pt x="2916" y="1253"/>
                </a:cubicBezTo>
                <a:cubicBezTo>
                  <a:pt x="2916" y="1253"/>
                  <a:pt x="2918" y="1255"/>
                  <a:pt x="2918" y="1256"/>
                </a:cubicBezTo>
                <a:cubicBezTo>
                  <a:pt x="2919" y="1258"/>
                  <a:pt x="2916" y="1259"/>
                  <a:pt x="2916" y="1259"/>
                </a:cubicBezTo>
                <a:cubicBezTo>
                  <a:pt x="2916" y="1259"/>
                  <a:pt x="2915" y="1260"/>
                  <a:pt x="2915" y="1260"/>
                </a:cubicBezTo>
                <a:cubicBezTo>
                  <a:pt x="2915" y="1260"/>
                  <a:pt x="2915" y="1261"/>
                  <a:pt x="2914" y="1261"/>
                </a:cubicBezTo>
                <a:cubicBezTo>
                  <a:pt x="2914" y="1261"/>
                  <a:pt x="2915" y="1264"/>
                  <a:pt x="2915" y="1264"/>
                </a:cubicBezTo>
                <a:cubicBezTo>
                  <a:pt x="2915" y="1266"/>
                  <a:pt x="2915" y="1267"/>
                  <a:pt x="2913" y="1269"/>
                </a:cubicBezTo>
                <a:cubicBezTo>
                  <a:pt x="2912" y="1270"/>
                  <a:pt x="2913" y="1272"/>
                  <a:pt x="2913" y="1276"/>
                </a:cubicBezTo>
                <a:cubicBezTo>
                  <a:pt x="2913" y="1277"/>
                  <a:pt x="2916" y="1276"/>
                  <a:pt x="2916" y="1276"/>
                </a:cubicBezTo>
                <a:cubicBezTo>
                  <a:pt x="2917" y="1275"/>
                  <a:pt x="2917" y="1273"/>
                  <a:pt x="2917" y="1272"/>
                </a:cubicBezTo>
                <a:cubicBezTo>
                  <a:pt x="2917" y="1272"/>
                  <a:pt x="2919" y="1268"/>
                  <a:pt x="2919" y="1268"/>
                </a:cubicBezTo>
                <a:cubicBezTo>
                  <a:pt x="2919" y="1268"/>
                  <a:pt x="2920" y="1269"/>
                  <a:pt x="2921" y="1270"/>
                </a:cubicBezTo>
                <a:cubicBezTo>
                  <a:pt x="2921" y="1271"/>
                  <a:pt x="2920" y="1274"/>
                  <a:pt x="2920" y="1276"/>
                </a:cubicBezTo>
                <a:cubicBezTo>
                  <a:pt x="2920" y="1276"/>
                  <a:pt x="2918" y="1278"/>
                  <a:pt x="2918" y="1278"/>
                </a:cubicBezTo>
                <a:cubicBezTo>
                  <a:pt x="2918" y="1279"/>
                  <a:pt x="2917" y="1280"/>
                  <a:pt x="2918" y="1281"/>
                </a:cubicBezTo>
                <a:cubicBezTo>
                  <a:pt x="2918" y="1281"/>
                  <a:pt x="2919" y="1281"/>
                  <a:pt x="2919" y="1281"/>
                </a:cubicBezTo>
                <a:cubicBezTo>
                  <a:pt x="2920" y="1281"/>
                  <a:pt x="2923" y="1284"/>
                  <a:pt x="2924" y="1284"/>
                </a:cubicBezTo>
                <a:cubicBezTo>
                  <a:pt x="2927" y="1284"/>
                  <a:pt x="2927" y="1284"/>
                  <a:pt x="2930" y="1283"/>
                </a:cubicBezTo>
                <a:cubicBezTo>
                  <a:pt x="2932" y="1283"/>
                  <a:pt x="2932" y="1282"/>
                  <a:pt x="2934" y="1281"/>
                </a:cubicBezTo>
                <a:cubicBezTo>
                  <a:pt x="2936" y="1280"/>
                  <a:pt x="2937" y="1279"/>
                  <a:pt x="2937" y="1279"/>
                </a:cubicBezTo>
                <a:cubicBezTo>
                  <a:pt x="2937" y="1279"/>
                  <a:pt x="2939" y="1280"/>
                  <a:pt x="2940" y="1281"/>
                </a:cubicBezTo>
                <a:cubicBezTo>
                  <a:pt x="2940" y="1281"/>
                  <a:pt x="2934" y="1287"/>
                  <a:pt x="2933" y="1288"/>
                </a:cubicBezTo>
                <a:cubicBezTo>
                  <a:pt x="2933" y="1288"/>
                  <a:pt x="2930" y="1292"/>
                  <a:pt x="2929" y="1292"/>
                </a:cubicBezTo>
                <a:close/>
                <a:moveTo>
                  <a:pt x="2938" y="1348"/>
                </a:moveTo>
                <a:cubicBezTo>
                  <a:pt x="2937" y="1350"/>
                  <a:pt x="2935" y="1349"/>
                  <a:pt x="2935" y="1350"/>
                </a:cubicBezTo>
                <a:cubicBezTo>
                  <a:pt x="2935" y="1351"/>
                  <a:pt x="2936" y="1351"/>
                  <a:pt x="2935" y="1352"/>
                </a:cubicBezTo>
                <a:cubicBezTo>
                  <a:pt x="2934" y="1352"/>
                  <a:pt x="2933" y="1352"/>
                  <a:pt x="2933" y="1352"/>
                </a:cubicBezTo>
                <a:cubicBezTo>
                  <a:pt x="2933" y="1352"/>
                  <a:pt x="2933" y="1351"/>
                  <a:pt x="2933" y="1350"/>
                </a:cubicBezTo>
                <a:cubicBezTo>
                  <a:pt x="2933" y="1350"/>
                  <a:pt x="2933" y="1349"/>
                  <a:pt x="2933" y="1349"/>
                </a:cubicBezTo>
                <a:cubicBezTo>
                  <a:pt x="2933" y="1346"/>
                  <a:pt x="2935" y="1347"/>
                  <a:pt x="2938" y="1348"/>
                </a:cubicBezTo>
                <a:close/>
                <a:moveTo>
                  <a:pt x="2724" y="1424"/>
                </a:moveTo>
                <a:cubicBezTo>
                  <a:pt x="2722" y="1424"/>
                  <a:pt x="2719" y="1425"/>
                  <a:pt x="2720" y="1424"/>
                </a:cubicBezTo>
                <a:cubicBezTo>
                  <a:pt x="2721" y="1422"/>
                  <a:pt x="2724" y="1420"/>
                  <a:pt x="2726" y="1420"/>
                </a:cubicBezTo>
                <a:cubicBezTo>
                  <a:pt x="2727" y="1420"/>
                  <a:pt x="2727" y="1423"/>
                  <a:pt x="2724" y="1424"/>
                </a:cubicBezTo>
                <a:close/>
                <a:moveTo>
                  <a:pt x="2754" y="1395"/>
                </a:moveTo>
                <a:cubicBezTo>
                  <a:pt x="2753" y="1398"/>
                  <a:pt x="2750" y="1396"/>
                  <a:pt x="2751" y="1395"/>
                </a:cubicBezTo>
                <a:cubicBezTo>
                  <a:pt x="2752" y="1392"/>
                  <a:pt x="2756" y="1391"/>
                  <a:pt x="2754" y="1395"/>
                </a:cubicBezTo>
                <a:close/>
                <a:moveTo>
                  <a:pt x="2776" y="1383"/>
                </a:moveTo>
                <a:cubicBezTo>
                  <a:pt x="2772" y="1384"/>
                  <a:pt x="2769" y="1385"/>
                  <a:pt x="2767" y="1385"/>
                </a:cubicBezTo>
                <a:cubicBezTo>
                  <a:pt x="2766" y="1385"/>
                  <a:pt x="2765" y="1384"/>
                  <a:pt x="2766" y="1384"/>
                </a:cubicBezTo>
                <a:cubicBezTo>
                  <a:pt x="2767" y="1383"/>
                  <a:pt x="2771" y="1381"/>
                  <a:pt x="2771" y="1381"/>
                </a:cubicBezTo>
                <a:cubicBezTo>
                  <a:pt x="2771" y="1381"/>
                  <a:pt x="2773" y="1378"/>
                  <a:pt x="2774" y="1378"/>
                </a:cubicBezTo>
                <a:cubicBezTo>
                  <a:pt x="2776" y="1379"/>
                  <a:pt x="2779" y="1381"/>
                  <a:pt x="2776" y="1383"/>
                </a:cubicBezTo>
                <a:close/>
                <a:moveTo>
                  <a:pt x="2876" y="1320"/>
                </a:moveTo>
                <a:cubicBezTo>
                  <a:pt x="2876" y="1320"/>
                  <a:pt x="2873" y="1321"/>
                  <a:pt x="2872" y="1321"/>
                </a:cubicBezTo>
                <a:cubicBezTo>
                  <a:pt x="2871" y="1322"/>
                  <a:pt x="2872" y="1324"/>
                  <a:pt x="2872" y="1324"/>
                </a:cubicBezTo>
                <a:cubicBezTo>
                  <a:pt x="2872" y="1324"/>
                  <a:pt x="2871" y="1327"/>
                  <a:pt x="2871" y="1327"/>
                </a:cubicBezTo>
                <a:cubicBezTo>
                  <a:pt x="2871" y="1328"/>
                  <a:pt x="2869" y="1329"/>
                  <a:pt x="2867" y="1330"/>
                </a:cubicBezTo>
                <a:cubicBezTo>
                  <a:pt x="2865" y="1330"/>
                  <a:pt x="2864" y="1331"/>
                  <a:pt x="2864" y="1331"/>
                </a:cubicBezTo>
                <a:cubicBezTo>
                  <a:pt x="2864" y="1331"/>
                  <a:pt x="2859" y="1334"/>
                  <a:pt x="2859" y="1334"/>
                </a:cubicBezTo>
                <a:cubicBezTo>
                  <a:pt x="2858" y="1334"/>
                  <a:pt x="2853" y="1339"/>
                  <a:pt x="2853" y="1339"/>
                </a:cubicBezTo>
                <a:cubicBezTo>
                  <a:pt x="2853" y="1339"/>
                  <a:pt x="2850" y="1341"/>
                  <a:pt x="2848" y="1341"/>
                </a:cubicBezTo>
                <a:cubicBezTo>
                  <a:pt x="2847" y="1341"/>
                  <a:pt x="2848" y="1341"/>
                  <a:pt x="2846" y="1342"/>
                </a:cubicBezTo>
                <a:cubicBezTo>
                  <a:pt x="2844" y="1343"/>
                  <a:pt x="2845" y="1343"/>
                  <a:pt x="2845" y="1346"/>
                </a:cubicBezTo>
                <a:cubicBezTo>
                  <a:pt x="2845" y="1346"/>
                  <a:pt x="2843" y="1348"/>
                  <a:pt x="2842" y="1348"/>
                </a:cubicBezTo>
                <a:cubicBezTo>
                  <a:pt x="2841" y="1347"/>
                  <a:pt x="2840" y="1347"/>
                  <a:pt x="2839" y="1347"/>
                </a:cubicBezTo>
                <a:cubicBezTo>
                  <a:pt x="2839" y="1346"/>
                  <a:pt x="2837" y="1348"/>
                  <a:pt x="2837" y="1348"/>
                </a:cubicBezTo>
                <a:cubicBezTo>
                  <a:pt x="2836" y="1349"/>
                  <a:pt x="2828" y="1352"/>
                  <a:pt x="2826" y="1352"/>
                </a:cubicBezTo>
                <a:cubicBezTo>
                  <a:pt x="2826" y="1352"/>
                  <a:pt x="2822" y="1354"/>
                  <a:pt x="2821" y="1354"/>
                </a:cubicBezTo>
                <a:cubicBezTo>
                  <a:pt x="2821" y="1354"/>
                  <a:pt x="2818" y="1358"/>
                  <a:pt x="2818" y="1358"/>
                </a:cubicBezTo>
                <a:cubicBezTo>
                  <a:pt x="2818" y="1359"/>
                  <a:pt x="2813" y="1363"/>
                  <a:pt x="2812" y="1364"/>
                </a:cubicBezTo>
                <a:cubicBezTo>
                  <a:pt x="2811" y="1365"/>
                  <a:pt x="2807" y="1368"/>
                  <a:pt x="2807" y="1368"/>
                </a:cubicBezTo>
                <a:cubicBezTo>
                  <a:pt x="2807" y="1372"/>
                  <a:pt x="2807" y="1371"/>
                  <a:pt x="2803" y="1371"/>
                </a:cubicBezTo>
                <a:cubicBezTo>
                  <a:pt x="2799" y="1371"/>
                  <a:pt x="2801" y="1372"/>
                  <a:pt x="2801" y="1372"/>
                </a:cubicBezTo>
                <a:cubicBezTo>
                  <a:pt x="2795" y="1375"/>
                  <a:pt x="2798" y="1373"/>
                  <a:pt x="2792" y="1377"/>
                </a:cubicBezTo>
                <a:cubicBezTo>
                  <a:pt x="2788" y="1380"/>
                  <a:pt x="2788" y="1379"/>
                  <a:pt x="2785" y="1379"/>
                </a:cubicBezTo>
                <a:cubicBezTo>
                  <a:pt x="2782" y="1379"/>
                  <a:pt x="2784" y="1378"/>
                  <a:pt x="2781" y="1378"/>
                </a:cubicBezTo>
                <a:cubicBezTo>
                  <a:pt x="2779" y="1379"/>
                  <a:pt x="2780" y="1379"/>
                  <a:pt x="2778" y="1377"/>
                </a:cubicBezTo>
                <a:cubicBezTo>
                  <a:pt x="2777" y="1375"/>
                  <a:pt x="2779" y="1376"/>
                  <a:pt x="2774" y="1375"/>
                </a:cubicBezTo>
                <a:cubicBezTo>
                  <a:pt x="2772" y="1374"/>
                  <a:pt x="2769" y="1375"/>
                  <a:pt x="2768" y="1374"/>
                </a:cubicBezTo>
                <a:cubicBezTo>
                  <a:pt x="2768" y="1374"/>
                  <a:pt x="2769" y="1373"/>
                  <a:pt x="2768" y="1373"/>
                </a:cubicBezTo>
                <a:cubicBezTo>
                  <a:pt x="2768" y="1373"/>
                  <a:pt x="2768" y="1372"/>
                  <a:pt x="2768" y="1372"/>
                </a:cubicBezTo>
                <a:cubicBezTo>
                  <a:pt x="2768" y="1371"/>
                  <a:pt x="2769" y="1371"/>
                  <a:pt x="2769" y="1370"/>
                </a:cubicBezTo>
                <a:cubicBezTo>
                  <a:pt x="2769" y="1370"/>
                  <a:pt x="2773" y="1370"/>
                  <a:pt x="2773" y="1369"/>
                </a:cubicBezTo>
                <a:cubicBezTo>
                  <a:pt x="2774" y="1369"/>
                  <a:pt x="2774" y="1367"/>
                  <a:pt x="2774" y="1367"/>
                </a:cubicBezTo>
                <a:cubicBezTo>
                  <a:pt x="2774" y="1367"/>
                  <a:pt x="2774" y="1366"/>
                  <a:pt x="2774" y="1366"/>
                </a:cubicBezTo>
                <a:cubicBezTo>
                  <a:pt x="2775" y="1366"/>
                  <a:pt x="2778" y="1365"/>
                  <a:pt x="2779" y="1365"/>
                </a:cubicBezTo>
                <a:cubicBezTo>
                  <a:pt x="2779" y="1365"/>
                  <a:pt x="2779" y="1364"/>
                  <a:pt x="2780" y="1363"/>
                </a:cubicBezTo>
                <a:cubicBezTo>
                  <a:pt x="2783" y="1362"/>
                  <a:pt x="2784" y="1359"/>
                  <a:pt x="2787" y="1358"/>
                </a:cubicBezTo>
                <a:cubicBezTo>
                  <a:pt x="2791" y="1357"/>
                  <a:pt x="2789" y="1357"/>
                  <a:pt x="2793" y="1355"/>
                </a:cubicBezTo>
                <a:cubicBezTo>
                  <a:pt x="2796" y="1353"/>
                  <a:pt x="2796" y="1353"/>
                  <a:pt x="2796" y="1353"/>
                </a:cubicBezTo>
                <a:cubicBezTo>
                  <a:pt x="2798" y="1352"/>
                  <a:pt x="2799" y="1351"/>
                  <a:pt x="2801" y="1351"/>
                </a:cubicBezTo>
                <a:cubicBezTo>
                  <a:pt x="2802" y="1350"/>
                  <a:pt x="2802" y="1351"/>
                  <a:pt x="2803" y="1351"/>
                </a:cubicBezTo>
                <a:cubicBezTo>
                  <a:pt x="2805" y="1350"/>
                  <a:pt x="2806" y="1349"/>
                  <a:pt x="2808" y="1348"/>
                </a:cubicBezTo>
                <a:cubicBezTo>
                  <a:pt x="2812" y="1346"/>
                  <a:pt x="2815" y="1345"/>
                  <a:pt x="2819" y="1343"/>
                </a:cubicBezTo>
                <a:cubicBezTo>
                  <a:pt x="2825" y="1340"/>
                  <a:pt x="2830" y="1337"/>
                  <a:pt x="2836" y="1335"/>
                </a:cubicBezTo>
                <a:cubicBezTo>
                  <a:pt x="2836" y="1335"/>
                  <a:pt x="2842" y="1329"/>
                  <a:pt x="2844" y="1329"/>
                </a:cubicBezTo>
                <a:cubicBezTo>
                  <a:pt x="2845" y="1328"/>
                  <a:pt x="2847" y="1325"/>
                  <a:pt x="2847" y="1325"/>
                </a:cubicBezTo>
                <a:cubicBezTo>
                  <a:pt x="2849" y="1325"/>
                  <a:pt x="2848" y="1325"/>
                  <a:pt x="2851" y="1324"/>
                </a:cubicBezTo>
                <a:cubicBezTo>
                  <a:pt x="2853" y="1322"/>
                  <a:pt x="2853" y="1323"/>
                  <a:pt x="2854" y="1321"/>
                </a:cubicBezTo>
                <a:cubicBezTo>
                  <a:pt x="2855" y="1320"/>
                  <a:pt x="2855" y="1320"/>
                  <a:pt x="2857" y="1319"/>
                </a:cubicBezTo>
                <a:cubicBezTo>
                  <a:pt x="2858" y="1318"/>
                  <a:pt x="2860" y="1316"/>
                  <a:pt x="2861" y="1315"/>
                </a:cubicBezTo>
                <a:cubicBezTo>
                  <a:pt x="2862" y="1314"/>
                  <a:pt x="2863" y="1315"/>
                  <a:pt x="2864" y="1313"/>
                </a:cubicBezTo>
                <a:cubicBezTo>
                  <a:pt x="2864" y="1312"/>
                  <a:pt x="2866" y="1312"/>
                  <a:pt x="2866" y="1312"/>
                </a:cubicBezTo>
                <a:cubicBezTo>
                  <a:pt x="2866" y="1313"/>
                  <a:pt x="2865" y="1314"/>
                  <a:pt x="2865" y="1315"/>
                </a:cubicBezTo>
                <a:cubicBezTo>
                  <a:pt x="2865" y="1316"/>
                  <a:pt x="2867" y="1316"/>
                  <a:pt x="2867" y="1317"/>
                </a:cubicBezTo>
                <a:cubicBezTo>
                  <a:pt x="2866" y="1317"/>
                  <a:pt x="2865" y="1317"/>
                  <a:pt x="2865" y="1317"/>
                </a:cubicBezTo>
                <a:cubicBezTo>
                  <a:pt x="2865" y="1317"/>
                  <a:pt x="2865" y="1321"/>
                  <a:pt x="2865" y="1320"/>
                </a:cubicBezTo>
                <a:cubicBezTo>
                  <a:pt x="2866" y="1319"/>
                  <a:pt x="2867" y="1320"/>
                  <a:pt x="2868" y="1319"/>
                </a:cubicBezTo>
                <a:cubicBezTo>
                  <a:pt x="2869" y="1319"/>
                  <a:pt x="2871" y="1318"/>
                  <a:pt x="2872" y="1317"/>
                </a:cubicBezTo>
                <a:cubicBezTo>
                  <a:pt x="2876" y="1316"/>
                  <a:pt x="2876" y="1315"/>
                  <a:pt x="2876" y="1320"/>
                </a:cubicBezTo>
                <a:close/>
                <a:moveTo>
                  <a:pt x="2553" y="398"/>
                </a:moveTo>
                <a:cubicBezTo>
                  <a:pt x="2554" y="397"/>
                  <a:pt x="2554" y="397"/>
                  <a:pt x="2554" y="397"/>
                </a:cubicBezTo>
                <a:cubicBezTo>
                  <a:pt x="2554" y="397"/>
                  <a:pt x="2556" y="398"/>
                  <a:pt x="2555" y="399"/>
                </a:cubicBezTo>
                <a:cubicBezTo>
                  <a:pt x="2554" y="400"/>
                  <a:pt x="2554" y="399"/>
                  <a:pt x="2553" y="398"/>
                </a:cubicBezTo>
                <a:close/>
                <a:moveTo>
                  <a:pt x="2518" y="502"/>
                </a:moveTo>
                <a:cubicBezTo>
                  <a:pt x="2518" y="502"/>
                  <a:pt x="2518" y="501"/>
                  <a:pt x="2518" y="501"/>
                </a:cubicBezTo>
                <a:cubicBezTo>
                  <a:pt x="2519" y="500"/>
                  <a:pt x="2521" y="501"/>
                  <a:pt x="2520" y="502"/>
                </a:cubicBezTo>
                <a:cubicBezTo>
                  <a:pt x="2520" y="503"/>
                  <a:pt x="2519" y="503"/>
                  <a:pt x="2518" y="502"/>
                </a:cubicBezTo>
                <a:close/>
                <a:moveTo>
                  <a:pt x="2518" y="506"/>
                </a:moveTo>
                <a:cubicBezTo>
                  <a:pt x="2518" y="505"/>
                  <a:pt x="2518" y="504"/>
                  <a:pt x="2518" y="504"/>
                </a:cubicBezTo>
                <a:cubicBezTo>
                  <a:pt x="2519" y="504"/>
                  <a:pt x="2520" y="504"/>
                  <a:pt x="2520" y="504"/>
                </a:cubicBezTo>
                <a:cubicBezTo>
                  <a:pt x="2520" y="504"/>
                  <a:pt x="2520" y="506"/>
                  <a:pt x="2520" y="506"/>
                </a:cubicBezTo>
                <a:cubicBezTo>
                  <a:pt x="2520" y="506"/>
                  <a:pt x="2520" y="506"/>
                  <a:pt x="2519" y="506"/>
                </a:cubicBezTo>
                <a:cubicBezTo>
                  <a:pt x="2518" y="506"/>
                  <a:pt x="2518" y="508"/>
                  <a:pt x="2518" y="506"/>
                </a:cubicBezTo>
                <a:close/>
                <a:moveTo>
                  <a:pt x="2595" y="480"/>
                </a:moveTo>
                <a:cubicBezTo>
                  <a:pt x="2596" y="479"/>
                  <a:pt x="2596" y="479"/>
                  <a:pt x="2596" y="479"/>
                </a:cubicBezTo>
                <a:cubicBezTo>
                  <a:pt x="2596" y="479"/>
                  <a:pt x="2596" y="481"/>
                  <a:pt x="2596" y="481"/>
                </a:cubicBezTo>
                <a:cubicBezTo>
                  <a:pt x="2596" y="481"/>
                  <a:pt x="2595" y="480"/>
                  <a:pt x="2595" y="480"/>
                </a:cubicBezTo>
                <a:close/>
                <a:moveTo>
                  <a:pt x="2526" y="552"/>
                </a:moveTo>
                <a:cubicBezTo>
                  <a:pt x="2526" y="550"/>
                  <a:pt x="2526" y="550"/>
                  <a:pt x="2526" y="550"/>
                </a:cubicBezTo>
                <a:cubicBezTo>
                  <a:pt x="2526" y="550"/>
                  <a:pt x="2529" y="548"/>
                  <a:pt x="2529" y="548"/>
                </a:cubicBezTo>
                <a:cubicBezTo>
                  <a:pt x="2529" y="548"/>
                  <a:pt x="2530" y="549"/>
                  <a:pt x="2530" y="549"/>
                </a:cubicBezTo>
                <a:cubicBezTo>
                  <a:pt x="2530" y="550"/>
                  <a:pt x="2529" y="553"/>
                  <a:pt x="2529" y="553"/>
                </a:cubicBezTo>
                <a:cubicBezTo>
                  <a:pt x="2528" y="553"/>
                  <a:pt x="2528" y="555"/>
                  <a:pt x="2527" y="554"/>
                </a:cubicBezTo>
                <a:cubicBezTo>
                  <a:pt x="2527" y="554"/>
                  <a:pt x="2526" y="552"/>
                  <a:pt x="2526" y="552"/>
                </a:cubicBezTo>
                <a:close/>
                <a:moveTo>
                  <a:pt x="2526" y="535"/>
                </a:moveTo>
                <a:cubicBezTo>
                  <a:pt x="2525" y="533"/>
                  <a:pt x="2526" y="532"/>
                  <a:pt x="2527" y="531"/>
                </a:cubicBezTo>
                <a:cubicBezTo>
                  <a:pt x="2528" y="532"/>
                  <a:pt x="2528" y="532"/>
                  <a:pt x="2528" y="533"/>
                </a:cubicBezTo>
                <a:cubicBezTo>
                  <a:pt x="2527" y="535"/>
                  <a:pt x="2526" y="536"/>
                  <a:pt x="2526" y="535"/>
                </a:cubicBezTo>
                <a:close/>
                <a:moveTo>
                  <a:pt x="2520" y="568"/>
                </a:moveTo>
                <a:cubicBezTo>
                  <a:pt x="2521" y="567"/>
                  <a:pt x="2521" y="567"/>
                  <a:pt x="2521" y="567"/>
                </a:cubicBezTo>
                <a:cubicBezTo>
                  <a:pt x="2521" y="567"/>
                  <a:pt x="2523" y="567"/>
                  <a:pt x="2522" y="568"/>
                </a:cubicBezTo>
                <a:cubicBezTo>
                  <a:pt x="2520" y="571"/>
                  <a:pt x="2521" y="570"/>
                  <a:pt x="2519" y="572"/>
                </a:cubicBezTo>
                <a:cubicBezTo>
                  <a:pt x="2520" y="574"/>
                  <a:pt x="2519" y="574"/>
                  <a:pt x="2518" y="575"/>
                </a:cubicBezTo>
                <a:cubicBezTo>
                  <a:pt x="2517" y="571"/>
                  <a:pt x="2517" y="571"/>
                  <a:pt x="2520" y="568"/>
                </a:cubicBezTo>
                <a:close/>
                <a:moveTo>
                  <a:pt x="2603" y="468"/>
                </a:moveTo>
                <a:cubicBezTo>
                  <a:pt x="2605" y="469"/>
                  <a:pt x="2603" y="469"/>
                  <a:pt x="2603" y="470"/>
                </a:cubicBezTo>
                <a:cubicBezTo>
                  <a:pt x="2602" y="470"/>
                  <a:pt x="2602" y="470"/>
                  <a:pt x="2601" y="471"/>
                </a:cubicBezTo>
                <a:cubicBezTo>
                  <a:pt x="2600" y="471"/>
                  <a:pt x="2601" y="472"/>
                  <a:pt x="2602" y="474"/>
                </a:cubicBezTo>
                <a:cubicBezTo>
                  <a:pt x="2602" y="474"/>
                  <a:pt x="2602" y="476"/>
                  <a:pt x="2602" y="476"/>
                </a:cubicBezTo>
                <a:cubicBezTo>
                  <a:pt x="2602" y="477"/>
                  <a:pt x="2601" y="478"/>
                  <a:pt x="2600" y="478"/>
                </a:cubicBezTo>
                <a:cubicBezTo>
                  <a:pt x="2599" y="479"/>
                  <a:pt x="2597" y="476"/>
                  <a:pt x="2597" y="476"/>
                </a:cubicBezTo>
                <a:cubicBezTo>
                  <a:pt x="2596" y="473"/>
                  <a:pt x="2598" y="472"/>
                  <a:pt x="2598" y="471"/>
                </a:cubicBezTo>
                <a:cubicBezTo>
                  <a:pt x="2598" y="471"/>
                  <a:pt x="2596" y="468"/>
                  <a:pt x="2594" y="473"/>
                </a:cubicBezTo>
                <a:cubicBezTo>
                  <a:pt x="2593" y="473"/>
                  <a:pt x="2592" y="473"/>
                  <a:pt x="2591" y="473"/>
                </a:cubicBezTo>
                <a:cubicBezTo>
                  <a:pt x="2591" y="473"/>
                  <a:pt x="2591" y="475"/>
                  <a:pt x="2592" y="476"/>
                </a:cubicBezTo>
                <a:cubicBezTo>
                  <a:pt x="2592" y="478"/>
                  <a:pt x="2592" y="478"/>
                  <a:pt x="2591" y="480"/>
                </a:cubicBezTo>
                <a:cubicBezTo>
                  <a:pt x="2591" y="482"/>
                  <a:pt x="2591" y="480"/>
                  <a:pt x="2590" y="480"/>
                </a:cubicBezTo>
                <a:cubicBezTo>
                  <a:pt x="2589" y="480"/>
                  <a:pt x="2589" y="479"/>
                  <a:pt x="2589" y="477"/>
                </a:cubicBezTo>
                <a:cubicBezTo>
                  <a:pt x="2589" y="476"/>
                  <a:pt x="2589" y="477"/>
                  <a:pt x="2587" y="476"/>
                </a:cubicBezTo>
                <a:cubicBezTo>
                  <a:pt x="2584" y="475"/>
                  <a:pt x="2586" y="476"/>
                  <a:pt x="2585" y="477"/>
                </a:cubicBezTo>
                <a:cubicBezTo>
                  <a:pt x="2585" y="478"/>
                  <a:pt x="2584" y="479"/>
                  <a:pt x="2584" y="479"/>
                </a:cubicBezTo>
                <a:cubicBezTo>
                  <a:pt x="2584" y="480"/>
                  <a:pt x="2584" y="482"/>
                  <a:pt x="2583" y="481"/>
                </a:cubicBezTo>
                <a:cubicBezTo>
                  <a:pt x="2577" y="481"/>
                  <a:pt x="2577" y="481"/>
                  <a:pt x="2577" y="481"/>
                </a:cubicBezTo>
                <a:cubicBezTo>
                  <a:pt x="2576" y="481"/>
                  <a:pt x="2575" y="479"/>
                  <a:pt x="2575" y="479"/>
                </a:cubicBezTo>
                <a:cubicBezTo>
                  <a:pt x="2572" y="479"/>
                  <a:pt x="2572" y="480"/>
                  <a:pt x="2571" y="477"/>
                </a:cubicBezTo>
                <a:cubicBezTo>
                  <a:pt x="2570" y="476"/>
                  <a:pt x="2569" y="477"/>
                  <a:pt x="2569" y="478"/>
                </a:cubicBezTo>
                <a:cubicBezTo>
                  <a:pt x="2569" y="482"/>
                  <a:pt x="2569" y="480"/>
                  <a:pt x="2572" y="482"/>
                </a:cubicBezTo>
                <a:cubicBezTo>
                  <a:pt x="2573" y="483"/>
                  <a:pt x="2573" y="484"/>
                  <a:pt x="2572" y="485"/>
                </a:cubicBezTo>
                <a:cubicBezTo>
                  <a:pt x="2572" y="485"/>
                  <a:pt x="2571" y="485"/>
                  <a:pt x="2571" y="485"/>
                </a:cubicBezTo>
                <a:cubicBezTo>
                  <a:pt x="2571" y="485"/>
                  <a:pt x="2570" y="486"/>
                  <a:pt x="2570" y="486"/>
                </a:cubicBezTo>
                <a:cubicBezTo>
                  <a:pt x="2569" y="486"/>
                  <a:pt x="2569" y="486"/>
                  <a:pt x="2569" y="489"/>
                </a:cubicBezTo>
                <a:cubicBezTo>
                  <a:pt x="2568" y="495"/>
                  <a:pt x="2568" y="493"/>
                  <a:pt x="2566" y="494"/>
                </a:cubicBezTo>
                <a:cubicBezTo>
                  <a:pt x="2566" y="494"/>
                  <a:pt x="2565" y="493"/>
                  <a:pt x="2564" y="493"/>
                </a:cubicBezTo>
                <a:cubicBezTo>
                  <a:pt x="2563" y="493"/>
                  <a:pt x="2563" y="492"/>
                  <a:pt x="2563" y="492"/>
                </a:cubicBezTo>
                <a:cubicBezTo>
                  <a:pt x="2561" y="491"/>
                  <a:pt x="2557" y="486"/>
                  <a:pt x="2557" y="485"/>
                </a:cubicBezTo>
                <a:cubicBezTo>
                  <a:pt x="2557" y="484"/>
                  <a:pt x="2558" y="484"/>
                  <a:pt x="2558" y="484"/>
                </a:cubicBezTo>
                <a:cubicBezTo>
                  <a:pt x="2559" y="483"/>
                  <a:pt x="2559" y="481"/>
                  <a:pt x="2559" y="481"/>
                </a:cubicBezTo>
                <a:cubicBezTo>
                  <a:pt x="2559" y="480"/>
                  <a:pt x="2557" y="480"/>
                  <a:pt x="2557" y="480"/>
                </a:cubicBezTo>
                <a:cubicBezTo>
                  <a:pt x="2556" y="481"/>
                  <a:pt x="2557" y="481"/>
                  <a:pt x="2556" y="482"/>
                </a:cubicBezTo>
                <a:cubicBezTo>
                  <a:pt x="2556" y="482"/>
                  <a:pt x="2555" y="482"/>
                  <a:pt x="2555" y="482"/>
                </a:cubicBezTo>
                <a:cubicBezTo>
                  <a:pt x="2554" y="482"/>
                  <a:pt x="2555" y="481"/>
                  <a:pt x="2555" y="481"/>
                </a:cubicBezTo>
                <a:cubicBezTo>
                  <a:pt x="2554" y="480"/>
                  <a:pt x="2552" y="480"/>
                  <a:pt x="2551" y="480"/>
                </a:cubicBezTo>
                <a:cubicBezTo>
                  <a:pt x="2549" y="479"/>
                  <a:pt x="2546" y="481"/>
                  <a:pt x="2545" y="483"/>
                </a:cubicBezTo>
                <a:cubicBezTo>
                  <a:pt x="2545" y="483"/>
                  <a:pt x="2545" y="482"/>
                  <a:pt x="2544" y="482"/>
                </a:cubicBezTo>
                <a:cubicBezTo>
                  <a:pt x="2544" y="481"/>
                  <a:pt x="2542" y="483"/>
                  <a:pt x="2541" y="483"/>
                </a:cubicBezTo>
                <a:cubicBezTo>
                  <a:pt x="2541" y="483"/>
                  <a:pt x="2539" y="484"/>
                  <a:pt x="2539" y="484"/>
                </a:cubicBezTo>
                <a:cubicBezTo>
                  <a:pt x="2538" y="485"/>
                  <a:pt x="2536" y="485"/>
                  <a:pt x="2535" y="486"/>
                </a:cubicBezTo>
                <a:cubicBezTo>
                  <a:pt x="2535" y="486"/>
                  <a:pt x="2534" y="484"/>
                  <a:pt x="2534" y="484"/>
                </a:cubicBezTo>
                <a:cubicBezTo>
                  <a:pt x="2534" y="483"/>
                  <a:pt x="2533" y="483"/>
                  <a:pt x="2533" y="483"/>
                </a:cubicBezTo>
                <a:cubicBezTo>
                  <a:pt x="2530" y="485"/>
                  <a:pt x="2531" y="484"/>
                  <a:pt x="2532" y="487"/>
                </a:cubicBezTo>
                <a:cubicBezTo>
                  <a:pt x="2532" y="491"/>
                  <a:pt x="2531" y="489"/>
                  <a:pt x="2529" y="488"/>
                </a:cubicBezTo>
                <a:cubicBezTo>
                  <a:pt x="2526" y="488"/>
                  <a:pt x="2526" y="488"/>
                  <a:pt x="2526" y="488"/>
                </a:cubicBezTo>
                <a:cubicBezTo>
                  <a:pt x="2524" y="487"/>
                  <a:pt x="2521" y="489"/>
                  <a:pt x="2520" y="487"/>
                </a:cubicBezTo>
                <a:cubicBezTo>
                  <a:pt x="2518" y="486"/>
                  <a:pt x="2518" y="486"/>
                  <a:pt x="2518" y="486"/>
                </a:cubicBezTo>
                <a:cubicBezTo>
                  <a:pt x="2518" y="483"/>
                  <a:pt x="2518" y="483"/>
                  <a:pt x="2518" y="483"/>
                </a:cubicBezTo>
                <a:cubicBezTo>
                  <a:pt x="2520" y="483"/>
                  <a:pt x="2520" y="483"/>
                  <a:pt x="2520" y="483"/>
                </a:cubicBezTo>
                <a:cubicBezTo>
                  <a:pt x="2522" y="482"/>
                  <a:pt x="2522" y="482"/>
                  <a:pt x="2522" y="482"/>
                </a:cubicBezTo>
                <a:cubicBezTo>
                  <a:pt x="2525" y="479"/>
                  <a:pt x="2525" y="479"/>
                  <a:pt x="2525" y="479"/>
                </a:cubicBezTo>
                <a:cubicBezTo>
                  <a:pt x="2526" y="477"/>
                  <a:pt x="2528" y="475"/>
                  <a:pt x="2530" y="474"/>
                </a:cubicBezTo>
                <a:cubicBezTo>
                  <a:pt x="2530" y="472"/>
                  <a:pt x="2530" y="472"/>
                  <a:pt x="2530" y="472"/>
                </a:cubicBezTo>
                <a:cubicBezTo>
                  <a:pt x="2530" y="472"/>
                  <a:pt x="2530" y="472"/>
                  <a:pt x="2530" y="472"/>
                </a:cubicBezTo>
                <a:cubicBezTo>
                  <a:pt x="2532" y="471"/>
                  <a:pt x="2532" y="471"/>
                  <a:pt x="2532" y="471"/>
                </a:cubicBezTo>
                <a:cubicBezTo>
                  <a:pt x="2534" y="470"/>
                  <a:pt x="2534" y="470"/>
                  <a:pt x="2534" y="470"/>
                </a:cubicBezTo>
                <a:cubicBezTo>
                  <a:pt x="2534" y="470"/>
                  <a:pt x="2536" y="472"/>
                  <a:pt x="2537" y="472"/>
                </a:cubicBezTo>
                <a:cubicBezTo>
                  <a:pt x="2537" y="472"/>
                  <a:pt x="2537" y="472"/>
                  <a:pt x="2538" y="472"/>
                </a:cubicBezTo>
                <a:cubicBezTo>
                  <a:pt x="2538" y="472"/>
                  <a:pt x="2539" y="472"/>
                  <a:pt x="2540" y="472"/>
                </a:cubicBezTo>
                <a:cubicBezTo>
                  <a:pt x="2540" y="472"/>
                  <a:pt x="2542" y="472"/>
                  <a:pt x="2543" y="472"/>
                </a:cubicBezTo>
                <a:cubicBezTo>
                  <a:pt x="2543" y="472"/>
                  <a:pt x="2546" y="470"/>
                  <a:pt x="2547" y="470"/>
                </a:cubicBezTo>
                <a:cubicBezTo>
                  <a:pt x="2548" y="470"/>
                  <a:pt x="2548" y="470"/>
                  <a:pt x="2549" y="470"/>
                </a:cubicBezTo>
                <a:cubicBezTo>
                  <a:pt x="2549" y="470"/>
                  <a:pt x="2551" y="468"/>
                  <a:pt x="2552" y="468"/>
                </a:cubicBezTo>
                <a:cubicBezTo>
                  <a:pt x="2553" y="468"/>
                  <a:pt x="2555" y="470"/>
                  <a:pt x="2556" y="470"/>
                </a:cubicBezTo>
                <a:cubicBezTo>
                  <a:pt x="2557" y="471"/>
                  <a:pt x="2558" y="470"/>
                  <a:pt x="2559" y="470"/>
                </a:cubicBezTo>
                <a:cubicBezTo>
                  <a:pt x="2560" y="468"/>
                  <a:pt x="2557" y="466"/>
                  <a:pt x="2557" y="465"/>
                </a:cubicBezTo>
                <a:cubicBezTo>
                  <a:pt x="2558" y="464"/>
                  <a:pt x="2559" y="464"/>
                  <a:pt x="2560" y="460"/>
                </a:cubicBezTo>
                <a:cubicBezTo>
                  <a:pt x="2560" y="459"/>
                  <a:pt x="2560" y="456"/>
                  <a:pt x="2559" y="455"/>
                </a:cubicBezTo>
                <a:cubicBezTo>
                  <a:pt x="2559" y="454"/>
                  <a:pt x="2556" y="454"/>
                  <a:pt x="2558" y="451"/>
                </a:cubicBezTo>
                <a:cubicBezTo>
                  <a:pt x="2560" y="448"/>
                  <a:pt x="2562" y="448"/>
                  <a:pt x="2563" y="449"/>
                </a:cubicBezTo>
                <a:cubicBezTo>
                  <a:pt x="2563" y="451"/>
                  <a:pt x="2561" y="452"/>
                  <a:pt x="2560" y="453"/>
                </a:cubicBezTo>
                <a:cubicBezTo>
                  <a:pt x="2560" y="453"/>
                  <a:pt x="2561" y="454"/>
                  <a:pt x="2561" y="454"/>
                </a:cubicBezTo>
                <a:cubicBezTo>
                  <a:pt x="2563" y="457"/>
                  <a:pt x="2563" y="457"/>
                  <a:pt x="2563" y="457"/>
                </a:cubicBezTo>
                <a:cubicBezTo>
                  <a:pt x="2564" y="457"/>
                  <a:pt x="2565" y="457"/>
                  <a:pt x="2565" y="457"/>
                </a:cubicBezTo>
                <a:cubicBezTo>
                  <a:pt x="2566" y="457"/>
                  <a:pt x="2566" y="456"/>
                  <a:pt x="2567" y="455"/>
                </a:cubicBezTo>
                <a:cubicBezTo>
                  <a:pt x="2568" y="455"/>
                  <a:pt x="2569" y="455"/>
                  <a:pt x="2570" y="454"/>
                </a:cubicBezTo>
                <a:cubicBezTo>
                  <a:pt x="2574" y="452"/>
                  <a:pt x="2572" y="452"/>
                  <a:pt x="2574" y="449"/>
                </a:cubicBezTo>
                <a:cubicBezTo>
                  <a:pt x="2575" y="448"/>
                  <a:pt x="2574" y="446"/>
                  <a:pt x="2574" y="445"/>
                </a:cubicBezTo>
                <a:cubicBezTo>
                  <a:pt x="2575" y="445"/>
                  <a:pt x="2575" y="445"/>
                  <a:pt x="2576" y="444"/>
                </a:cubicBezTo>
                <a:cubicBezTo>
                  <a:pt x="2579" y="441"/>
                  <a:pt x="2577" y="441"/>
                  <a:pt x="2577" y="439"/>
                </a:cubicBezTo>
                <a:cubicBezTo>
                  <a:pt x="2575" y="436"/>
                  <a:pt x="2577" y="437"/>
                  <a:pt x="2577" y="434"/>
                </a:cubicBezTo>
                <a:cubicBezTo>
                  <a:pt x="2577" y="434"/>
                  <a:pt x="2576" y="433"/>
                  <a:pt x="2576" y="433"/>
                </a:cubicBezTo>
                <a:cubicBezTo>
                  <a:pt x="2575" y="431"/>
                  <a:pt x="2576" y="428"/>
                  <a:pt x="2575" y="426"/>
                </a:cubicBezTo>
                <a:cubicBezTo>
                  <a:pt x="2575" y="425"/>
                  <a:pt x="2574" y="425"/>
                  <a:pt x="2573" y="424"/>
                </a:cubicBezTo>
                <a:cubicBezTo>
                  <a:pt x="2573" y="423"/>
                  <a:pt x="2572" y="424"/>
                  <a:pt x="2570" y="422"/>
                </a:cubicBezTo>
                <a:cubicBezTo>
                  <a:pt x="2571" y="421"/>
                  <a:pt x="2571" y="421"/>
                  <a:pt x="2571" y="421"/>
                </a:cubicBezTo>
                <a:cubicBezTo>
                  <a:pt x="2571" y="419"/>
                  <a:pt x="2571" y="419"/>
                  <a:pt x="2571" y="419"/>
                </a:cubicBezTo>
                <a:cubicBezTo>
                  <a:pt x="2571" y="418"/>
                  <a:pt x="2567" y="416"/>
                  <a:pt x="2568" y="415"/>
                </a:cubicBezTo>
                <a:cubicBezTo>
                  <a:pt x="2569" y="412"/>
                  <a:pt x="2569" y="412"/>
                  <a:pt x="2569" y="412"/>
                </a:cubicBezTo>
                <a:cubicBezTo>
                  <a:pt x="2569" y="411"/>
                  <a:pt x="2569" y="411"/>
                  <a:pt x="2569" y="411"/>
                </a:cubicBezTo>
                <a:cubicBezTo>
                  <a:pt x="2567" y="409"/>
                  <a:pt x="2567" y="409"/>
                  <a:pt x="2567" y="409"/>
                </a:cubicBezTo>
                <a:cubicBezTo>
                  <a:pt x="2570" y="408"/>
                  <a:pt x="2570" y="408"/>
                  <a:pt x="2571" y="409"/>
                </a:cubicBezTo>
                <a:cubicBezTo>
                  <a:pt x="2572" y="410"/>
                  <a:pt x="2571" y="412"/>
                  <a:pt x="2574" y="412"/>
                </a:cubicBezTo>
                <a:cubicBezTo>
                  <a:pt x="2575" y="411"/>
                  <a:pt x="2575" y="411"/>
                  <a:pt x="2575" y="411"/>
                </a:cubicBezTo>
                <a:cubicBezTo>
                  <a:pt x="2575" y="411"/>
                  <a:pt x="2576" y="413"/>
                  <a:pt x="2577" y="412"/>
                </a:cubicBezTo>
                <a:cubicBezTo>
                  <a:pt x="2576" y="409"/>
                  <a:pt x="2577" y="410"/>
                  <a:pt x="2575" y="408"/>
                </a:cubicBezTo>
                <a:cubicBezTo>
                  <a:pt x="2571" y="410"/>
                  <a:pt x="2573" y="409"/>
                  <a:pt x="2571" y="408"/>
                </a:cubicBezTo>
                <a:cubicBezTo>
                  <a:pt x="2571" y="407"/>
                  <a:pt x="2571" y="405"/>
                  <a:pt x="2571" y="405"/>
                </a:cubicBezTo>
                <a:cubicBezTo>
                  <a:pt x="2573" y="405"/>
                  <a:pt x="2573" y="405"/>
                  <a:pt x="2573" y="405"/>
                </a:cubicBezTo>
                <a:cubicBezTo>
                  <a:pt x="2574" y="406"/>
                  <a:pt x="2574" y="407"/>
                  <a:pt x="2575" y="407"/>
                </a:cubicBezTo>
                <a:cubicBezTo>
                  <a:pt x="2577" y="407"/>
                  <a:pt x="2576" y="406"/>
                  <a:pt x="2577" y="408"/>
                </a:cubicBezTo>
                <a:cubicBezTo>
                  <a:pt x="2578" y="409"/>
                  <a:pt x="2579" y="410"/>
                  <a:pt x="2580" y="411"/>
                </a:cubicBezTo>
                <a:cubicBezTo>
                  <a:pt x="2580" y="411"/>
                  <a:pt x="2581" y="412"/>
                  <a:pt x="2581" y="413"/>
                </a:cubicBezTo>
                <a:cubicBezTo>
                  <a:pt x="2582" y="415"/>
                  <a:pt x="2583" y="415"/>
                  <a:pt x="2584" y="416"/>
                </a:cubicBezTo>
                <a:cubicBezTo>
                  <a:pt x="2590" y="422"/>
                  <a:pt x="2590" y="422"/>
                  <a:pt x="2590" y="422"/>
                </a:cubicBezTo>
                <a:cubicBezTo>
                  <a:pt x="2592" y="424"/>
                  <a:pt x="2592" y="425"/>
                  <a:pt x="2594" y="427"/>
                </a:cubicBezTo>
                <a:cubicBezTo>
                  <a:pt x="2594" y="427"/>
                  <a:pt x="2595" y="431"/>
                  <a:pt x="2595" y="431"/>
                </a:cubicBezTo>
                <a:cubicBezTo>
                  <a:pt x="2595" y="431"/>
                  <a:pt x="2594" y="435"/>
                  <a:pt x="2594" y="437"/>
                </a:cubicBezTo>
                <a:cubicBezTo>
                  <a:pt x="2595" y="438"/>
                  <a:pt x="2595" y="438"/>
                  <a:pt x="2595" y="438"/>
                </a:cubicBezTo>
                <a:cubicBezTo>
                  <a:pt x="2595" y="439"/>
                  <a:pt x="2596" y="440"/>
                  <a:pt x="2596" y="441"/>
                </a:cubicBezTo>
                <a:cubicBezTo>
                  <a:pt x="2596" y="441"/>
                  <a:pt x="2594" y="439"/>
                  <a:pt x="2593" y="439"/>
                </a:cubicBezTo>
                <a:cubicBezTo>
                  <a:pt x="2593" y="439"/>
                  <a:pt x="2592" y="441"/>
                  <a:pt x="2592" y="441"/>
                </a:cubicBezTo>
                <a:cubicBezTo>
                  <a:pt x="2592" y="441"/>
                  <a:pt x="2593" y="443"/>
                  <a:pt x="2593" y="444"/>
                </a:cubicBezTo>
                <a:cubicBezTo>
                  <a:pt x="2593" y="445"/>
                  <a:pt x="2596" y="449"/>
                  <a:pt x="2597" y="451"/>
                </a:cubicBezTo>
                <a:cubicBezTo>
                  <a:pt x="2598" y="452"/>
                  <a:pt x="2598" y="455"/>
                  <a:pt x="2598" y="455"/>
                </a:cubicBezTo>
                <a:cubicBezTo>
                  <a:pt x="2598" y="456"/>
                  <a:pt x="2597" y="457"/>
                  <a:pt x="2597" y="458"/>
                </a:cubicBezTo>
                <a:cubicBezTo>
                  <a:pt x="2597" y="460"/>
                  <a:pt x="2598" y="462"/>
                  <a:pt x="2599" y="464"/>
                </a:cubicBezTo>
                <a:cubicBezTo>
                  <a:pt x="2599" y="464"/>
                  <a:pt x="2600" y="465"/>
                  <a:pt x="2600" y="465"/>
                </a:cubicBezTo>
                <a:cubicBezTo>
                  <a:pt x="2601" y="466"/>
                  <a:pt x="2602" y="467"/>
                  <a:pt x="2603" y="468"/>
                </a:cubicBezTo>
                <a:close/>
                <a:moveTo>
                  <a:pt x="2608" y="382"/>
                </a:moveTo>
                <a:cubicBezTo>
                  <a:pt x="2606" y="382"/>
                  <a:pt x="2607" y="384"/>
                  <a:pt x="2606" y="380"/>
                </a:cubicBezTo>
                <a:cubicBezTo>
                  <a:pt x="2607" y="378"/>
                  <a:pt x="2607" y="378"/>
                  <a:pt x="2607" y="378"/>
                </a:cubicBezTo>
                <a:cubicBezTo>
                  <a:pt x="2608" y="380"/>
                  <a:pt x="2608" y="380"/>
                  <a:pt x="2608" y="380"/>
                </a:cubicBezTo>
                <a:cubicBezTo>
                  <a:pt x="2608" y="380"/>
                  <a:pt x="2609" y="381"/>
                  <a:pt x="2608" y="382"/>
                </a:cubicBezTo>
                <a:close/>
                <a:moveTo>
                  <a:pt x="2539" y="484"/>
                </a:moveTo>
                <a:cubicBezTo>
                  <a:pt x="2539" y="484"/>
                  <a:pt x="2539" y="484"/>
                  <a:pt x="2539" y="484"/>
                </a:cubicBezTo>
                <a:cubicBezTo>
                  <a:pt x="2539" y="484"/>
                  <a:pt x="2539" y="484"/>
                  <a:pt x="2539" y="484"/>
                </a:cubicBezTo>
                <a:close/>
                <a:moveTo>
                  <a:pt x="2614" y="363"/>
                </a:moveTo>
                <a:cubicBezTo>
                  <a:pt x="2614" y="364"/>
                  <a:pt x="2615" y="365"/>
                  <a:pt x="2613" y="365"/>
                </a:cubicBezTo>
                <a:cubicBezTo>
                  <a:pt x="2612" y="365"/>
                  <a:pt x="2612" y="365"/>
                  <a:pt x="2612" y="365"/>
                </a:cubicBezTo>
                <a:cubicBezTo>
                  <a:pt x="2611" y="365"/>
                  <a:pt x="2611" y="364"/>
                  <a:pt x="2611" y="365"/>
                </a:cubicBezTo>
                <a:cubicBezTo>
                  <a:pt x="2609" y="368"/>
                  <a:pt x="2610" y="368"/>
                  <a:pt x="2607" y="370"/>
                </a:cubicBezTo>
                <a:cubicBezTo>
                  <a:pt x="2606" y="371"/>
                  <a:pt x="2605" y="372"/>
                  <a:pt x="2605" y="372"/>
                </a:cubicBezTo>
                <a:cubicBezTo>
                  <a:pt x="2606" y="372"/>
                  <a:pt x="2604" y="374"/>
                  <a:pt x="2604" y="374"/>
                </a:cubicBezTo>
                <a:cubicBezTo>
                  <a:pt x="2604" y="369"/>
                  <a:pt x="2604" y="369"/>
                  <a:pt x="2604" y="369"/>
                </a:cubicBezTo>
                <a:cubicBezTo>
                  <a:pt x="2604" y="368"/>
                  <a:pt x="2606" y="368"/>
                  <a:pt x="2606" y="366"/>
                </a:cubicBezTo>
                <a:cubicBezTo>
                  <a:pt x="2606" y="366"/>
                  <a:pt x="2606" y="363"/>
                  <a:pt x="2606" y="363"/>
                </a:cubicBezTo>
                <a:cubicBezTo>
                  <a:pt x="2606" y="363"/>
                  <a:pt x="2607" y="362"/>
                  <a:pt x="2607" y="363"/>
                </a:cubicBezTo>
                <a:cubicBezTo>
                  <a:pt x="2608" y="365"/>
                  <a:pt x="2608" y="365"/>
                  <a:pt x="2611" y="364"/>
                </a:cubicBezTo>
                <a:cubicBezTo>
                  <a:pt x="2611" y="364"/>
                  <a:pt x="2611" y="362"/>
                  <a:pt x="2612" y="362"/>
                </a:cubicBezTo>
                <a:cubicBezTo>
                  <a:pt x="2613" y="362"/>
                  <a:pt x="2613" y="361"/>
                  <a:pt x="2614" y="362"/>
                </a:cubicBezTo>
                <a:cubicBezTo>
                  <a:pt x="2614" y="362"/>
                  <a:pt x="2615" y="362"/>
                  <a:pt x="2614" y="363"/>
                </a:cubicBezTo>
                <a:close/>
                <a:moveTo>
                  <a:pt x="2595" y="383"/>
                </a:moveTo>
                <a:cubicBezTo>
                  <a:pt x="2595" y="383"/>
                  <a:pt x="2596" y="385"/>
                  <a:pt x="2597" y="385"/>
                </a:cubicBezTo>
                <a:cubicBezTo>
                  <a:pt x="2599" y="386"/>
                  <a:pt x="2599" y="385"/>
                  <a:pt x="2599" y="385"/>
                </a:cubicBezTo>
                <a:cubicBezTo>
                  <a:pt x="2599" y="385"/>
                  <a:pt x="2602" y="384"/>
                  <a:pt x="2602" y="384"/>
                </a:cubicBezTo>
                <a:cubicBezTo>
                  <a:pt x="2603" y="384"/>
                  <a:pt x="2602" y="386"/>
                  <a:pt x="2602" y="387"/>
                </a:cubicBezTo>
                <a:cubicBezTo>
                  <a:pt x="2602" y="388"/>
                  <a:pt x="2600" y="387"/>
                  <a:pt x="2599" y="387"/>
                </a:cubicBezTo>
                <a:cubicBezTo>
                  <a:pt x="2599" y="387"/>
                  <a:pt x="2598" y="389"/>
                  <a:pt x="2596" y="389"/>
                </a:cubicBezTo>
                <a:cubicBezTo>
                  <a:pt x="2589" y="390"/>
                  <a:pt x="2589" y="390"/>
                  <a:pt x="2589" y="390"/>
                </a:cubicBezTo>
                <a:cubicBezTo>
                  <a:pt x="2588" y="392"/>
                  <a:pt x="2588" y="392"/>
                  <a:pt x="2588" y="392"/>
                </a:cubicBezTo>
                <a:cubicBezTo>
                  <a:pt x="2588" y="393"/>
                  <a:pt x="2590" y="399"/>
                  <a:pt x="2590" y="400"/>
                </a:cubicBezTo>
                <a:cubicBezTo>
                  <a:pt x="2587" y="400"/>
                  <a:pt x="2587" y="400"/>
                  <a:pt x="2587" y="400"/>
                </a:cubicBezTo>
                <a:cubicBezTo>
                  <a:pt x="2585" y="400"/>
                  <a:pt x="2585" y="400"/>
                  <a:pt x="2585" y="400"/>
                </a:cubicBezTo>
                <a:cubicBezTo>
                  <a:pt x="2570" y="393"/>
                  <a:pt x="2570" y="393"/>
                  <a:pt x="2570" y="393"/>
                </a:cubicBezTo>
                <a:cubicBezTo>
                  <a:pt x="2566" y="396"/>
                  <a:pt x="2566" y="396"/>
                  <a:pt x="2566" y="396"/>
                </a:cubicBezTo>
                <a:cubicBezTo>
                  <a:pt x="2564" y="395"/>
                  <a:pt x="2565" y="395"/>
                  <a:pt x="2563" y="394"/>
                </a:cubicBezTo>
                <a:cubicBezTo>
                  <a:pt x="2561" y="394"/>
                  <a:pt x="2561" y="394"/>
                  <a:pt x="2561" y="394"/>
                </a:cubicBezTo>
                <a:cubicBezTo>
                  <a:pt x="2560" y="396"/>
                  <a:pt x="2560" y="396"/>
                  <a:pt x="2560" y="396"/>
                </a:cubicBezTo>
                <a:cubicBezTo>
                  <a:pt x="2564" y="400"/>
                  <a:pt x="2562" y="398"/>
                  <a:pt x="2567" y="399"/>
                </a:cubicBezTo>
                <a:cubicBezTo>
                  <a:pt x="2567" y="399"/>
                  <a:pt x="2569" y="400"/>
                  <a:pt x="2572" y="401"/>
                </a:cubicBezTo>
                <a:cubicBezTo>
                  <a:pt x="2574" y="402"/>
                  <a:pt x="2571" y="403"/>
                  <a:pt x="2571" y="403"/>
                </a:cubicBezTo>
                <a:cubicBezTo>
                  <a:pt x="2569" y="402"/>
                  <a:pt x="2569" y="402"/>
                  <a:pt x="2569" y="402"/>
                </a:cubicBezTo>
                <a:cubicBezTo>
                  <a:pt x="2567" y="403"/>
                  <a:pt x="2567" y="403"/>
                  <a:pt x="2567" y="403"/>
                </a:cubicBezTo>
                <a:cubicBezTo>
                  <a:pt x="2568" y="407"/>
                  <a:pt x="2567" y="407"/>
                  <a:pt x="2564" y="407"/>
                </a:cubicBezTo>
                <a:cubicBezTo>
                  <a:pt x="2563" y="405"/>
                  <a:pt x="2563" y="405"/>
                  <a:pt x="2563" y="405"/>
                </a:cubicBezTo>
                <a:cubicBezTo>
                  <a:pt x="2563" y="405"/>
                  <a:pt x="2563" y="405"/>
                  <a:pt x="2563" y="405"/>
                </a:cubicBezTo>
                <a:cubicBezTo>
                  <a:pt x="2563" y="405"/>
                  <a:pt x="2562" y="405"/>
                  <a:pt x="2562" y="405"/>
                </a:cubicBezTo>
                <a:cubicBezTo>
                  <a:pt x="2562" y="401"/>
                  <a:pt x="2562" y="401"/>
                  <a:pt x="2562" y="401"/>
                </a:cubicBezTo>
                <a:cubicBezTo>
                  <a:pt x="2560" y="398"/>
                  <a:pt x="2560" y="398"/>
                  <a:pt x="2560" y="398"/>
                </a:cubicBezTo>
                <a:cubicBezTo>
                  <a:pt x="2560" y="398"/>
                  <a:pt x="2557" y="397"/>
                  <a:pt x="2556" y="397"/>
                </a:cubicBezTo>
                <a:cubicBezTo>
                  <a:pt x="2554" y="397"/>
                  <a:pt x="2555" y="396"/>
                  <a:pt x="2555" y="396"/>
                </a:cubicBezTo>
                <a:cubicBezTo>
                  <a:pt x="2554" y="393"/>
                  <a:pt x="2554" y="393"/>
                  <a:pt x="2554" y="393"/>
                </a:cubicBezTo>
                <a:cubicBezTo>
                  <a:pt x="2556" y="391"/>
                  <a:pt x="2556" y="391"/>
                  <a:pt x="2556" y="391"/>
                </a:cubicBezTo>
                <a:cubicBezTo>
                  <a:pt x="2557" y="390"/>
                  <a:pt x="2557" y="390"/>
                  <a:pt x="2557" y="390"/>
                </a:cubicBezTo>
                <a:cubicBezTo>
                  <a:pt x="2557" y="388"/>
                  <a:pt x="2557" y="388"/>
                  <a:pt x="2557" y="388"/>
                </a:cubicBezTo>
                <a:cubicBezTo>
                  <a:pt x="2555" y="387"/>
                  <a:pt x="2555" y="387"/>
                  <a:pt x="2555" y="387"/>
                </a:cubicBezTo>
                <a:cubicBezTo>
                  <a:pt x="2555" y="385"/>
                  <a:pt x="2555" y="385"/>
                  <a:pt x="2555" y="385"/>
                </a:cubicBezTo>
                <a:cubicBezTo>
                  <a:pt x="2557" y="386"/>
                  <a:pt x="2557" y="386"/>
                  <a:pt x="2557" y="386"/>
                </a:cubicBezTo>
                <a:cubicBezTo>
                  <a:pt x="2557" y="386"/>
                  <a:pt x="2560" y="387"/>
                  <a:pt x="2562" y="387"/>
                </a:cubicBezTo>
                <a:cubicBezTo>
                  <a:pt x="2564" y="387"/>
                  <a:pt x="2563" y="386"/>
                  <a:pt x="2563" y="386"/>
                </a:cubicBezTo>
                <a:cubicBezTo>
                  <a:pt x="2564" y="385"/>
                  <a:pt x="2564" y="385"/>
                  <a:pt x="2564" y="385"/>
                </a:cubicBezTo>
                <a:cubicBezTo>
                  <a:pt x="2562" y="383"/>
                  <a:pt x="2562" y="383"/>
                  <a:pt x="2560" y="381"/>
                </a:cubicBezTo>
                <a:cubicBezTo>
                  <a:pt x="2560" y="381"/>
                  <a:pt x="2562" y="380"/>
                  <a:pt x="2563" y="380"/>
                </a:cubicBezTo>
                <a:cubicBezTo>
                  <a:pt x="2564" y="380"/>
                  <a:pt x="2560" y="376"/>
                  <a:pt x="2560" y="376"/>
                </a:cubicBezTo>
                <a:cubicBezTo>
                  <a:pt x="2559" y="376"/>
                  <a:pt x="2558" y="372"/>
                  <a:pt x="2558" y="372"/>
                </a:cubicBezTo>
                <a:cubicBezTo>
                  <a:pt x="2558" y="369"/>
                  <a:pt x="2558" y="369"/>
                  <a:pt x="2558" y="369"/>
                </a:cubicBezTo>
                <a:cubicBezTo>
                  <a:pt x="2554" y="366"/>
                  <a:pt x="2554" y="366"/>
                  <a:pt x="2551" y="363"/>
                </a:cubicBezTo>
                <a:cubicBezTo>
                  <a:pt x="2554" y="361"/>
                  <a:pt x="2554" y="361"/>
                  <a:pt x="2554" y="361"/>
                </a:cubicBezTo>
                <a:cubicBezTo>
                  <a:pt x="2557" y="362"/>
                  <a:pt x="2555" y="362"/>
                  <a:pt x="2559" y="365"/>
                </a:cubicBezTo>
                <a:cubicBezTo>
                  <a:pt x="2560" y="366"/>
                  <a:pt x="2564" y="368"/>
                  <a:pt x="2564" y="368"/>
                </a:cubicBezTo>
                <a:cubicBezTo>
                  <a:pt x="2567" y="371"/>
                  <a:pt x="2567" y="371"/>
                  <a:pt x="2567" y="371"/>
                </a:cubicBezTo>
                <a:cubicBezTo>
                  <a:pt x="2567" y="371"/>
                  <a:pt x="2571" y="373"/>
                  <a:pt x="2571" y="373"/>
                </a:cubicBezTo>
                <a:cubicBezTo>
                  <a:pt x="2572" y="374"/>
                  <a:pt x="2574" y="373"/>
                  <a:pt x="2574" y="373"/>
                </a:cubicBezTo>
                <a:cubicBezTo>
                  <a:pt x="2578" y="377"/>
                  <a:pt x="2578" y="377"/>
                  <a:pt x="2578" y="377"/>
                </a:cubicBezTo>
                <a:cubicBezTo>
                  <a:pt x="2578" y="377"/>
                  <a:pt x="2583" y="376"/>
                  <a:pt x="2584" y="377"/>
                </a:cubicBezTo>
                <a:cubicBezTo>
                  <a:pt x="2586" y="379"/>
                  <a:pt x="2586" y="379"/>
                  <a:pt x="2586" y="379"/>
                </a:cubicBezTo>
                <a:cubicBezTo>
                  <a:pt x="2586" y="379"/>
                  <a:pt x="2587" y="379"/>
                  <a:pt x="2588" y="379"/>
                </a:cubicBezTo>
                <a:cubicBezTo>
                  <a:pt x="2589" y="379"/>
                  <a:pt x="2591" y="375"/>
                  <a:pt x="2591" y="374"/>
                </a:cubicBezTo>
                <a:cubicBezTo>
                  <a:pt x="2592" y="374"/>
                  <a:pt x="2592" y="374"/>
                  <a:pt x="2592" y="374"/>
                </a:cubicBezTo>
                <a:cubicBezTo>
                  <a:pt x="2592" y="374"/>
                  <a:pt x="2593" y="379"/>
                  <a:pt x="2593" y="379"/>
                </a:cubicBezTo>
                <a:cubicBezTo>
                  <a:pt x="2593" y="382"/>
                  <a:pt x="2594" y="382"/>
                  <a:pt x="2595" y="383"/>
                </a:cubicBezTo>
                <a:close/>
                <a:moveTo>
                  <a:pt x="2597" y="377"/>
                </a:moveTo>
                <a:cubicBezTo>
                  <a:pt x="2597" y="377"/>
                  <a:pt x="2597" y="374"/>
                  <a:pt x="2597" y="374"/>
                </a:cubicBezTo>
                <a:cubicBezTo>
                  <a:pt x="2597" y="374"/>
                  <a:pt x="2597" y="371"/>
                  <a:pt x="2598" y="371"/>
                </a:cubicBezTo>
                <a:cubicBezTo>
                  <a:pt x="2599" y="371"/>
                  <a:pt x="2600" y="372"/>
                  <a:pt x="2600" y="372"/>
                </a:cubicBezTo>
                <a:cubicBezTo>
                  <a:pt x="2600" y="372"/>
                  <a:pt x="2602" y="374"/>
                  <a:pt x="2601" y="374"/>
                </a:cubicBezTo>
                <a:cubicBezTo>
                  <a:pt x="2601" y="376"/>
                  <a:pt x="2599" y="376"/>
                  <a:pt x="2598" y="378"/>
                </a:cubicBezTo>
                <a:cubicBezTo>
                  <a:pt x="2598" y="379"/>
                  <a:pt x="2598" y="381"/>
                  <a:pt x="2598" y="381"/>
                </a:cubicBezTo>
                <a:cubicBezTo>
                  <a:pt x="2597" y="381"/>
                  <a:pt x="2596" y="381"/>
                  <a:pt x="2596" y="380"/>
                </a:cubicBezTo>
                <a:cubicBezTo>
                  <a:pt x="2596" y="379"/>
                  <a:pt x="2597" y="377"/>
                  <a:pt x="2597" y="377"/>
                </a:cubicBezTo>
                <a:close/>
                <a:moveTo>
                  <a:pt x="2611" y="505"/>
                </a:moveTo>
                <a:cubicBezTo>
                  <a:pt x="2612" y="505"/>
                  <a:pt x="2612" y="507"/>
                  <a:pt x="2612" y="507"/>
                </a:cubicBezTo>
                <a:cubicBezTo>
                  <a:pt x="2610" y="507"/>
                  <a:pt x="2610" y="507"/>
                  <a:pt x="2610" y="505"/>
                </a:cubicBezTo>
                <a:lnTo>
                  <a:pt x="2611" y="505"/>
                </a:lnTo>
                <a:close/>
                <a:moveTo>
                  <a:pt x="2534" y="523"/>
                </a:moveTo>
                <a:cubicBezTo>
                  <a:pt x="2535" y="523"/>
                  <a:pt x="2536" y="525"/>
                  <a:pt x="2536" y="526"/>
                </a:cubicBezTo>
                <a:cubicBezTo>
                  <a:pt x="2535" y="526"/>
                  <a:pt x="2535" y="528"/>
                  <a:pt x="2535" y="528"/>
                </a:cubicBezTo>
                <a:cubicBezTo>
                  <a:pt x="2535" y="529"/>
                  <a:pt x="2533" y="526"/>
                  <a:pt x="2533" y="526"/>
                </a:cubicBezTo>
                <a:cubicBezTo>
                  <a:pt x="2533" y="525"/>
                  <a:pt x="2534" y="522"/>
                  <a:pt x="2534" y="523"/>
                </a:cubicBezTo>
                <a:close/>
                <a:moveTo>
                  <a:pt x="2606" y="497"/>
                </a:moveTo>
                <a:cubicBezTo>
                  <a:pt x="2608" y="497"/>
                  <a:pt x="2608" y="497"/>
                  <a:pt x="2608" y="497"/>
                </a:cubicBezTo>
                <a:cubicBezTo>
                  <a:pt x="2609" y="497"/>
                  <a:pt x="2609" y="499"/>
                  <a:pt x="2609" y="499"/>
                </a:cubicBezTo>
                <a:cubicBezTo>
                  <a:pt x="2607" y="500"/>
                  <a:pt x="2607" y="499"/>
                  <a:pt x="2606" y="497"/>
                </a:cubicBezTo>
                <a:close/>
                <a:moveTo>
                  <a:pt x="2618" y="515"/>
                </a:moveTo>
                <a:cubicBezTo>
                  <a:pt x="2619" y="515"/>
                  <a:pt x="2619" y="517"/>
                  <a:pt x="2619" y="517"/>
                </a:cubicBezTo>
                <a:cubicBezTo>
                  <a:pt x="2616" y="518"/>
                  <a:pt x="2616" y="517"/>
                  <a:pt x="2616" y="515"/>
                </a:cubicBezTo>
                <a:lnTo>
                  <a:pt x="2618" y="515"/>
                </a:lnTo>
                <a:close/>
                <a:moveTo>
                  <a:pt x="2509" y="496"/>
                </a:moveTo>
                <a:cubicBezTo>
                  <a:pt x="2511" y="497"/>
                  <a:pt x="2508" y="498"/>
                  <a:pt x="2507" y="498"/>
                </a:cubicBezTo>
                <a:cubicBezTo>
                  <a:pt x="2507" y="496"/>
                  <a:pt x="2507" y="496"/>
                  <a:pt x="2507" y="496"/>
                </a:cubicBezTo>
                <a:lnTo>
                  <a:pt x="2509" y="496"/>
                </a:lnTo>
                <a:close/>
                <a:moveTo>
                  <a:pt x="2516" y="491"/>
                </a:moveTo>
                <a:cubicBezTo>
                  <a:pt x="2516" y="491"/>
                  <a:pt x="2517" y="490"/>
                  <a:pt x="2517" y="490"/>
                </a:cubicBezTo>
                <a:cubicBezTo>
                  <a:pt x="2518" y="489"/>
                  <a:pt x="2518" y="489"/>
                  <a:pt x="2518" y="489"/>
                </a:cubicBezTo>
                <a:cubicBezTo>
                  <a:pt x="2519" y="488"/>
                  <a:pt x="2521" y="488"/>
                  <a:pt x="2521" y="489"/>
                </a:cubicBezTo>
                <a:cubicBezTo>
                  <a:pt x="2521" y="489"/>
                  <a:pt x="2524" y="492"/>
                  <a:pt x="2524" y="492"/>
                </a:cubicBezTo>
                <a:cubicBezTo>
                  <a:pt x="2526" y="492"/>
                  <a:pt x="2527" y="491"/>
                  <a:pt x="2527" y="491"/>
                </a:cubicBezTo>
                <a:cubicBezTo>
                  <a:pt x="2528" y="491"/>
                  <a:pt x="2528" y="490"/>
                  <a:pt x="2528" y="491"/>
                </a:cubicBezTo>
                <a:cubicBezTo>
                  <a:pt x="2529" y="492"/>
                  <a:pt x="2531" y="494"/>
                  <a:pt x="2530" y="494"/>
                </a:cubicBezTo>
                <a:cubicBezTo>
                  <a:pt x="2529" y="495"/>
                  <a:pt x="2528" y="495"/>
                  <a:pt x="2529" y="495"/>
                </a:cubicBezTo>
                <a:cubicBezTo>
                  <a:pt x="2530" y="497"/>
                  <a:pt x="2531" y="496"/>
                  <a:pt x="2532" y="496"/>
                </a:cubicBezTo>
                <a:cubicBezTo>
                  <a:pt x="2532" y="496"/>
                  <a:pt x="2533" y="499"/>
                  <a:pt x="2533" y="499"/>
                </a:cubicBezTo>
                <a:cubicBezTo>
                  <a:pt x="2534" y="500"/>
                  <a:pt x="2534" y="500"/>
                  <a:pt x="2534" y="500"/>
                </a:cubicBezTo>
                <a:cubicBezTo>
                  <a:pt x="2534" y="502"/>
                  <a:pt x="2533" y="502"/>
                  <a:pt x="2533" y="504"/>
                </a:cubicBezTo>
                <a:cubicBezTo>
                  <a:pt x="2533" y="504"/>
                  <a:pt x="2533" y="510"/>
                  <a:pt x="2533" y="510"/>
                </a:cubicBezTo>
                <a:cubicBezTo>
                  <a:pt x="2534" y="512"/>
                  <a:pt x="2534" y="511"/>
                  <a:pt x="2534" y="515"/>
                </a:cubicBezTo>
                <a:cubicBezTo>
                  <a:pt x="2534" y="517"/>
                  <a:pt x="2534" y="517"/>
                  <a:pt x="2534" y="517"/>
                </a:cubicBezTo>
                <a:cubicBezTo>
                  <a:pt x="2533" y="516"/>
                  <a:pt x="2533" y="516"/>
                  <a:pt x="2533" y="516"/>
                </a:cubicBezTo>
                <a:cubicBezTo>
                  <a:pt x="2533" y="516"/>
                  <a:pt x="2532" y="514"/>
                  <a:pt x="2532" y="515"/>
                </a:cubicBezTo>
                <a:cubicBezTo>
                  <a:pt x="2532" y="516"/>
                  <a:pt x="2532" y="516"/>
                  <a:pt x="2532" y="516"/>
                </a:cubicBezTo>
                <a:cubicBezTo>
                  <a:pt x="2532" y="517"/>
                  <a:pt x="2533" y="517"/>
                  <a:pt x="2532" y="519"/>
                </a:cubicBezTo>
                <a:cubicBezTo>
                  <a:pt x="2532" y="519"/>
                  <a:pt x="2532" y="520"/>
                  <a:pt x="2531" y="520"/>
                </a:cubicBezTo>
                <a:cubicBezTo>
                  <a:pt x="2531" y="520"/>
                  <a:pt x="2530" y="521"/>
                  <a:pt x="2530" y="520"/>
                </a:cubicBezTo>
                <a:cubicBezTo>
                  <a:pt x="2530" y="518"/>
                  <a:pt x="2531" y="518"/>
                  <a:pt x="2530" y="517"/>
                </a:cubicBezTo>
                <a:cubicBezTo>
                  <a:pt x="2529" y="514"/>
                  <a:pt x="2528" y="515"/>
                  <a:pt x="2529" y="514"/>
                </a:cubicBezTo>
                <a:cubicBezTo>
                  <a:pt x="2529" y="513"/>
                  <a:pt x="2529" y="513"/>
                  <a:pt x="2528" y="513"/>
                </a:cubicBezTo>
                <a:cubicBezTo>
                  <a:pt x="2527" y="513"/>
                  <a:pt x="2527" y="512"/>
                  <a:pt x="2527" y="514"/>
                </a:cubicBezTo>
                <a:cubicBezTo>
                  <a:pt x="2527" y="517"/>
                  <a:pt x="2527" y="514"/>
                  <a:pt x="2528" y="517"/>
                </a:cubicBezTo>
                <a:cubicBezTo>
                  <a:pt x="2528" y="518"/>
                  <a:pt x="2531" y="518"/>
                  <a:pt x="2528" y="518"/>
                </a:cubicBezTo>
                <a:cubicBezTo>
                  <a:pt x="2525" y="518"/>
                  <a:pt x="2526" y="518"/>
                  <a:pt x="2524" y="517"/>
                </a:cubicBezTo>
                <a:cubicBezTo>
                  <a:pt x="2524" y="514"/>
                  <a:pt x="2525" y="514"/>
                  <a:pt x="2524" y="513"/>
                </a:cubicBezTo>
                <a:cubicBezTo>
                  <a:pt x="2524" y="512"/>
                  <a:pt x="2522" y="511"/>
                  <a:pt x="2522" y="510"/>
                </a:cubicBezTo>
                <a:cubicBezTo>
                  <a:pt x="2522" y="508"/>
                  <a:pt x="2523" y="508"/>
                  <a:pt x="2523" y="506"/>
                </a:cubicBezTo>
                <a:cubicBezTo>
                  <a:pt x="2523" y="505"/>
                  <a:pt x="2523" y="502"/>
                  <a:pt x="2523" y="501"/>
                </a:cubicBezTo>
                <a:cubicBezTo>
                  <a:pt x="2522" y="500"/>
                  <a:pt x="2520" y="499"/>
                  <a:pt x="2520" y="498"/>
                </a:cubicBezTo>
                <a:cubicBezTo>
                  <a:pt x="2519" y="497"/>
                  <a:pt x="2517" y="497"/>
                  <a:pt x="2517" y="497"/>
                </a:cubicBezTo>
                <a:cubicBezTo>
                  <a:pt x="2517" y="497"/>
                  <a:pt x="2517" y="498"/>
                  <a:pt x="2517" y="498"/>
                </a:cubicBezTo>
                <a:cubicBezTo>
                  <a:pt x="2517" y="498"/>
                  <a:pt x="2518" y="500"/>
                  <a:pt x="2518" y="500"/>
                </a:cubicBezTo>
                <a:cubicBezTo>
                  <a:pt x="2518" y="500"/>
                  <a:pt x="2514" y="505"/>
                  <a:pt x="2515" y="500"/>
                </a:cubicBezTo>
                <a:cubicBezTo>
                  <a:pt x="2513" y="499"/>
                  <a:pt x="2513" y="499"/>
                  <a:pt x="2513" y="499"/>
                </a:cubicBezTo>
                <a:cubicBezTo>
                  <a:pt x="2513" y="497"/>
                  <a:pt x="2513" y="497"/>
                  <a:pt x="2513" y="497"/>
                </a:cubicBezTo>
                <a:cubicBezTo>
                  <a:pt x="2513" y="497"/>
                  <a:pt x="2512" y="497"/>
                  <a:pt x="2512" y="497"/>
                </a:cubicBezTo>
                <a:cubicBezTo>
                  <a:pt x="2512" y="497"/>
                  <a:pt x="2511" y="496"/>
                  <a:pt x="2511" y="495"/>
                </a:cubicBezTo>
                <a:cubicBezTo>
                  <a:pt x="2511" y="495"/>
                  <a:pt x="2512" y="494"/>
                  <a:pt x="2512" y="494"/>
                </a:cubicBezTo>
                <a:cubicBezTo>
                  <a:pt x="2512" y="494"/>
                  <a:pt x="2513" y="494"/>
                  <a:pt x="2513" y="495"/>
                </a:cubicBezTo>
                <a:cubicBezTo>
                  <a:pt x="2514" y="493"/>
                  <a:pt x="2516" y="493"/>
                  <a:pt x="2516" y="491"/>
                </a:cubicBezTo>
                <a:close/>
                <a:moveTo>
                  <a:pt x="2569" y="442"/>
                </a:moveTo>
                <a:cubicBezTo>
                  <a:pt x="2569" y="442"/>
                  <a:pt x="2570" y="443"/>
                  <a:pt x="2570" y="443"/>
                </a:cubicBezTo>
                <a:cubicBezTo>
                  <a:pt x="2571" y="443"/>
                  <a:pt x="2571" y="444"/>
                  <a:pt x="2570" y="445"/>
                </a:cubicBezTo>
                <a:cubicBezTo>
                  <a:pt x="2570" y="446"/>
                  <a:pt x="2570" y="446"/>
                  <a:pt x="2569" y="446"/>
                </a:cubicBezTo>
                <a:cubicBezTo>
                  <a:pt x="2567" y="446"/>
                  <a:pt x="2569" y="444"/>
                  <a:pt x="2568" y="444"/>
                </a:cubicBezTo>
                <a:cubicBezTo>
                  <a:pt x="2567" y="443"/>
                  <a:pt x="2567" y="443"/>
                  <a:pt x="2567" y="443"/>
                </a:cubicBezTo>
                <a:cubicBezTo>
                  <a:pt x="2567" y="443"/>
                  <a:pt x="2567" y="442"/>
                  <a:pt x="2567" y="441"/>
                </a:cubicBezTo>
                <a:cubicBezTo>
                  <a:pt x="2570" y="437"/>
                  <a:pt x="2569" y="440"/>
                  <a:pt x="2569" y="442"/>
                </a:cubicBezTo>
                <a:close/>
                <a:moveTo>
                  <a:pt x="2507" y="501"/>
                </a:moveTo>
                <a:cubicBezTo>
                  <a:pt x="2507" y="501"/>
                  <a:pt x="2506" y="501"/>
                  <a:pt x="2506" y="501"/>
                </a:cubicBezTo>
                <a:cubicBezTo>
                  <a:pt x="2506" y="501"/>
                  <a:pt x="2506" y="501"/>
                  <a:pt x="2506" y="501"/>
                </a:cubicBezTo>
                <a:cubicBezTo>
                  <a:pt x="2506" y="501"/>
                  <a:pt x="2506" y="501"/>
                  <a:pt x="2506" y="501"/>
                </a:cubicBezTo>
                <a:cubicBezTo>
                  <a:pt x="2506" y="501"/>
                  <a:pt x="2506" y="501"/>
                  <a:pt x="2506" y="501"/>
                </a:cubicBezTo>
                <a:cubicBezTo>
                  <a:pt x="2507" y="501"/>
                  <a:pt x="2507" y="502"/>
                  <a:pt x="2506" y="503"/>
                </a:cubicBezTo>
                <a:cubicBezTo>
                  <a:pt x="2504" y="503"/>
                  <a:pt x="2504" y="504"/>
                  <a:pt x="2504" y="503"/>
                </a:cubicBezTo>
                <a:cubicBezTo>
                  <a:pt x="2504" y="502"/>
                  <a:pt x="2504" y="501"/>
                  <a:pt x="2504" y="501"/>
                </a:cubicBezTo>
                <a:cubicBezTo>
                  <a:pt x="2505" y="500"/>
                  <a:pt x="2507" y="501"/>
                  <a:pt x="2507" y="501"/>
                </a:cubicBezTo>
                <a:close/>
                <a:moveTo>
                  <a:pt x="2510" y="491"/>
                </a:moveTo>
                <a:cubicBezTo>
                  <a:pt x="2509" y="490"/>
                  <a:pt x="2509" y="490"/>
                  <a:pt x="2509" y="490"/>
                </a:cubicBezTo>
                <a:cubicBezTo>
                  <a:pt x="2510" y="488"/>
                  <a:pt x="2510" y="489"/>
                  <a:pt x="2510" y="490"/>
                </a:cubicBezTo>
                <a:cubicBezTo>
                  <a:pt x="2510" y="491"/>
                  <a:pt x="2511" y="491"/>
                  <a:pt x="2510" y="491"/>
                </a:cubicBezTo>
                <a:close/>
                <a:moveTo>
                  <a:pt x="2550" y="366"/>
                </a:moveTo>
                <a:cubicBezTo>
                  <a:pt x="2548" y="366"/>
                  <a:pt x="2548" y="366"/>
                  <a:pt x="2548" y="366"/>
                </a:cubicBezTo>
                <a:cubicBezTo>
                  <a:pt x="2548" y="365"/>
                  <a:pt x="2548" y="365"/>
                  <a:pt x="2548" y="365"/>
                </a:cubicBezTo>
                <a:cubicBezTo>
                  <a:pt x="2548" y="364"/>
                  <a:pt x="2548" y="364"/>
                  <a:pt x="2548" y="364"/>
                </a:cubicBezTo>
                <a:cubicBezTo>
                  <a:pt x="2550" y="365"/>
                  <a:pt x="2550" y="365"/>
                  <a:pt x="2550" y="365"/>
                </a:cubicBezTo>
                <a:lnTo>
                  <a:pt x="2550" y="366"/>
                </a:lnTo>
                <a:close/>
                <a:moveTo>
                  <a:pt x="2506" y="500"/>
                </a:moveTo>
                <a:cubicBezTo>
                  <a:pt x="2508" y="498"/>
                  <a:pt x="2508" y="498"/>
                  <a:pt x="2508" y="498"/>
                </a:cubicBezTo>
                <a:cubicBezTo>
                  <a:pt x="2508" y="500"/>
                  <a:pt x="2508" y="500"/>
                  <a:pt x="2508" y="500"/>
                </a:cubicBezTo>
                <a:lnTo>
                  <a:pt x="2506" y="500"/>
                </a:lnTo>
                <a:close/>
                <a:moveTo>
                  <a:pt x="2627" y="533"/>
                </a:moveTo>
                <a:cubicBezTo>
                  <a:pt x="2628" y="533"/>
                  <a:pt x="2628" y="535"/>
                  <a:pt x="2628" y="535"/>
                </a:cubicBezTo>
                <a:cubicBezTo>
                  <a:pt x="2626" y="535"/>
                  <a:pt x="2626" y="535"/>
                  <a:pt x="2626" y="533"/>
                </a:cubicBezTo>
                <a:lnTo>
                  <a:pt x="2627" y="533"/>
                </a:lnTo>
                <a:close/>
                <a:moveTo>
                  <a:pt x="2545" y="362"/>
                </a:moveTo>
                <a:cubicBezTo>
                  <a:pt x="2547" y="362"/>
                  <a:pt x="2547" y="362"/>
                  <a:pt x="2547" y="362"/>
                </a:cubicBezTo>
                <a:cubicBezTo>
                  <a:pt x="2547" y="364"/>
                  <a:pt x="2547" y="364"/>
                  <a:pt x="2547" y="364"/>
                </a:cubicBezTo>
                <a:cubicBezTo>
                  <a:pt x="2546" y="364"/>
                  <a:pt x="2545" y="365"/>
                  <a:pt x="2545" y="362"/>
                </a:cubicBezTo>
                <a:close/>
                <a:moveTo>
                  <a:pt x="2524" y="541"/>
                </a:moveTo>
                <a:cubicBezTo>
                  <a:pt x="2524" y="542"/>
                  <a:pt x="2523" y="542"/>
                  <a:pt x="2523" y="542"/>
                </a:cubicBezTo>
                <a:cubicBezTo>
                  <a:pt x="2523" y="539"/>
                  <a:pt x="2523" y="539"/>
                  <a:pt x="2523" y="539"/>
                </a:cubicBezTo>
                <a:cubicBezTo>
                  <a:pt x="2525" y="539"/>
                  <a:pt x="2524" y="541"/>
                  <a:pt x="2524" y="541"/>
                </a:cubicBezTo>
                <a:close/>
                <a:moveTo>
                  <a:pt x="2532" y="527"/>
                </a:moveTo>
                <a:cubicBezTo>
                  <a:pt x="2532" y="528"/>
                  <a:pt x="2533" y="529"/>
                  <a:pt x="2532" y="529"/>
                </a:cubicBezTo>
                <a:cubicBezTo>
                  <a:pt x="2531" y="529"/>
                  <a:pt x="2530" y="531"/>
                  <a:pt x="2530" y="530"/>
                </a:cubicBezTo>
                <a:cubicBezTo>
                  <a:pt x="2529" y="528"/>
                  <a:pt x="2529" y="527"/>
                  <a:pt x="2529" y="527"/>
                </a:cubicBezTo>
                <a:cubicBezTo>
                  <a:pt x="2531" y="527"/>
                  <a:pt x="2531" y="526"/>
                  <a:pt x="2532" y="527"/>
                </a:cubicBezTo>
                <a:close/>
                <a:moveTo>
                  <a:pt x="2526" y="557"/>
                </a:moveTo>
                <a:cubicBezTo>
                  <a:pt x="2525" y="557"/>
                  <a:pt x="2525" y="558"/>
                  <a:pt x="2524" y="558"/>
                </a:cubicBezTo>
                <a:cubicBezTo>
                  <a:pt x="2524" y="557"/>
                  <a:pt x="2524" y="554"/>
                  <a:pt x="2524" y="554"/>
                </a:cubicBezTo>
                <a:cubicBezTo>
                  <a:pt x="2525" y="554"/>
                  <a:pt x="2526" y="556"/>
                  <a:pt x="2526" y="557"/>
                </a:cubicBezTo>
                <a:close/>
                <a:moveTo>
                  <a:pt x="2523" y="560"/>
                </a:moveTo>
                <a:cubicBezTo>
                  <a:pt x="2526" y="559"/>
                  <a:pt x="2524" y="562"/>
                  <a:pt x="2523" y="562"/>
                </a:cubicBezTo>
                <a:cubicBezTo>
                  <a:pt x="2522" y="562"/>
                  <a:pt x="2523" y="560"/>
                  <a:pt x="2523" y="560"/>
                </a:cubicBezTo>
                <a:close/>
                <a:moveTo>
                  <a:pt x="2533" y="549"/>
                </a:moveTo>
                <a:cubicBezTo>
                  <a:pt x="2533" y="549"/>
                  <a:pt x="2535" y="551"/>
                  <a:pt x="2534" y="551"/>
                </a:cubicBezTo>
                <a:cubicBezTo>
                  <a:pt x="2533" y="551"/>
                  <a:pt x="2532" y="551"/>
                  <a:pt x="2532" y="551"/>
                </a:cubicBezTo>
                <a:lnTo>
                  <a:pt x="2533" y="549"/>
                </a:lnTo>
                <a:close/>
                <a:moveTo>
                  <a:pt x="2544" y="499"/>
                </a:moveTo>
                <a:cubicBezTo>
                  <a:pt x="2543" y="500"/>
                  <a:pt x="2544" y="500"/>
                  <a:pt x="2543" y="501"/>
                </a:cubicBezTo>
                <a:cubicBezTo>
                  <a:pt x="2543" y="502"/>
                  <a:pt x="2545" y="506"/>
                  <a:pt x="2537" y="496"/>
                </a:cubicBezTo>
                <a:cubicBezTo>
                  <a:pt x="2537" y="496"/>
                  <a:pt x="2538" y="496"/>
                  <a:pt x="2537" y="495"/>
                </a:cubicBezTo>
                <a:cubicBezTo>
                  <a:pt x="2534" y="495"/>
                  <a:pt x="2535" y="495"/>
                  <a:pt x="2533" y="495"/>
                </a:cubicBezTo>
                <a:cubicBezTo>
                  <a:pt x="2533" y="495"/>
                  <a:pt x="2532" y="493"/>
                  <a:pt x="2533" y="493"/>
                </a:cubicBezTo>
                <a:cubicBezTo>
                  <a:pt x="2534" y="493"/>
                  <a:pt x="2536" y="492"/>
                  <a:pt x="2536" y="492"/>
                </a:cubicBezTo>
                <a:cubicBezTo>
                  <a:pt x="2537" y="491"/>
                  <a:pt x="2537" y="491"/>
                  <a:pt x="2537" y="488"/>
                </a:cubicBezTo>
                <a:cubicBezTo>
                  <a:pt x="2537" y="487"/>
                  <a:pt x="2537" y="486"/>
                  <a:pt x="2538" y="486"/>
                </a:cubicBezTo>
                <a:cubicBezTo>
                  <a:pt x="2538" y="486"/>
                  <a:pt x="2539" y="486"/>
                  <a:pt x="2540" y="487"/>
                </a:cubicBezTo>
                <a:cubicBezTo>
                  <a:pt x="2540" y="488"/>
                  <a:pt x="2541" y="489"/>
                  <a:pt x="2542" y="489"/>
                </a:cubicBezTo>
                <a:cubicBezTo>
                  <a:pt x="2543" y="488"/>
                  <a:pt x="2543" y="488"/>
                  <a:pt x="2544" y="486"/>
                </a:cubicBezTo>
                <a:cubicBezTo>
                  <a:pt x="2544" y="486"/>
                  <a:pt x="2543" y="485"/>
                  <a:pt x="2544" y="485"/>
                </a:cubicBezTo>
                <a:cubicBezTo>
                  <a:pt x="2545" y="484"/>
                  <a:pt x="2547" y="482"/>
                  <a:pt x="2549" y="483"/>
                </a:cubicBezTo>
                <a:cubicBezTo>
                  <a:pt x="2549" y="484"/>
                  <a:pt x="2550" y="486"/>
                  <a:pt x="2551" y="486"/>
                </a:cubicBezTo>
                <a:cubicBezTo>
                  <a:pt x="2551" y="486"/>
                  <a:pt x="2553" y="486"/>
                  <a:pt x="2553" y="485"/>
                </a:cubicBezTo>
                <a:cubicBezTo>
                  <a:pt x="2553" y="485"/>
                  <a:pt x="2554" y="485"/>
                  <a:pt x="2554" y="485"/>
                </a:cubicBezTo>
                <a:cubicBezTo>
                  <a:pt x="2554" y="484"/>
                  <a:pt x="2554" y="483"/>
                  <a:pt x="2555" y="483"/>
                </a:cubicBezTo>
                <a:cubicBezTo>
                  <a:pt x="2555" y="483"/>
                  <a:pt x="2556" y="485"/>
                  <a:pt x="2556" y="485"/>
                </a:cubicBezTo>
                <a:cubicBezTo>
                  <a:pt x="2555" y="486"/>
                  <a:pt x="2554" y="485"/>
                  <a:pt x="2554" y="485"/>
                </a:cubicBezTo>
                <a:cubicBezTo>
                  <a:pt x="2553" y="487"/>
                  <a:pt x="2553" y="486"/>
                  <a:pt x="2554" y="487"/>
                </a:cubicBezTo>
                <a:cubicBezTo>
                  <a:pt x="2555" y="489"/>
                  <a:pt x="2555" y="490"/>
                  <a:pt x="2555" y="490"/>
                </a:cubicBezTo>
                <a:cubicBezTo>
                  <a:pt x="2556" y="489"/>
                  <a:pt x="2555" y="491"/>
                  <a:pt x="2555" y="492"/>
                </a:cubicBezTo>
                <a:cubicBezTo>
                  <a:pt x="2554" y="492"/>
                  <a:pt x="2553" y="497"/>
                  <a:pt x="2553" y="496"/>
                </a:cubicBezTo>
                <a:cubicBezTo>
                  <a:pt x="2552" y="496"/>
                  <a:pt x="2551" y="493"/>
                  <a:pt x="2549" y="493"/>
                </a:cubicBezTo>
                <a:cubicBezTo>
                  <a:pt x="2548" y="494"/>
                  <a:pt x="2545" y="495"/>
                  <a:pt x="2545" y="495"/>
                </a:cubicBezTo>
                <a:cubicBezTo>
                  <a:pt x="2544" y="496"/>
                  <a:pt x="2544" y="495"/>
                  <a:pt x="2544" y="496"/>
                </a:cubicBezTo>
                <a:cubicBezTo>
                  <a:pt x="2544" y="499"/>
                  <a:pt x="2544" y="498"/>
                  <a:pt x="2544" y="499"/>
                </a:cubicBezTo>
                <a:close/>
                <a:moveTo>
                  <a:pt x="2489" y="594"/>
                </a:moveTo>
                <a:cubicBezTo>
                  <a:pt x="2489" y="594"/>
                  <a:pt x="2488" y="593"/>
                  <a:pt x="2488" y="593"/>
                </a:cubicBezTo>
                <a:cubicBezTo>
                  <a:pt x="2488" y="592"/>
                  <a:pt x="2490" y="591"/>
                  <a:pt x="2490" y="591"/>
                </a:cubicBezTo>
                <a:cubicBezTo>
                  <a:pt x="2490" y="593"/>
                  <a:pt x="2491" y="594"/>
                  <a:pt x="2489" y="594"/>
                </a:cubicBezTo>
                <a:close/>
                <a:moveTo>
                  <a:pt x="2498" y="589"/>
                </a:moveTo>
                <a:cubicBezTo>
                  <a:pt x="2498" y="585"/>
                  <a:pt x="2500" y="588"/>
                  <a:pt x="2501" y="589"/>
                </a:cubicBezTo>
                <a:cubicBezTo>
                  <a:pt x="2500" y="590"/>
                  <a:pt x="2499" y="591"/>
                  <a:pt x="2498" y="589"/>
                </a:cubicBezTo>
                <a:close/>
                <a:moveTo>
                  <a:pt x="2484" y="595"/>
                </a:moveTo>
                <a:cubicBezTo>
                  <a:pt x="2484" y="595"/>
                  <a:pt x="2485" y="593"/>
                  <a:pt x="2486" y="593"/>
                </a:cubicBezTo>
                <a:cubicBezTo>
                  <a:pt x="2487" y="594"/>
                  <a:pt x="2488" y="594"/>
                  <a:pt x="2485" y="596"/>
                </a:cubicBezTo>
                <a:lnTo>
                  <a:pt x="2484" y="595"/>
                </a:lnTo>
                <a:close/>
                <a:moveTo>
                  <a:pt x="2504" y="480"/>
                </a:moveTo>
                <a:cubicBezTo>
                  <a:pt x="2505" y="481"/>
                  <a:pt x="2505" y="482"/>
                  <a:pt x="2504" y="482"/>
                </a:cubicBezTo>
                <a:cubicBezTo>
                  <a:pt x="2504" y="483"/>
                  <a:pt x="2502" y="483"/>
                  <a:pt x="2502" y="483"/>
                </a:cubicBezTo>
                <a:cubicBezTo>
                  <a:pt x="2502" y="483"/>
                  <a:pt x="2502" y="480"/>
                  <a:pt x="2502" y="480"/>
                </a:cubicBezTo>
                <a:cubicBezTo>
                  <a:pt x="2503" y="480"/>
                  <a:pt x="2504" y="480"/>
                  <a:pt x="2504" y="480"/>
                </a:cubicBezTo>
                <a:close/>
                <a:moveTo>
                  <a:pt x="2504" y="484"/>
                </a:moveTo>
                <a:cubicBezTo>
                  <a:pt x="2505" y="484"/>
                  <a:pt x="2505" y="485"/>
                  <a:pt x="2505" y="486"/>
                </a:cubicBezTo>
                <a:cubicBezTo>
                  <a:pt x="2505" y="486"/>
                  <a:pt x="2503" y="488"/>
                  <a:pt x="2503" y="484"/>
                </a:cubicBezTo>
                <a:cubicBezTo>
                  <a:pt x="2503" y="484"/>
                  <a:pt x="2504" y="483"/>
                  <a:pt x="2504" y="484"/>
                </a:cubicBezTo>
                <a:close/>
                <a:moveTo>
                  <a:pt x="2485" y="494"/>
                </a:moveTo>
                <a:cubicBezTo>
                  <a:pt x="2487" y="494"/>
                  <a:pt x="2483" y="495"/>
                  <a:pt x="2482" y="495"/>
                </a:cubicBezTo>
                <a:cubicBezTo>
                  <a:pt x="2480" y="496"/>
                  <a:pt x="2479" y="495"/>
                  <a:pt x="2479" y="495"/>
                </a:cubicBezTo>
                <a:cubicBezTo>
                  <a:pt x="2479" y="495"/>
                  <a:pt x="2479" y="494"/>
                  <a:pt x="2479" y="493"/>
                </a:cubicBezTo>
                <a:cubicBezTo>
                  <a:pt x="2479" y="493"/>
                  <a:pt x="2482" y="491"/>
                  <a:pt x="2483" y="491"/>
                </a:cubicBezTo>
                <a:cubicBezTo>
                  <a:pt x="2486" y="492"/>
                  <a:pt x="2485" y="492"/>
                  <a:pt x="2485" y="494"/>
                </a:cubicBezTo>
                <a:close/>
                <a:moveTo>
                  <a:pt x="1793" y="1028"/>
                </a:moveTo>
                <a:cubicBezTo>
                  <a:pt x="1793" y="1029"/>
                  <a:pt x="1795" y="1031"/>
                  <a:pt x="1795" y="1032"/>
                </a:cubicBezTo>
                <a:cubicBezTo>
                  <a:pt x="1795" y="1034"/>
                  <a:pt x="1793" y="1038"/>
                  <a:pt x="1792" y="1038"/>
                </a:cubicBezTo>
                <a:cubicBezTo>
                  <a:pt x="1791" y="1038"/>
                  <a:pt x="1790" y="1037"/>
                  <a:pt x="1789" y="1036"/>
                </a:cubicBezTo>
                <a:cubicBezTo>
                  <a:pt x="1789" y="1036"/>
                  <a:pt x="1788" y="1034"/>
                  <a:pt x="1787" y="1034"/>
                </a:cubicBezTo>
                <a:cubicBezTo>
                  <a:pt x="1785" y="1034"/>
                  <a:pt x="1785" y="1038"/>
                  <a:pt x="1786" y="1040"/>
                </a:cubicBezTo>
                <a:cubicBezTo>
                  <a:pt x="1786" y="1042"/>
                  <a:pt x="1788" y="1043"/>
                  <a:pt x="1787" y="1047"/>
                </a:cubicBezTo>
                <a:cubicBezTo>
                  <a:pt x="1786" y="1050"/>
                  <a:pt x="1784" y="1049"/>
                  <a:pt x="1784" y="1056"/>
                </a:cubicBezTo>
                <a:cubicBezTo>
                  <a:pt x="1784" y="1058"/>
                  <a:pt x="1785" y="1060"/>
                  <a:pt x="1784" y="1062"/>
                </a:cubicBezTo>
                <a:cubicBezTo>
                  <a:pt x="1781" y="1072"/>
                  <a:pt x="1778" y="1082"/>
                  <a:pt x="1774" y="1092"/>
                </a:cubicBezTo>
                <a:cubicBezTo>
                  <a:pt x="1773" y="1095"/>
                  <a:pt x="1771" y="1097"/>
                  <a:pt x="1770" y="1100"/>
                </a:cubicBezTo>
                <a:cubicBezTo>
                  <a:pt x="1768" y="1103"/>
                  <a:pt x="1768" y="1106"/>
                  <a:pt x="1767" y="1109"/>
                </a:cubicBezTo>
                <a:cubicBezTo>
                  <a:pt x="1767" y="1109"/>
                  <a:pt x="1764" y="1115"/>
                  <a:pt x="1764" y="1116"/>
                </a:cubicBezTo>
                <a:cubicBezTo>
                  <a:pt x="1764" y="1117"/>
                  <a:pt x="1763" y="1121"/>
                  <a:pt x="1763" y="1122"/>
                </a:cubicBezTo>
                <a:cubicBezTo>
                  <a:pt x="1763" y="1124"/>
                  <a:pt x="1760" y="1131"/>
                  <a:pt x="1759" y="1133"/>
                </a:cubicBezTo>
                <a:cubicBezTo>
                  <a:pt x="1758" y="1135"/>
                  <a:pt x="1754" y="1139"/>
                  <a:pt x="1753" y="1140"/>
                </a:cubicBezTo>
                <a:cubicBezTo>
                  <a:pt x="1751" y="1141"/>
                  <a:pt x="1749" y="1141"/>
                  <a:pt x="1748" y="1141"/>
                </a:cubicBezTo>
                <a:cubicBezTo>
                  <a:pt x="1746" y="1142"/>
                  <a:pt x="1744" y="1144"/>
                  <a:pt x="1740" y="1145"/>
                </a:cubicBezTo>
                <a:cubicBezTo>
                  <a:pt x="1739" y="1145"/>
                  <a:pt x="1738" y="1145"/>
                  <a:pt x="1737" y="1145"/>
                </a:cubicBezTo>
                <a:cubicBezTo>
                  <a:pt x="1737" y="1145"/>
                  <a:pt x="1736" y="1143"/>
                  <a:pt x="1735" y="1143"/>
                </a:cubicBezTo>
                <a:cubicBezTo>
                  <a:pt x="1734" y="1143"/>
                  <a:pt x="1730" y="1142"/>
                  <a:pt x="1730" y="1142"/>
                </a:cubicBezTo>
                <a:cubicBezTo>
                  <a:pt x="1730" y="1141"/>
                  <a:pt x="1729" y="1140"/>
                  <a:pt x="1729" y="1140"/>
                </a:cubicBezTo>
                <a:cubicBezTo>
                  <a:pt x="1728" y="1138"/>
                  <a:pt x="1727" y="1138"/>
                  <a:pt x="1726" y="1136"/>
                </a:cubicBezTo>
                <a:cubicBezTo>
                  <a:pt x="1726" y="1136"/>
                  <a:pt x="1726" y="1135"/>
                  <a:pt x="1725" y="1134"/>
                </a:cubicBezTo>
                <a:cubicBezTo>
                  <a:pt x="1725" y="1133"/>
                  <a:pt x="1724" y="1133"/>
                  <a:pt x="1724" y="1132"/>
                </a:cubicBezTo>
                <a:cubicBezTo>
                  <a:pt x="1723" y="1129"/>
                  <a:pt x="1724" y="1127"/>
                  <a:pt x="1724" y="1124"/>
                </a:cubicBezTo>
                <a:cubicBezTo>
                  <a:pt x="1724" y="1124"/>
                  <a:pt x="1726" y="1124"/>
                  <a:pt x="1726" y="1123"/>
                </a:cubicBezTo>
                <a:cubicBezTo>
                  <a:pt x="1725" y="1120"/>
                  <a:pt x="1721" y="1115"/>
                  <a:pt x="1721" y="1113"/>
                </a:cubicBezTo>
                <a:cubicBezTo>
                  <a:pt x="1720" y="1112"/>
                  <a:pt x="1721" y="1110"/>
                  <a:pt x="1721" y="1108"/>
                </a:cubicBezTo>
                <a:cubicBezTo>
                  <a:pt x="1721" y="1106"/>
                  <a:pt x="1721" y="1104"/>
                  <a:pt x="1721" y="1103"/>
                </a:cubicBezTo>
                <a:cubicBezTo>
                  <a:pt x="1722" y="1101"/>
                  <a:pt x="1725" y="1100"/>
                  <a:pt x="1727" y="1096"/>
                </a:cubicBezTo>
                <a:cubicBezTo>
                  <a:pt x="1728" y="1095"/>
                  <a:pt x="1728" y="1094"/>
                  <a:pt x="1729" y="1092"/>
                </a:cubicBezTo>
                <a:cubicBezTo>
                  <a:pt x="1730" y="1091"/>
                  <a:pt x="1731" y="1090"/>
                  <a:pt x="1732" y="1089"/>
                </a:cubicBezTo>
                <a:cubicBezTo>
                  <a:pt x="1732" y="1089"/>
                  <a:pt x="1734" y="1085"/>
                  <a:pt x="1734" y="1084"/>
                </a:cubicBezTo>
                <a:cubicBezTo>
                  <a:pt x="1735" y="1080"/>
                  <a:pt x="1733" y="1075"/>
                  <a:pt x="1733" y="1073"/>
                </a:cubicBezTo>
                <a:cubicBezTo>
                  <a:pt x="1733" y="1071"/>
                  <a:pt x="1734" y="1070"/>
                  <a:pt x="1734" y="1068"/>
                </a:cubicBezTo>
                <a:cubicBezTo>
                  <a:pt x="1733" y="1066"/>
                  <a:pt x="1731" y="1065"/>
                  <a:pt x="1731" y="1063"/>
                </a:cubicBezTo>
                <a:cubicBezTo>
                  <a:pt x="1730" y="1061"/>
                  <a:pt x="1731" y="1057"/>
                  <a:pt x="1731" y="1055"/>
                </a:cubicBezTo>
                <a:cubicBezTo>
                  <a:pt x="1732" y="1053"/>
                  <a:pt x="1733" y="1054"/>
                  <a:pt x="1735" y="1046"/>
                </a:cubicBezTo>
                <a:cubicBezTo>
                  <a:pt x="1735" y="1045"/>
                  <a:pt x="1735" y="1043"/>
                  <a:pt x="1736" y="1042"/>
                </a:cubicBezTo>
                <a:cubicBezTo>
                  <a:pt x="1736" y="1041"/>
                  <a:pt x="1737" y="1042"/>
                  <a:pt x="1738" y="1042"/>
                </a:cubicBezTo>
                <a:cubicBezTo>
                  <a:pt x="1739" y="1042"/>
                  <a:pt x="1740" y="1041"/>
                  <a:pt x="1741" y="1041"/>
                </a:cubicBezTo>
                <a:cubicBezTo>
                  <a:pt x="1741" y="1041"/>
                  <a:pt x="1744" y="1039"/>
                  <a:pt x="1745" y="1039"/>
                </a:cubicBezTo>
                <a:cubicBezTo>
                  <a:pt x="1746" y="1039"/>
                  <a:pt x="1750" y="1038"/>
                  <a:pt x="1750" y="1038"/>
                </a:cubicBezTo>
                <a:cubicBezTo>
                  <a:pt x="1750" y="1038"/>
                  <a:pt x="1751" y="1037"/>
                  <a:pt x="1752" y="1037"/>
                </a:cubicBezTo>
                <a:cubicBezTo>
                  <a:pt x="1753" y="1037"/>
                  <a:pt x="1754" y="1037"/>
                  <a:pt x="1754" y="1037"/>
                </a:cubicBezTo>
                <a:cubicBezTo>
                  <a:pt x="1754" y="1037"/>
                  <a:pt x="1755" y="1041"/>
                  <a:pt x="1755" y="1039"/>
                </a:cubicBezTo>
                <a:cubicBezTo>
                  <a:pt x="1756" y="1036"/>
                  <a:pt x="1756" y="1034"/>
                  <a:pt x="1756" y="1034"/>
                </a:cubicBezTo>
                <a:cubicBezTo>
                  <a:pt x="1756" y="1034"/>
                  <a:pt x="1758" y="1033"/>
                  <a:pt x="1760" y="1033"/>
                </a:cubicBezTo>
                <a:cubicBezTo>
                  <a:pt x="1761" y="1032"/>
                  <a:pt x="1758" y="1031"/>
                  <a:pt x="1764" y="1032"/>
                </a:cubicBezTo>
                <a:cubicBezTo>
                  <a:pt x="1764" y="1031"/>
                  <a:pt x="1763" y="1029"/>
                  <a:pt x="1764" y="1027"/>
                </a:cubicBezTo>
                <a:cubicBezTo>
                  <a:pt x="1764" y="1026"/>
                  <a:pt x="1765" y="1026"/>
                  <a:pt x="1765" y="1025"/>
                </a:cubicBezTo>
                <a:cubicBezTo>
                  <a:pt x="1766" y="1026"/>
                  <a:pt x="1768" y="1025"/>
                  <a:pt x="1769" y="1025"/>
                </a:cubicBezTo>
                <a:cubicBezTo>
                  <a:pt x="1769" y="1025"/>
                  <a:pt x="1769" y="1023"/>
                  <a:pt x="1769" y="1021"/>
                </a:cubicBezTo>
                <a:cubicBezTo>
                  <a:pt x="1769" y="1020"/>
                  <a:pt x="1767" y="1020"/>
                  <a:pt x="1769" y="1019"/>
                </a:cubicBezTo>
                <a:cubicBezTo>
                  <a:pt x="1770" y="1019"/>
                  <a:pt x="1771" y="1019"/>
                  <a:pt x="1771" y="1019"/>
                </a:cubicBezTo>
                <a:cubicBezTo>
                  <a:pt x="1771" y="1016"/>
                  <a:pt x="1770" y="1015"/>
                  <a:pt x="1773" y="1012"/>
                </a:cubicBezTo>
                <a:cubicBezTo>
                  <a:pt x="1773" y="1012"/>
                  <a:pt x="1776" y="1013"/>
                  <a:pt x="1778" y="1012"/>
                </a:cubicBezTo>
                <a:cubicBezTo>
                  <a:pt x="1781" y="1010"/>
                  <a:pt x="1780" y="1006"/>
                  <a:pt x="1780" y="1003"/>
                </a:cubicBezTo>
                <a:cubicBezTo>
                  <a:pt x="1780" y="1002"/>
                  <a:pt x="1780" y="1001"/>
                  <a:pt x="1780" y="1000"/>
                </a:cubicBezTo>
                <a:cubicBezTo>
                  <a:pt x="1782" y="999"/>
                  <a:pt x="1783" y="997"/>
                  <a:pt x="1785" y="997"/>
                </a:cubicBezTo>
                <a:cubicBezTo>
                  <a:pt x="1787" y="997"/>
                  <a:pt x="1788" y="999"/>
                  <a:pt x="1789" y="1000"/>
                </a:cubicBezTo>
                <a:cubicBezTo>
                  <a:pt x="1789" y="1001"/>
                  <a:pt x="1788" y="1002"/>
                  <a:pt x="1789" y="1003"/>
                </a:cubicBezTo>
                <a:cubicBezTo>
                  <a:pt x="1789" y="1004"/>
                  <a:pt x="1790" y="1005"/>
                  <a:pt x="1790" y="1006"/>
                </a:cubicBezTo>
                <a:cubicBezTo>
                  <a:pt x="1790" y="1006"/>
                  <a:pt x="1790" y="1007"/>
                  <a:pt x="1790" y="1008"/>
                </a:cubicBezTo>
                <a:cubicBezTo>
                  <a:pt x="1790" y="1008"/>
                  <a:pt x="1794" y="1011"/>
                  <a:pt x="1794" y="1012"/>
                </a:cubicBezTo>
                <a:cubicBezTo>
                  <a:pt x="1794" y="1013"/>
                  <a:pt x="1792" y="1018"/>
                  <a:pt x="1792" y="1018"/>
                </a:cubicBezTo>
                <a:cubicBezTo>
                  <a:pt x="1792" y="1018"/>
                  <a:pt x="1792" y="1021"/>
                  <a:pt x="1792" y="1021"/>
                </a:cubicBezTo>
                <a:cubicBezTo>
                  <a:pt x="1792" y="1022"/>
                  <a:pt x="1791" y="1024"/>
                  <a:pt x="1792" y="1025"/>
                </a:cubicBezTo>
                <a:cubicBezTo>
                  <a:pt x="1793" y="1027"/>
                  <a:pt x="1793" y="1028"/>
                  <a:pt x="1793" y="1028"/>
                </a:cubicBezTo>
                <a:close/>
                <a:moveTo>
                  <a:pt x="2615" y="781"/>
                </a:moveTo>
                <a:cubicBezTo>
                  <a:pt x="2615" y="780"/>
                  <a:pt x="2619" y="770"/>
                  <a:pt x="2619" y="775"/>
                </a:cubicBezTo>
                <a:cubicBezTo>
                  <a:pt x="2619" y="776"/>
                  <a:pt x="2619" y="780"/>
                  <a:pt x="2619" y="781"/>
                </a:cubicBezTo>
                <a:cubicBezTo>
                  <a:pt x="2616" y="787"/>
                  <a:pt x="2619" y="784"/>
                  <a:pt x="2614" y="787"/>
                </a:cubicBezTo>
                <a:cubicBezTo>
                  <a:pt x="2610" y="790"/>
                  <a:pt x="2614" y="783"/>
                  <a:pt x="2615" y="781"/>
                </a:cubicBezTo>
                <a:close/>
                <a:moveTo>
                  <a:pt x="2017" y="808"/>
                </a:moveTo>
                <a:cubicBezTo>
                  <a:pt x="2016" y="808"/>
                  <a:pt x="2016" y="807"/>
                  <a:pt x="2016" y="807"/>
                </a:cubicBezTo>
                <a:cubicBezTo>
                  <a:pt x="2016" y="806"/>
                  <a:pt x="2017" y="806"/>
                  <a:pt x="2017" y="805"/>
                </a:cubicBezTo>
                <a:cubicBezTo>
                  <a:pt x="2018" y="803"/>
                  <a:pt x="2019" y="805"/>
                  <a:pt x="2019" y="805"/>
                </a:cubicBezTo>
                <a:cubicBezTo>
                  <a:pt x="2019" y="807"/>
                  <a:pt x="2017" y="808"/>
                  <a:pt x="2017" y="808"/>
                </a:cubicBezTo>
                <a:close/>
                <a:moveTo>
                  <a:pt x="2020" y="827"/>
                </a:moveTo>
                <a:cubicBezTo>
                  <a:pt x="2020" y="829"/>
                  <a:pt x="2018" y="828"/>
                  <a:pt x="2017" y="827"/>
                </a:cubicBezTo>
                <a:cubicBezTo>
                  <a:pt x="2017" y="827"/>
                  <a:pt x="2017" y="825"/>
                  <a:pt x="2017" y="825"/>
                </a:cubicBezTo>
                <a:cubicBezTo>
                  <a:pt x="2017" y="825"/>
                  <a:pt x="2019" y="825"/>
                  <a:pt x="2020" y="827"/>
                </a:cubicBezTo>
                <a:close/>
                <a:moveTo>
                  <a:pt x="2017" y="803"/>
                </a:moveTo>
                <a:cubicBezTo>
                  <a:pt x="2017" y="802"/>
                  <a:pt x="2017" y="802"/>
                  <a:pt x="2017" y="802"/>
                </a:cubicBezTo>
                <a:cubicBezTo>
                  <a:pt x="2016" y="802"/>
                  <a:pt x="2015" y="797"/>
                  <a:pt x="2015" y="797"/>
                </a:cubicBezTo>
                <a:cubicBezTo>
                  <a:pt x="2016" y="797"/>
                  <a:pt x="2017" y="796"/>
                  <a:pt x="2017" y="798"/>
                </a:cubicBezTo>
                <a:cubicBezTo>
                  <a:pt x="2018" y="800"/>
                  <a:pt x="2019" y="801"/>
                  <a:pt x="2018" y="802"/>
                </a:cubicBezTo>
                <a:cubicBezTo>
                  <a:pt x="2017" y="803"/>
                  <a:pt x="2017" y="803"/>
                  <a:pt x="2017" y="803"/>
                </a:cubicBezTo>
                <a:close/>
                <a:moveTo>
                  <a:pt x="2018" y="793"/>
                </a:moveTo>
                <a:cubicBezTo>
                  <a:pt x="2019" y="794"/>
                  <a:pt x="2020" y="794"/>
                  <a:pt x="2020" y="795"/>
                </a:cubicBezTo>
                <a:cubicBezTo>
                  <a:pt x="2020" y="796"/>
                  <a:pt x="2020" y="796"/>
                  <a:pt x="2019" y="797"/>
                </a:cubicBezTo>
                <a:cubicBezTo>
                  <a:pt x="2018" y="795"/>
                  <a:pt x="2017" y="795"/>
                  <a:pt x="2018" y="793"/>
                </a:cubicBezTo>
                <a:close/>
                <a:moveTo>
                  <a:pt x="2014" y="794"/>
                </a:moveTo>
                <a:cubicBezTo>
                  <a:pt x="2014" y="794"/>
                  <a:pt x="2013" y="796"/>
                  <a:pt x="2013" y="794"/>
                </a:cubicBezTo>
                <a:cubicBezTo>
                  <a:pt x="2013" y="794"/>
                  <a:pt x="2015" y="792"/>
                  <a:pt x="2015" y="792"/>
                </a:cubicBezTo>
                <a:cubicBezTo>
                  <a:pt x="2016" y="793"/>
                  <a:pt x="2014" y="794"/>
                  <a:pt x="2014" y="794"/>
                </a:cubicBezTo>
                <a:close/>
                <a:moveTo>
                  <a:pt x="2024" y="815"/>
                </a:moveTo>
                <a:cubicBezTo>
                  <a:pt x="2024" y="817"/>
                  <a:pt x="2025" y="818"/>
                  <a:pt x="2023" y="819"/>
                </a:cubicBezTo>
                <a:cubicBezTo>
                  <a:pt x="2023" y="819"/>
                  <a:pt x="2022" y="820"/>
                  <a:pt x="2022" y="820"/>
                </a:cubicBezTo>
                <a:cubicBezTo>
                  <a:pt x="2022" y="820"/>
                  <a:pt x="2021" y="818"/>
                  <a:pt x="2021" y="817"/>
                </a:cubicBezTo>
                <a:cubicBezTo>
                  <a:pt x="2021" y="816"/>
                  <a:pt x="2021" y="815"/>
                  <a:pt x="2021" y="815"/>
                </a:cubicBezTo>
                <a:cubicBezTo>
                  <a:pt x="2021" y="815"/>
                  <a:pt x="2022" y="812"/>
                  <a:pt x="2022" y="812"/>
                </a:cubicBezTo>
                <a:cubicBezTo>
                  <a:pt x="2022" y="812"/>
                  <a:pt x="2022" y="810"/>
                  <a:pt x="2023" y="811"/>
                </a:cubicBezTo>
                <a:cubicBezTo>
                  <a:pt x="2025" y="812"/>
                  <a:pt x="2024" y="812"/>
                  <a:pt x="2024" y="815"/>
                </a:cubicBezTo>
                <a:close/>
                <a:moveTo>
                  <a:pt x="2021" y="797"/>
                </a:moveTo>
                <a:cubicBezTo>
                  <a:pt x="2021" y="799"/>
                  <a:pt x="2021" y="799"/>
                  <a:pt x="2021" y="799"/>
                </a:cubicBezTo>
                <a:cubicBezTo>
                  <a:pt x="2020" y="799"/>
                  <a:pt x="2019" y="800"/>
                  <a:pt x="2019" y="799"/>
                </a:cubicBezTo>
                <a:cubicBezTo>
                  <a:pt x="2019" y="798"/>
                  <a:pt x="2022" y="795"/>
                  <a:pt x="2021" y="797"/>
                </a:cubicBezTo>
                <a:close/>
                <a:moveTo>
                  <a:pt x="2024" y="805"/>
                </a:moveTo>
                <a:cubicBezTo>
                  <a:pt x="2023" y="805"/>
                  <a:pt x="2023" y="805"/>
                  <a:pt x="2023" y="805"/>
                </a:cubicBezTo>
                <a:cubicBezTo>
                  <a:pt x="2022" y="805"/>
                  <a:pt x="2021" y="805"/>
                  <a:pt x="2021" y="804"/>
                </a:cubicBezTo>
                <a:cubicBezTo>
                  <a:pt x="2020" y="803"/>
                  <a:pt x="2021" y="802"/>
                  <a:pt x="2022" y="801"/>
                </a:cubicBezTo>
                <a:cubicBezTo>
                  <a:pt x="2023" y="801"/>
                  <a:pt x="2025" y="805"/>
                  <a:pt x="2024" y="805"/>
                </a:cubicBezTo>
                <a:close/>
                <a:moveTo>
                  <a:pt x="2019" y="833"/>
                </a:moveTo>
                <a:cubicBezTo>
                  <a:pt x="2018" y="833"/>
                  <a:pt x="2016" y="832"/>
                  <a:pt x="2016" y="832"/>
                </a:cubicBezTo>
                <a:cubicBezTo>
                  <a:pt x="2016" y="832"/>
                  <a:pt x="2018" y="829"/>
                  <a:pt x="2018" y="829"/>
                </a:cubicBezTo>
                <a:cubicBezTo>
                  <a:pt x="2019" y="829"/>
                  <a:pt x="2020" y="832"/>
                  <a:pt x="2019" y="833"/>
                </a:cubicBezTo>
                <a:close/>
                <a:moveTo>
                  <a:pt x="2017" y="837"/>
                </a:moveTo>
                <a:cubicBezTo>
                  <a:pt x="2017" y="836"/>
                  <a:pt x="2018" y="835"/>
                  <a:pt x="2020" y="835"/>
                </a:cubicBezTo>
                <a:cubicBezTo>
                  <a:pt x="2021" y="836"/>
                  <a:pt x="2021" y="834"/>
                  <a:pt x="2022" y="836"/>
                </a:cubicBezTo>
                <a:cubicBezTo>
                  <a:pt x="2022" y="837"/>
                  <a:pt x="2023" y="838"/>
                  <a:pt x="2021" y="839"/>
                </a:cubicBezTo>
                <a:cubicBezTo>
                  <a:pt x="2019" y="840"/>
                  <a:pt x="2019" y="840"/>
                  <a:pt x="2017" y="837"/>
                </a:cubicBezTo>
                <a:close/>
                <a:moveTo>
                  <a:pt x="2023" y="856"/>
                </a:moveTo>
                <a:cubicBezTo>
                  <a:pt x="2023" y="857"/>
                  <a:pt x="2025" y="859"/>
                  <a:pt x="2024" y="860"/>
                </a:cubicBezTo>
                <a:cubicBezTo>
                  <a:pt x="2023" y="861"/>
                  <a:pt x="2021" y="861"/>
                  <a:pt x="2020" y="861"/>
                </a:cubicBezTo>
                <a:cubicBezTo>
                  <a:pt x="2019" y="861"/>
                  <a:pt x="2020" y="860"/>
                  <a:pt x="2020" y="859"/>
                </a:cubicBezTo>
                <a:cubicBezTo>
                  <a:pt x="2019" y="857"/>
                  <a:pt x="2018" y="856"/>
                  <a:pt x="2019" y="854"/>
                </a:cubicBezTo>
                <a:cubicBezTo>
                  <a:pt x="2020" y="853"/>
                  <a:pt x="2022" y="852"/>
                  <a:pt x="2023" y="852"/>
                </a:cubicBezTo>
                <a:cubicBezTo>
                  <a:pt x="2024" y="853"/>
                  <a:pt x="2023" y="855"/>
                  <a:pt x="2023" y="856"/>
                </a:cubicBezTo>
                <a:close/>
                <a:moveTo>
                  <a:pt x="2019" y="786"/>
                </a:moveTo>
                <a:cubicBezTo>
                  <a:pt x="2019" y="788"/>
                  <a:pt x="2019" y="789"/>
                  <a:pt x="2018" y="791"/>
                </a:cubicBezTo>
                <a:cubicBezTo>
                  <a:pt x="2017" y="791"/>
                  <a:pt x="2017" y="792"/>
                  <a:pt x="2017" y="792"/>
                </a:cubicBezTo>
                <a:cubicBezTo>
                  <a:pt x="2016" y="792"/>
                  <a:pt x="2016" y="788"/>
                  <a:pt x="2016" y="788"/>
                </a:cubicBezTo>
                <a:cubicBezTo>
                  <a:pt x="2016" y="788"/>
                  <a:pt x="2015" y="787"/>
                  <a:pt x="2015" y="787"/>
                </a:cubicBezTo>
                <a:cubicBezTo>
                  <a:pt x="2015" y="786"/>
                  <a:pt x="2016" y="784"/>
                  <a:pt x="2016" y="784"/>
                </a:cubicBezTo>
                <a:cubicBezTo>
                  <a:pt x="2017" y="787"/>
                  <a:pt x="2016" y="786"/>
                  <a:pt x="2019" y="786"/>
                </a:cubicBezTo>
                <a:close/>
                <a:moveTo>
                  <a:pt x="2025" y="840"/>
                </a:moveTo>
                <a:cubicBezTo>
                  <a:pt x="2025" y="842"/>
                  <a:pt x="2024" y="843"/>
                  <a:pt x="2023" y="844"/>
                </a:cubicBezTo>
                <a:cubicBezTo>
                  <a:pt x="2022" y="843"/>
                  <a:pt x="2021" y="843"/>
                  <a:pt x="2021" y="843"/>
                </a:cubicBezTo>
                <a:cubicBezTo>
                  <a:pt x="2021" y="842"/>
                  <a:pt x="2023" y="839"/>
                  <a:pt x="2024" y="839"/>
                </a:cubicBezTo>
                <a:cubicBezTo>
                  <a:pt x="2024" y="839"/>
                  <a:pt x="2026" y="839"/>
                  <a:pt x="2025" y="840"/>
                </a:cubicBezTo>
                <a:close/>
                <a:moveTo>
                  <a:pt x="2026" y="828"/>
                </a:moveTo>
                <a:cubicBezTo>
                  <a:pt x="2026" y="829"/>
                  <a:pt x="2026" y="830"/>
                  <a:pt x="2026" y="830"/>
                </a:cubicBezTo>
                <a:cubicBezTo>
                  <a:pt x="2022" y="832"/>
                  <a:pt x="2024" y="826"/>
                  <a:pt x="2024" y="826"/>
                </a:cubicBezTo>
                <a:cubicBezTo>
                  <a:pt x="2025" y="826"/>
                  <a:pt x="2026" y="828"/>
                  <a:pt x="2026" y="828"/>
                </a:cubicBezTo>
                <a:close/>
                <a:moveTo>
                  <a:pt x="2018" y="818"/>
                </a:moveTo>
                <a:cubicBezTo>
                  <a:pt x="2017" y="820"/>
                  <a:pt x="2018" y="822"/>
                  <a:pt x="2016" y="824"/>
                </a:cubicBezTo>
                <a:cubicBezTo>
                  <a:pt x="2016" y="823"/>
                  <a:pt x="2015" y="822"/>
                  <a:pt x="2015" y="821"/>
                </a:cubicBezTo>
                <a:cubicBezTo>
                  <a:pt x="2015" y="821"/>
                  <a:pt x="2016" y="821"/>
                  <a:pt x="2015" y="820"/>
                </a:cubicBezTo>
                <a:cubicBezTo>
                  <a:pt x="2015" y="818"/>
                  <a:pt x="2013" y="814"/>
                  <a:pt x="2016" y="814"/>
                </a:cubicBezTo>
                <a:cubicBezTo>
                  <a:pt x="2020" y="814"/>
                  <a:pt x="2019" y="816"/>
                  <a:pt x="2018" y="818"/>
                </a:cubicBezTo>
                <a:close/>
                <a:moveTo>
                  <a:pt x="2027" y="825"/>
                </a:moveTo>
                <a:cubicBezTo>
                  <a:pt x="2025" y="826"/>
                  <a:pt x="2023" y="826"/>
                  <a:pt x="2023" y="826"/>
                </a:cubicBezTo>
                <a:cubicBezTo>
                  <a:pt x="2022" y="826"/>
                  <a:pt x="2023" y="827"/>
                  <a:pt x="2022" y="826"/>
                </a:cubicBezTo>
                <a:cubicBezTo>
                  <a:pt x="2020" y="824"/>
                  <a:pt x="2021" y="823"/>
                  <a:pt x="2021" y="823"/>
                </a:cubicBezTo>
                <a:cubicBezTo>
                  <a:pt x="2021" y="823"/>
                  <a:pt x="2022" y="822"/>
                  <a:pt x="2023" y="822"/>
                </a:cubicBezTo>
                <a:cubicBezTo>
                  <a:pt x="2023" y="822"/>
                  <a:pt x="2025" y="823"/>
                  <a:pt x="2025" y="824"/>
                </a:cubicBezTo>
                <a:cubicBezTo>
                  <a:pt x="2025" y="824"/>
                  <a:pt x="2029" y="825"/>
                  <a:pt x="2027" y="825"/>
                </a:cubicBezTo>
                <a:close/>
                <a:moveTo>
                  <a:pt x="1843" y="1096"/>
                </a:moveTo>
                <a:cubicBezTo>
                  <a:pt x="1844" y="1097"/>
                  <a:pt x="1843" y="1097"/>
                  <a:pt x="1842" y="1098"/>
                </a:cubicBezTo>
                <a:cubicBezTo>
                  <a:pt x="1841" y="1098"/>
                  <a:pt x="1840" y="1098"/>
                  <a:pt x="1839" y="1098"/>
                </a:cubicBezTo>
                <a:cubicBezTo>
                  <a:pt x="1838" y="1098"/>
                  <a:pt x="1838" y="1098"/>
                  <a:pt x="1837" y="1098"/>
                </a:cubicBezTo>
                <a:cubicBezTo>
                  <a:pt x="1836" y="1098"/>
                  <a:pt x="1834" y="1097"/>
                  <a:pt x="1835" y="1096"/>
                </a:cubicBezTo>
                <a:cubicBezTo>
                  <a:pt x="1836" y="1095"/>
                  <a:pt x="1838" y="1093"/>
                  <a:pt x="1840" y="1093"/>
                </a:cubicBezTo>
                <a:cubicBezTo>
                  <a:pt x="1842" y="1093"/>
                  <a:pt x="1843" y="1095"/>
                  <a:pt x="1843" y="1096"/>
                </a:cubicBezTo>
                <a:close/>
                <a:moveTo>
                  <a:pt x="1863" y="1087"/>
                </a:moveTo>
                <a:cubicBezTo>
                  <a:pt x="1863" y="1090"/>
                  <a:pt x="1861" y="1090"/>
                  <a:pt x="1859" y="1090"/>
                </a:cubicBezTo>
                <a:cubicBezTo>
                  <a:pt x="1859" y="1090"/>
                  <a:pt x="1859" y="1090"/>
                  <a:pt x="1859" y="1090"/>
                </a:cubicBezTo>
                <a:cubicBezTo>
                  <a:pt x="1859" y="1089"/>
                  <a:pt x="1858" y="1089"/>
                  <a:pt x="1858" y="1088"/>
                </a:cubicBezTo>
                <a:cubicBezTo>
                  <a:pt x="1858" y="1087"/>
                  <a:pt x="1858" y="1086"/>
                  <a:pt x="1859" y="1085"/>
                </a:cubicBezTo>
                <a:cubicBezTo>
                  <a:pt x="1860" y="1084"/>
                  <a:pt x="1863" y="1085"/>
                  <a:pt x="1863" y="1087"/>
                </a:cubicBezTo>
                <a:close/>
                <a:moveTo>
                  <a:pt x="1140" y="541"/>
                </a:moveTo>
                <a:cubicBezTo>
                  <a:pt x="1143" y="541"/>
                  <a:pt x="1143" y="542"/>
                  <a:pt x="1141" y="546"/>
                </a:cubicBezTo>
                <a:cubicBezTo>
                  <a:pt x="1140" y="546"/>
                  <a:pt x="1139" y="546"/>
                  <a:pt x="1138" y="545"/>
                </a:cubicBezTo>
                <a:cubicBezTo>
                  <a:pt x="1138" y="545"/>
                  <a:pt x="1140" y="541"/>
                  <a:pt x="1140" y="541"/>
                </a:cubicBezTo>
                <a:close/>
                <a:moveTo>
                  <a:pt x="1339" y="423"/>
                </a:moveTo>
                <a:cubicBezTo>
                  <a:pt x="1340" y="423"/>
                  <a:pt x="1341" y="422"/>
                  <a:pt x="1342" y="422"/>
                </a:cubicBezTo>
                <a:cubicBezTo>
                  <a:pt x="1342" y="422"/>
                  <a:pt x="1343" y="423"/>
                  <a:pt x="1342" y="423"/>
                </a:cubicBezTo>
                <a:cubicBezTo>
                  <a:pt x="1340" y="427"/>
                  <a:pt x="1340" y="427"/>
                  <a:pt x="1340" y="427"/>
                </a:cubicBezTo>
                <a:cubicBezTo>
                  <a:pt x="1339" y="428"/>
                  <a:pt x="1338" y="427"/>
                  <a:pt x="1338" y="427"/>
                </a:cubicBezTo>
                <a:cubicBezTo>
                  <a:pt x="1338" y="427"/>
                  <a:pt x="1335" y="428"/>
                  <a:pt x="1336" y="426"/>
                </a:cubicBezTo>
                <a:cubicBezTo>
                  <a:pt x="1336" y="426"/>
                  <a:pt x="1336" y="425"/>
                  <a:pt x="1335" y="425"/>
                </a:cubicBezTo>
                <a:cubicBezTo>
                  <a:pt x="1334" y="424"/>
                  <a:pt x="1333" y="425"/>
                  <a:pt x="1333" y="425"/>
                </a:cubicBezTo>
                <a:cubicBezTo>
                  <a:pt x="1332" y="425"/>
                  <a:pt x="1332" y="425"/>
                  <a:pt x="1332" y="424"/>
                </a:cubicBezTo>
                <a:cubicBezTo>
                  <a:pt x="1333" y="424"/>
                  <a:pt x="1334" y="423"/>
                  <a:pt x="1335" y="422"/>
                </a:cubicBezTo>
                <a:cubicBezTo>
                  <a:pt x="1336" y="421"/>
                  <a:pt x="1337" y="420"/>
                  <a:pt x="1339" y="420"/>
                </a:cubicBezTo>
                <a:cubicBezTo>
                  <a:pt x="1340" y="421"/>
                  <a:pt x="1339" y="423"/>
                  <a:pt x="1339" y="423"/>
                </a:cubicBezTo>
                <a:close/>
                <a:moveTo>
                  <a:pt x="1139" y="556"/>
                </a:moveTo>
                <a:cubicBezTo>
                  <a:pt x="1138" y="557"/>
                  <a:pt x="1136" y="556"/>
                  <a:pt x="1136" y="555"/>
                </a:cubicBezTo>
                <a:cubicBezTo>
                  <a:pt x="1136" y="553"/>
                  <a:pt x="1138" y="552"/>
                  <a:pt x="1140" y="553"/>
                </a:cubicBezTo>
                <a:cubicBezTo>
                  <a:pt x="1141" y="553"/>
                  <a:pt x="1140" y="556"/>
                  <a:pt x="1139" y="556"/>
                </a:cubicBezTo>
                <a:close/>
                <a:moveTo>
                  <a:pt x="1147" y="550"/>
                </a:moveTo>
                <a:cubicBezTo>
                  <a:pt x="1147" y="551"/>
                  <a:pt x="1147" y="552"/>
                  <a:pt x="1146" y="552"/>
                </a:cubicBezTo>
                <a:cubicBezTo>
                  <a:pt x="1145" y="552"/>
                  <a:pt x="1144" y="551"/>
                  <a:pt x="1144" y="550"/>
                </a:cubicBezTo>
                <a:cubicBezTo>
                  <a:pt x="1144" y="549"/>
                  <a:pt x="1147" y="548"/>
                  <a:pt x="1147" y="550"/>
                </a:cubicBezTo>
                <a:close/>
                <a:moveTo>
                  <a:pt x="1164" y="549"/>
                </a:moveTo>
                <a:cubicBezTo>
                  <a:pt x="1164" y="550"/>
                  <a:pt x="1163" y="552"/>
                  <a:pt x="1163" y="552"/>
                </a:cubicBezTo>
                <a:cubicBezTo>
                  <a:pt x="1162" y="553"/>
                  <a:pt x="1163" y="554"/>
                  <a:pt x="1162" y="554"/>
                </a:cubicBezTo>
                <a:cubicBezTo>
                  <a:pt x="1161" y="554"/>
                  <a:pt x="1159" y="554"/>
                  <a:pt x="1159" y="554"/>
                </a:cubicBezTo>
                <a:cubicBezTo>
                  <a:pt x="1158" y="552"/>
                  <a:pt x="1161" y="548"/>
                  <a:pt x="1162" y="548"/>
                </a:cubicBezTo>
                <a:cubicBezTo>
                  <a:pt x="1162" y="548"/>
                  <a:pt x="1165" y="548"/>
                  <a:pt x="1164" y="549"/>
                </a:cubicBezTo>
                <a:close/>
                <a:moveTo>
                  <a:pt x="1174" y="549"/>
                </a:moveTo>
                <a:cubicBezTo>
                  <a:pt x="1174" y="548"/>
                  <a:pt x="1174" y="546"/>
                  <a:pt x="1174" y="546"/>
                </a:cubicBezTo>
                <a:cubicBezTo>
                  <a:pt x="1174" y="544"/>
                  <a:pt x="1177" y="542"/>
                  <a:pt x="1177" y="544"/>
                </a:cubicBezTo>
                <a:cubicBezTo>
                  <a:pt x="1177" y="545"/>
                  <a:pt x="1178" y="549"/>
                  <a:pt x="1176" y="550"/>
                </a:cubicBezTo>
                <a:cubicBezTo>
                  <a:pt x="1175" y="550"/>
                  <a:pt x="1173" y="550"/>
                  <a:pt x="1173" y="550"/>
                </a:cubicBezTo>
                <a:cubicBezTo>
                  <a:pt x="1169" y="551"/>
                  <a:pt x="1172" y="550"/>
                  <a:pt x="1174" y="549"/>
                </a:cubicBezTo>
                <a:close/>
                <a:moveTo>
                  <a:pt x="1322" y="431"/>
                </a:moveTo>
                <a:cubicBezTo>
                  <a:pt x="1323" y="431"/>
                  <a:pt x="1323" y="430"/>
                  <a:pt x="1324" y="429"/>
                </a:cubicBezTo>
                <a:cubicBezTo>
                  <a:pt x="1325" y="429"/>
                  <a:pt x="1326" y="429"/>
                  <a:pt x="1326" y="430"/>
                </a:cubicBezTo>
                <a:cubicBezTo>
                  <a:pt x="1326" y="431"/>
                  <a:pt x="1324" y="433"/>
                  <a:pt x="1323" y="433"/>
                </a:cubicBezTo>
                <a:cubicBezTo>
                  <a:pt x="1323" y="433"/>
                  <a:pt x="1321" y="432"/>
                  <a:pt x="1322" y="431"/>
                </a:cubicBezTo>
                <a:close/>
                <a:moveTo>
                  <a:pt x="1182" y="538"/>
                </a:moveTo>
                <a:cubicBezTo>
                  <a:pt x="1183" y="539"/>
                  <a:pt x="1182" y="540"/>
                  <a:pt x="1182" y="541"/>
                </a:cubicBezTo>
                <a:cubicBezTo>
                  <a:pt x="1181" y="542"/>
                  <a:pt x="1178" y="543"/>
                  <a:pt x="1178" y="543"/>
                </a:cubicBezTo>
                <a:cubicBezTo>
                  <a:pt x="1177" y="538"/>
                  <a:pt x="1178" y="539"/>
                  <a:pt x="1179" y="539"/>
                </a:cubicBezTo>
                <a:cubicBezTo>
                  <a:pt x="1180" y="539"/>
                  <a:pt x="1181" y="537"/>
                  <a:pt x="1182" y="538"/>
                </a:cubicBezTo>
                <a:close/>
                <a:moveTo>
                  <a:pt x="1345" y="420"/>
                </a:moveTo>
                <a:cubicBezTo>
                  <a:pt x="1345" y="419"/>
                  <a:pt x="1347" y="419"/>
                  <a:pt x="1348" y="419"/>
                </a:cubicBezTo>
                <a:cubicBezTo>
                  <a:pt x="1348" y="419"/>
                  <a:pt x="1349" y="419"/>
                  <a:pt x="1349" y="419"/>
                </a:cubicBezTo>
                <a:cubicBezTo>
                  <a:pt x="1351" y="421"/>
                  <a:pt x="1351" y="423"/>
                  <a:pt x="1349" y="422"/>
                </a:cubicBezTo>
                <a:cubicBezTo>
                  <a:pt x="1348" y="422"/>
                  <a:pt x="1349" y="421"/>
                  <a:pt x="1348" y="421"/>
                </a:cubicBezTo>
                <a:cubicBezTo>
                  <a:pt x="1347" y="420"/>
                  <a:pt x="1345" y="421"/>
                  <a:pt x="1345" y="420"/>
                </a:cubicBezTo>
                <a:close/>
                <a:moveTo>
                  <a:pt x="1155" y="545"/>
                </a:moveTo>
                <a:cubicBezTo>
                  <a:pt x="1156" y="545"/>
                  <a:pt x="1158" y="545"/>
                  <a:pt x="1157" y="546"/>
                </a:cubicBezTo>
                <a:cubicBezTo>
                  <a:pt x="1157" y="547"/>
                  <a:pt x="1154" y="547"/>
                  <a:pt x="1153" y="549"/>
                </a:cubicBezTo>
                <a:cubicBezTo>
                  <a:pt x="1152" y="549"/>
                  <a:pt x="1153" y="551"/>
                  <a:pt x="1152" y="551"/>
                </a:cubicBezTo>
                <a:cubicBezTo>
                  <a:pt x="1149" y="553"/>
                  <a:pt x="1148" y="551"/>
                  <a:pt x="1149" y="549"/>
                </a:cubicBezTo>
                <a:cubicBezTo>
                  <a:pt x="1149" y="547"/>
                  <a:pt x="1151" y="548"/>
                  <a:pt x="1154" y="546"/>
                </a:cubicBezTo>
                <a:cubicBezTo>
                  <a:pt x="1154" y="546"/>
                  <a:pt x="1155" y="545"/>
                  <a:pt x="1155" y="545"/>
                </a:cubicBezTo>
                <a:close/>
                <a:moveTo>
                  <a:pt x="1082" y="442"/>
                </a:moveTo>
                <a:cubicBezTo>
                  <a:pt x="1082" y="441"/>
                  <a:pt x="1082" y="441"/>
                  <a:pt x="1081" y="441"/>
                </a:cubicBezTo>
                <a:cubicBezTo>
                  <a:pt x="1081" y="441"/>
                  <a:pt x="1079" y="442"/>
                  <a:pt x="1079" y="442"/>
                </a:cubicBezTo>
                <a:cubicBezTo>
                  <a:pt x="1079" y="442"/>
                  <a:pt x="1079" y="442"/>
                  <a:pt x="1079" y="442"/>
                </a:cubicBezTo>
                <a:cubicBezTo>
                  <a:pt x="1078" y="440"/>
                  <a:pt x="1075" y="440"/>
                  <a:pt x="1075" y="441"/>
                </a:cubicBezTo>
                <a:cubicBezTo>
                  <a:pt x="1074" y="443"/>
                  <a:pt x="1078" y="444"/>
                  <a:pt x="1080" y="444"/>
                </a:cubicBezTo>
                <a:cubicBezTo>
                  <a:pt x="1080" y="444"/>
                  <a:pt x="1081" y="444"/>
                  <a:pt x="1081" y="444"/>
                </a:cubicBezTo>
                <a:cubicBezTo>
                  <a:pt x="1082" y="443"/>
                  <a:pt x="1084" y="442"/>
                  <a:pt x="1082" y="442"/>
                </a:cubicBezTo>
                <a:close/>
                <a:moveTo>
                  <a:pt x="1076" y="442"/>
                </a:moveTo>
                <a:cubicBezTo>
                  <a:pt x="1075" y="442"/>
                  <a:pt x="1076" y="441"/>
                  <a:pt x="1076" y="441"/>
                </a:cubicBezTo>
                <a:cubicBezTo>
                  <a:pt x="1079" y="441"/>
                  <a:pt x="1078" y="444"/>
                  <a:pt x="1080" y="442"/>
                </a:cubicBezTo>
                <a:cubicBezTo>
                  <a:pt x="1082" y="441"/>
                  <a:pt x="1081" y="442"/>
                  <a:pt x="1082" y="442"/>
                </a:cubicBezTo>
                <a:cubicBezTo>
                  <a:pt x="1080" y="444"/>
                  <a:pt x="1080" y="444"/>
                  <a:pt x="1076" y="442"/>
                </a:cubicBezTo>
                <a:close/>
                <a:moveTo>
                  <a:pt x="1066" y="433"/>
                </a:moveTo>
                <a:cubicBezTo>
                  <a:pt x="1068" y="433"/>
                  <a:pt x="1067" y="432"/>
                  <a:pt x="1067" y="432"/>
                </a:cubicBezTo>
                <a:cubicBezTo>
                  <a:pt x="1067" y="430"/>
                  <a:pt x="1063" y="432"/>
                  <a:pt x="1063" y="432"/>
                </a:cubicBezTo>
                <a:cubicBezTo>
                  <a:pt x="1063" y="432"/>
                  <a:pt x="1063" y="434"/>
                  <a:pt x="1064" y="434"/>
                </a:cubicBezTo>
                <a:cubicBezTo>
                  <a:pt x="1065" y="434"/>
                  <a:pt x="1066" y="434"/>
                  <a:pt x="1066" y="433"/>
                </a:cubicBezTo>
                <a:close/>
                <a:moveTo>
                  <a:pt x="1064" y="433"/>
                </a:moveTo>
                <a:cubicBezTo>
                  <a:pt x="1064" y="433"/>
                  <a:pt x="1064" y="433"/>
                  <a:pt x="1063" y="432"/>
                </a:cubicBezTo>
                <a:cubicBezTo>
                  <a:pt x="1064" y="432"/>
                  <a:pt x="1066" y="432"/>
                  <a:pt x="1066" y="432"/>
                </a:cubicBezTo>
                <a:cubicBezTo>
                  <a:pt x="1066" y="432"/>
                  <a:pt x="1066" y="432"/>
                  <a:pt x="1066" y="432"/>
                </a:cubicBezTo>
                <a:cubicBezTo>
                  <a:pt x="1067" y="432"/>
                  <a:pt x="1067" y="432"/>
                  <a:pt x="1067" y="432"/>
                </a:cubicBezTo>
                <a:cubicBezTo>
                  <a:pt x="1067" y="433"/>
                  <a:pt x="1065" y="433"/>
                  <a:pt x="1064" y="433"/>
                </a:cubicBezTo>
                <a:cubicBezTo>
                  <a:pt x="1064" y="433"/>
                  <a:pt x="1064" y="433"/>
                  <a:pt x="1064" y="433"/>
                </a:cubicBezTo>
                <a:close/>
                <a:moveTo>
                  <a:pt x="1054" y="434"/>
                </a:moveTo>
                <a:cubicBezTo>
                  <a:pt x="1053" y="434"/>
                  <a:pt x="1053" y="434"/>
                  <a:pt x="1053" y="434"/>
                </a:cubicBezTo>
                <a:cubicBezTo>
                  <a:pt x="1051" y="435"/>
                  <a:pt x="1050" y="438"/>
                  <a:pt x="1052" y="437"/>
                </a:cubicBezTo>
                <a:cubicBezTo>
                  <a:pt x="1054" y="437"/>
                  <a:pt x="1054" y="438"/>
                  <a:pt x="1055" y="438"/>
                </a:cubicBezTo>
                <a:cubicBezTo>
                  <a:pt x="1056" y="438"/>
                  <a:pt x="1056" y="437"/>
                  <a:pt x="1056" y="437"/>
                </a:cubicBezTo>
                <a:cubicBezTo>
                  <a:pt x="1056" y="435"/>
                  <a:pt x="1057" y="433"/>
                  <a:pt x="1054" y="434"/>
                </a:cubicBezTo>
                <a:close/>
                <a:moveTo>
                  <a:pt x="1055" y="437"/>
                </a:moveTo>
                <a:cubicBezTo>
                  <a:pt x="1053" y="437"/>
                  <a:pt x="1053" y="437"/>
                  <a:pt x="1053" y="437"/>
                </a:cubicBezTo>
                <a:cubicBezTo>
                  <a:pt x="1052" y="437"/>
                  <a:pt x="1052" y="437"/>
                  <a:pt x="1052" y="437"/>
                </a:cubicBezTo>
                <a:cubicBezTo>
                  <a:pt x="1051" y="436"/>
                  <a:pt x="1053" y="435"/>
                  <a:pt x="1053" y="435"/>
                </a:cubicBezTo>
                <a:cubicBezTo>
                  <a:pt x="1054" y="435"/>
                  <a:pt x="1054" y="435"/>
                  <a:pt x="1055" y="435"/>
                </a:cubicBezTo>
                <a:cubicBezTo>
                  <a:pt x="1055" y="435"/>
                  <a:pt x="1055" y="435"/>
                  <a:pt x="1055" y="435"/>
                </a:cubicBezTo>
                <a:cubicBezTo>
                  <a:pt x="1055" y="435"/>
                  <a:pt x="1055" y="436"/>
                  <a:pt x="1055" y="437"/>
                </a:cubicBezTo>
                <a:close/>
                <a:moveTo>
                  <a:pt x="1075" y="677"/>
                </a:moveTo>
                <a:cubicBezTo>
                  <a:pt x="1073" y="680"/>
                  <a:pt x="1073" y="677"/>
                  <a:pt x="1071" y="679"/>
                </a:cubicBezTo>
                <a:cubicBezTo>
                  <a:pt x="1071" y="679"/>
                  <a:pt x="1070" y="679"/>
                  <a:pt x="1070" y="678"/>
                </a:cubicBezTo>
                <a:cubicBezTo>
                  <a:pt x="1071" y="675"/>
                  <a:pt x="1075" y="677"/>
                  <a:pt x="1075" y="677"/>
                </a:cubicBezTo>
                <a:close/>
                <a:moveTo>
                  <a:pt x="1067" y="676"/>
                </a:moveTo>
                <a:cubicBezTo>
                  <a:pt x="1065" y="677"/>
                  <a:pt x="1066" y="679"/>
                  <a:pt x="1065" y="677"/>
                </a:cubicBezTo>
                <a:cubicBezTo>
                  <a:pt x="1064" y="675"/>
                  <a:pt x="1065" y="674"/>
                  <a:pt x="1065" y="674"/>
                </a:cubicBezTo>
                <a:cubicBezTo>
                  <a:pt x="1066" y="674"/>
                  <a:pt x="1068" y="675"/>
                  <a:pt x="1067" y="676"/>
                </a:cubicBezTo>
                <a:close/>
                <a:moveTo>
                  <a:pt x="1068" y="697"/>
                </a:moveTo>
                <a:cubicBezTo>
                  <a:pt x="1067" y="699"/>
                  <a:pt x="1067" y="697"/>
                  <a:pt x="1067" y="697"/>
                </a:cubicBezTo>
                <a:cubicBezTo>
                  <a:pt x="1068" y="696"/>
                  <a:pt x="1068" y="696"/>
                  <a:pt x="1068" y="697"/>
                </a:cubicBezTo>
                <a:close/>
                <a:moveTo>
                  <a:pt x="1072" y="697"/>
                </a:moveTo>
                <a:cubicBezTo>
                  <a:pt x="1071" y="697"/>
                  <a:pt x="1071" y="698"/>
                  <a:pt x="1070" y="697"/>
                </a:cubicBezTo>
                <a:cubicBezTo>
                  <a:pt x="1069" y="697"/>
                  <a:pt x="1068" y="697"/>
                  <a:pt x="1069" y="694"/>
                </a:cubicBezTo>
                <a:cubicBezTo>
                  <a:pt x="1072" y="694"/>
                  <a:pt x="1072" y="697"/>
                  <a:pt x="1072" y="697"/>
                </a:cubicBezTo>
                <a:close/>
                <a:moveTo>
                  <a:pt x="1078" y="692"/>
                </a:moveTo>
                <a:cubicBezTo>
                  <a:pt x="1078" y="693"/>
                  <a:pt x="1081" y="699"/>
                  <a:pt x="1078" y="697"/>
                </a:cubicBezTo>
                <a:cubicBezTo>
                  <a:pt x="1076" y="696"/>
                  <a:pt x="1075" y="696"/>
                  <a:pt x="1075" y="694"/>
                </a:cubicBezTo>
                <a:cubicBezTo>
                  <a:pt x="1076" y="692"/>
                  <a:pt x="1078" y="692"/>
                  <a:pt x="1078" y="692"/>
                </a:cubicBezTo>
                <a:close/>
                <a:moveTo>
                  <a:pt x="1064" y="674"/>
                </a:moveTo>
                <a:cubicBezTo>
                  <a:pt x="1060" y="675"/>
                  <a:pt x="1062" y="672"/>
                  <a:pt x="1062" y="671"/>
                </a:cubicBezTo>
                <a:cubicBezTo>
                  <a:pt x="1063" y="671"/>
                  <a:pt x="1064" y="670"/>
                  <a:pt x="1065" y="671"/>
                </a:cubicBezTo>
                <a:cubicBezTo>
                  <a:pt x="1065" y="671"/>
                  <a:pt x="1066" y="670"/>
                  <a:pt x="1066" y="672"/>
                </a:cubicBezTo>
                <a:cubicBezTo>
                  <a:pt x="1065" y="673"/>
                  <a:pt x="1066" y="673"/>
                  <a:pt x="1064" y="674"/>
                </a:cubicBezTo>
                <a:close/>
                <a:moveTo>
                  <a:pt x="1084" y="692"/>
                </a:moveTo>
                <a:cubicBezTo>
                  <a:pt x="1084" y="692"/>
                  <a:pt x="1082" y="694"/>
                  <a:pt x="1082" y="694"/>
                </a:cubicBezTo>
                <a:cubicBezTo>
                  <a:pt x="1082" y="694"/>
                  <a:pt x="1082" y="690"/>
                  <a:pt x="1084" y="692"/>
                </a:cubicBezTo>
                <a:close/>
                <a:moveTo>
                  <a:pt x="1089" y="684"/>
                </a:moveTo>
                <a:cubicBezTo>
                  <a:pt x="1089" y="684"/>
                  <a:pt x="1087" y="686"/>
                  <a:pt x="1086" y="685"/>
                </a:cubicBezTo>
                <a:cubicBezTo>
                  <a:pt x="1084" y="684"/>
                  <a:pt x="1084" y="681"/>
                  <a:pt x="1086" y="681"/>
                </a:cubicBezTo>
                <a:cubicBezTo>
                  <a:pt x="1087" y="681"/>
                  <a:pt x="1089" y="683"/>
                  <a:pt x="1089" y="684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6350" cap="sq">
            <a:noFill/>
            <a:prstDash val="solid"/>
            <a:bevel/>
            <a:headEnd/>
            <a:tailEnd/>
          </a:ln>
        </p:spPr>
        <p:txBody>
          <a:bodyPr vert="horz" wrap="square" lIns="101882" tIns="50941" rIns="101882" bIns="5094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62" name="Elbow Connector 1061"/>
          <p:cNvCxnSpPr>
            <a:stCxn id="462" idx="0"/>
            <a:endCxn id="469" idx="1"/>
          </p:cNvCxnSpPr>
          <p:nvPr/>
        </p:nvCxnSpPr>
        <p:spPr>
          <a:xfrm rot="5400000" flipH="1" flipV="1">
            <a:off x="4651797" y="1576910"/>
            <a:ext cx="211128" cy="1399263"/>
          </a:xfrm>
          <a:prstGeom prst="bentConnector2">
            <a:avLst/>
          </a:prstGeom>
          <a:ln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2" name="Oval 461"/>
          <p:cNvSpPr/>
          <p:nvPr/>
        </p:nvSpPr>
        <p:spPr>
          <a:xfrm>
            <a:off x="3992510" y="2382105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3" name="Oval 462"/>
          <p:cNvSpPr/>
          <p:nvPr/>
        </p:nvSpPr>
        <p:spPr>
          <a:xfrm>
            <a:off x="4112387" y="2625973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4" name="Oval 463"/>
          <p:cNvSpPr/>
          <p:nvPr/>
        </p:nvSpPr>
        <p:spPr>
          <a:xfrm>
            <a:off x="1283928" y="2788159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5" name="Oval 464"/>
          <p:cNvSpPr/>
          <p:nvPr/>
        </p:nvSpPr>
        <p:spPr>
          <a:xfrm>
            <a:off x="2016783" y="2916680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6" name="Oval 465"/>
          <p:cNvSpPr/>
          <p:nvPr/>
        </p:nvSpPr>
        <p:spPr>
          <a:xfrm>
            <a:off x="1118082" y="2986366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7" name="Oval 466"/>
          <p:cNvSpPr/>
          <p:nvPr/>
        </p:nvSpPr>
        <p:spPr>
          <a:xfrm>
            <a:off x="1700317" y="3098488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8" name="Oval 467"/>
          <p:cNvSpPr/>
          <p:nvPr/>
        </p:nvSpPr>
        <p:spPr>
          <a:xfrm>
            <a:off x="1557135" y="3057999"/>
            <a:ext cx="130440" cy="130440"/>
          </a:xfrm>
          <a:prstGeom prst="ellipse">
            <a:avLst/>
          </a:prstGeom>
          <a:solidFill>
            <a:srgbClr val="03519C"/>
          </a:solidFill>
          <a:ln>
            <a:solidFill>
              <a:srgbClr val="0351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69" name="Table 4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367065"/>
              </p:ext>
            </p:extLst>
          </p:nvPr>
        </p:nvGraphicFramePr>
        <p:xfrm>
          <a:off x="5456993" y="1859251"/>
          <a:ext cx="1649535" cy="6234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452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elfast, UK</a:t>
                      </a:r>
                      <a:endParaRPr lang="en-US" sz="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ales / engineering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employees</a:t>
                      </a: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2" name="Table 4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5551043"/>
              </p:ext>
            </p:extLst>
          </p:nvPr>
        </p:nvGraphicFramePr>
        <p:xfrm>
          <a:off x="977984" y="1447684"/>
          <a:ext cx="2147006" cy="903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70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452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lgary, AB</a:t>
                      </a:r>
                    </a:p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1" i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1450" indent="-7778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2,000 sq. ft. (cell</a:t>
                      </a:r>
                      <a:r>
                        <a:rPr lang="en-US" sz="9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manufacturing)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11,700 sq. ft.</a:t>
                      </a:r>
                      <a:r>
                        <a:rPr lang="en-US" sz="9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pack manufacturing)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7 employees</a:t>
                      </a: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3" name="Table 4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851404"/>
              </p:ext>
            </p:extLst>
          </p:nvPr>
        </p:nvGraphicFramePr>
        <p:xfrm>
          <a:off x="5197689" y="3068180"/>
          <a:ext cx="1196818" cy="6234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68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452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schede, NL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ulfillment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employees</a:t>
                      </a: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4" name="Table 4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85429"/>
              </p:ext>
            </p:extLst>
          </p:nvPr>
        </p:nvGraphicFramePr>
        <p:xfrm>
          <a:off x="2629974" y="3163708"/>
          <a:ext cx="1834301" cy="6338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43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3831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llerica, MA</a:t>
                      </a:r>
                    </a:p>
                    <a:p>
                      <a:pPr marL="177800" indent="-84138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ufacturing / distribution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2,000 sq. ft.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6 employees</a:t>
                      </a: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5" name="Table 4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376065"/>
              </p:ext>
            </p:extLst>
          </p:nvPr>
        </p:nvGraphicFramePr>
        <p:xfrm>
          <a:off x="314251" y="4069841"/>
          <a:ext cx="1749640" cy="14523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9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17653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enderson, NV</a:t>
                      </a:r>
                    </a:p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ithion</a:t>
                      </a: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Head Office</a:t>
                      </a:r>
                    </a:p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FP cell manufacturing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80,000 sq. ft.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dule Manufacturing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120,000 sq. ft.                                         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2 </a:t>
                      </a: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mployees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6" name="Table 4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9956141"/>
              </p:ext>
            </p:extLst>
          </p:nvPr>
        </p:nvGraphicFramePr>
        <p:xfrm>
          <a:off x="2547227" y="4812998"/>
          <a:ext cx="1649535" cy="11780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8043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ustin, TX</a:t>
                      </a:r>
                      <a:endParaRPr lang="en-US" sz="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ngineering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12,000 sq. ft.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CBA Manufacturing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10,000 sq. ft.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employees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77" name="Table 4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487499"/>
              </p:ext>
            </p:extLst>
          </p:nvPr>
        </p:nvGraphicFramePr>
        <p:xfrm>
          <a:off x="3478792" y="1468037"/>
          <a:ext cx="1649535" cy="629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452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ouston, TX</a:t>
                      </a:r>
                      <a:endParaRPr lang="en-US" sz="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ck manufacturing </a:t>
                      </a:r>
                    </a:p>
                    <a:p>
                      <a:pPr marL="93662" indent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  12,000 sq. ft.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 employees</a:t>
                      </a: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478" name="Elbow Connector 477"/>
          <p:cNvCxnSpPr>
            <a:stCxn id="463" idx="6"/>
            <a:endCxn id="473" idx="1"/>
          </p:cNvCxnSpPr>
          <p:nvPr/>
        </p:nvCxnSpPr>
        <p:spPr>
          <a:xfrm>
            <a:off x="4242827" y="2691193"/>
            <a:ext cx="954862" cy="688713"/>
          </a:xfrm>
          <a:prstGeom prst="bentConnector3">
            <a:avLst>
              <a:gd name="adj1" fmla="val 50000"/>
            </a:avLst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2" name="Elbow Connector 481"/>
          <p:cNvCxnSpPr>
            <a:stCxn id="465" idx="6"/>
            <a:endCxn id="474" idx="1"/>
          </p:cNvCxnSpPr>
          <p:nvPr/>
        </p:nvCxnSpPr>
        <p:spPr>
          <a:xfrm>
            <a:off x="2147223" y="2981900"/>
            <a:ext cx="482751" cy="498723"/>
          </a:xfrm>
          <a:prstGeom prst="bentConnector3">
            <a:avLst>
              <a:gd name="adj1" fmla="val 50000"/>
            </a:avLst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6" name="Elbow Connector 485"/>
          <p:cNvCxnSpPr>
            <a:cxnSpLocks/>
            <a:stCxn id="464" idx="0"/>
            <a:endCxn id="472" idx="2"/>
          </p:cNvCxnSpPr>
          <p:nvPr/>
        </p:nvCxnSpPr>
        <p:spPr>
          <a:xfrm rot="5400000" flipH="1" flipV="1">
            <a:off x="1481946" y="2218619"/>
            <a:ext cx="436743" cy="702339"/>
          </a:xfrm>
          <a:prstGeom prst="bentConnector3">
            <a:avLst>
              <a:gd name="adj1" fmla="val 50000"/>
            </a:avLst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Elbow Connector 488"/>
          <p:cNvCxnSpPr>
            <a:cxnSpLocks/>
            <a:stCxn id="475" idx="0"/>
            <a:endCxn id="466" idx="4"/>
          </p:cNvCxnSpPr>
          <p:nvPr/>
        </p:nvCxnSpPr>
        <p:spPr>
          <a:xfrm rot="16200000" flipV="1">
            <a:off x="709670" y="3590439"/>
            <a:ext cx="953035" cy="5769"/>
          </a:xfrm>
          <a:prstGeom prst="bentConnector3">
            <a:avLst>
              <a:gd name="adj1" fmla="val 50000"/>
            </a:avLst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4" name="Elbow Connector 493"/>
          <p:cNvCxnSpPr>
            <a:cxnSpLocks/>
            <a:stCxn id="476" idx="0"/>
            <a:endCxn id="468" idx="4"/>
          </p:cNvCxnSpPr>
          <p:nvPr/>
        </p:nvCxnSpPr>
        <p:spPr>
          <a:xfrm rot="16200000" flipV="1">
            <a:off x="1684896" y="3125899"/>
            <a:ext cx="1624559" cy="1749639"/>
          </a:xfrm>
          <a:prstGeom prst="bentConnector3">
            <a:avLst>
              <a:gd name="adj1" fmla="val 50000"/>
            </a:avLst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" name="Elbow Connector 498"/>
          <p:cNvCxnSpPr>
            <a:cxnSpLocks/>
            <a:endCxn id="467" idx="4"/>
          </p:cNvCxnSpPr>
          <p:nvPr/>
        </p:nvCxnSpPr>
        <p:spPr>
          <a:xfrm rot="10800000" flipV="1">
            <a:off x="1765538" y="2091278"/>
            <a:ext cx="2146527" cy="1137650"/>
          </a:xfrm>
          <a:prstGeom prst="bentConnector4">
            <a:avLst>
              <a:gd name="adj1" fmla="val -266"/>
              <a:gd name="adj2" fmla="val 71205"/>
            </a:avLst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/>
          <p:cNvSpPr/>
          <p:nvPr/>
        </p:nvSpPr>
        <p:spPr>
          <a:xfrm>
            <a:off x="6617141" y="3079739"/>
            <a:ext cx="130440" cy="130440"/>
          </a:xfrm>
          <a:prstGeom prst="ellipse">
            <a:avLst/>
          </a:prstGeom>
          <a:solidFill>
            <a:srgbClr val="0351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8" name="Table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654633"/>
              </p:ext>
            </p:extLst>
          </p:nvPr>
        </p:nvGraphicFramePr>
        <p:xfrm>
          <a:off x="6948521" y="3629140"/>
          <a:ext cx="1649535" cy="55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3080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hanghai, CN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ourcing /Engineering</a:t>
                      </a:r>
                    </a:p>
                    <a:p>
                      <a:pPr marL="177800" indent="-84138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employees</a:t>
                      </a:r>
                    </a:p>
                  </a:txBody>
                  <a:tcPr marL="80645" marR="80645" marT="40386" marB="4038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09" name="Elbow Connector 108"/>
          <p:cNvCxnSpPr>
            <a:cxnSpLocks/>
            <a:stCxn id="108" idx="0"/>
            <a:endCxn id="107" idx="6"/>
          </p:cNvCxnSpPr>
          <p:nvPr/>
        </p:nvCxnSpPr>
        <p:spPr>
          <a:xfrm rot="16200000" flipV="1">
            <a:off x="7018345" y="2874196"/>
            <a:ext cx="484181" cy="1025707"/>
          </a:xfrm>
          <a:prstGeom prst="bentConnector2">
            <a:avLst/>
          </a:prstGeom>
          <a:ln>
            <a:solidFill>
              <a:srgbClr val="035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458464" y="390615"/>
            <a:ext cx="1458694" cy="50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5292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ithion: Domestic cell manufacturing evolu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7651" y="5513832"/>
            <a:ext cx="8648699" cy="737906"/>
          </a:xfrm>
          <a:prstGeom prst="rect">
            <a:avLst/>
          </a:prstGeom>
          <a:solidFill>
            <a:srgbClr val="07539D"/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77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6B2C5F5-9A68-4514-AA70-F868A05021D3}"/>
              </a:ext>
            </a:extLst>
          </p:cNvPr>
          <p:cNvGrpSpPr/>
          <p:nvPr/>
        </p:nvGrpSpPr>
        <p:grpSpPr>
          <a:xfrm>
            <a:off x="347448" y="1809930"/>
            <a:ext cx="8238765" cy="498941"/>
            <a:chOff x="340974" y="1825283"/>
            <a:chExt cx="8238765" cy="498941"/>
          </a:xfrm>
          <a:solidFill>
            <a:schemeClr val="bg1">
              <a:lumMod val="85000"/>
            </a:schemeClr>
          </a:solidFill>
        </p:grpSpPr>
        <p:sp>
          <p:nvSpPr>
            <p:cNvPr id="510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340974" y="1859929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ounded Rectangle 105">
              <a:extLst>
                <a:ext uri="{FF2B5EF4-FFF2-40B4-BE49-F238E27FC236}">
                  <a16:creationId xmlns:a16="http://schemas.microsoft.com/office/drawing/2014/main" id="{C91DADCF-E9D1-4E56-8028-A18716315FB8}"/>
                </a:ext>
              </a:extLst>
            </p:cNvPr>
            <p:cNvSpPr/>
            <p:nvPr/>
          </p:nvSpPr>
          <p:spPr>
            <a:xfrm>
              <a:off x="733373" y="1825283"/>
              <a:ext cx="7846366" cy="49894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condary goal: 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vide a path for commercialization for new U.S.-developed battery materials and processes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BEB4455-D068-4A69-9FD7-BAD399174404}"/>
              </a:ext>
            </a:extLst>
          </p:cNvPr>
          <p:cNvGrpSpPr/>
          <p:nvPr/>
        </p:nvGrpSpPr>
        <p:grpSpPr>
          <a:xfrm>
            <a:off x="347448" y="2418312"/>
            <a:ext cx="8249391" cy="498941"/>
            <a:chOff x="352131" y="2429155"/>
            <a:chExt cx="8238234" cy="498941"/>
          </a:xfrm>
        </p:grpSpPr>
        <p:sp>
          <p:nvSpPr>
            <p:cNvPr id="511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352131" y="2454276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ounded Rectangle 105">
              <a:extLst>
                <a:ext uri="{FF2B5EF4-FFF2-40B4-BE49-F238E27FC236}">
                  <a16:creationId xmlns:a16="http://schemas.microsoft.com/office/drawing/2014/main" id="{13FB7824-D393-41A3-B71B-C22FE0305214}"/>
                </a:ext>
              </a:extLst>
            </p:cNvPr>
            <p:cNvSpPr/>
            <p:nvPr/>
          </p:nvSpPr>
          <p:spPr>
            <a:xfrm>
              <a:off x="743999" y="2429155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uture expansion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Cylindrical cell facility to be a precursor for a larger prismatic cell facility as the energy storage market became more defined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2157B7-700B-4748-AC2E-4BE3B9A8A9FB}"/>
              </a:ext>
            </a:extLst>
          </p:cNvPr>
          <p:cNvGrpSpPr/>
          <p:nvPr/>
        </p:nvGrpSpPr>
        <p:grpSpPr>
          <a:xfrm>
            <a:off x="369549" y="3017831"/>
            <a:ext cx="8220816" cy="498941"/>
            <a:chOff x="369549" y="3025423"/>
            <a:chExt cx="8220816" cy="498941"/>
          </a:xfrm>
        </p:grpSpPr>
        <p:sp>
          <p:nvSpPr>
            <p:cNvPr id="512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369549" y="3050544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ounded Rectangle 105">
              <a:extLst>
                <a:ext uri="{FF2B5EF4-FFF2-40B4-BE49-F238E27FC236}">
                  <a16:creationId xmlns:a16="http://schemas.microsoft.com/office/drawing/2014/main" id="{F6CF2BCD-F7FB-473A-83CA-82A5B00CBA6C}"/>
                </a:ext>
              </a:extLst>
            </p:cNvPr>
            <p:cNvSpPr/>
            <p:nvPr/>
          </p:nvSpPr>
          <p:spPr>
            <a:xfrm>
              <a:off x="743999" y="3025423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8AF2B01-1DF0-4CAC-B59E-9D59D8D5C875}"/>
              </a:ext>
            </a:extLst>
          </p:cNvPr>
          <p:cNvGrpSpPr/>
          <p:nvPr/>
        </p:nvGrpSpPr>
        <p:grpSpPr>
          <a:xfrm>
            <a:off x="376023" y="3617350"/>
            <a:ext cx="8220816" cy="498941"/>
            <a:chOff x="369549" y="3610095"/>
            <a:chExt cx="8220816" cy="498941"/>
          </a:xfrm>
        </p:grpSpPr>
        <p:sp>
          <p:nvSpPr>
            <p:cNvPr id="516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369549" y="3635216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ounded Rectangle 105">
              <a:extLst>
                <a:ext uri="{FF2B5EF4-FFF2-40B4-BE49-F238E27FC236}">
                  <a16:creationId xmlns:a16="http://schemas.microsoft.com/office/drawing/2014/main" id="{88FE7BC0-1521-4707-86A6-5A051797B0C2}"/>
                </a:ext>
              </a:extLst>
            </p:cNvPr>
            <p:cNvSpPr/>
            <p:nvPr/>
          </p:nvSpPr>
          <p:spPr>
            <a:xfrm>
              <a:off x="743999" y="3610095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DD8693A-89B7-4F0F-80B8-0734B9E8B45F}"/>
              </a:ext>
            </a:extLst>
          </p:cNvPr>
          <p:cNvGrpSpPr/>
          <p:nvPr/>
        </p:nvGrpSpPr>
        <p:grpSpPr>
          <a:xfrm>
            <a:off x="382497" y="4216869"/>
            <a:ext cx="8214342" cy="498941"/>
            <a:chOff x="376023" y="4190589"/>
            <a:chExt cx="8214342" cy="498941"/>
          </a:xfrm>
        </p:grpSpPr>
        <p:sp>
          <p:nvSpPr>
            <p:cNvPr id="18" name="Bol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A2E8F69-5BB4-D741-B02C-F8FBC0A76905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376023" y="4215710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ounded Rectangle 105">
              <a:extLst>
                <a:ext uri="{FF2B5EF4-FFF2-40B4-BE49-F238E27FC236}">
                  <a16:creationId xmlns:a16="http://schemas.microsoft.com/office/drawing/2014/main" id="{8CD8C2E5-992D-413A-8F09-9C0E538A587B}"/>
                </a:ext>
              </a:extLst>
            </p:cNvPr>
            <p:cNvSpPr/>
            <p:nvPr/>
          </p:nvSpPr>
          <p:spPr>
            <a:xfrm>
              <a:off x="743999" y="4190589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7B5E5-85DB-475D-B4E3-D7B1AF1F93A7}"/>
              </a:ext>
            </a:extLst>
          </p:cNvPr>
          <p:cNvGrpSpPr/>
          <p:nvPr/>
        </p:nvGrpSpPr>
        <p:grpSpPr>
          <a:xfrm>
            <a:off x="363075" y="4816388"/>
            <a:ext cx="8227290" cy="498941"/>
            <a:chOff x="369549" y="4877887"/>
            <a:chExt cx="8227290" cy="498941"/>
          </a:xfrm>
        </p:grpSpPr>
        <p:sp>
          <p:nvSpPr>
            <p:cNvPr id="517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369549" y="4919389"/>
              <a:ext cx="280436" cy="415936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ounded Rectangle 105">
              <a:extLst>
                <a:ext uri="{FF2B5EF4-FFF2-40B4-BE49-F238E27FC236}">
                  <a16:creationId xmlns:a16="http://schemas.microsoft.com/office/drawing/2014/main" id="{D4DD4B37-4E61-46F4-BD83-DB4E0D8A0EF3}"/>
                </a:ext>
              </a:extLst>
            </p:cNvPr>
            <p:cNvSpPr/>
            <p:nvPr/>
          </p:nvSpPr>
          <p:spPr>
            <a:xfrm>
              <a:off x="750473" y="4877887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B9B6E6E-BCE2-B6FB-3CC9-E6A329F511CF}"/>
              </a:ext>
            </a:extLst>
          </p:cNvPr>
          <p:cNvGrpSpPr/>
          <p:nvPr/>
        </p:nvGrpSpPr>
        <p:grpSpPr>
          <a:xfrm>
            <a:off x="340974" y="1184948"/>
            <a:ext cx="8249391" cy="498941"/>
            <a:chOff x="340974" y="1825283"/>
            <a:chExt cx="8249391" cy="498941"/>
          </a:xfrm>
          <a:solidFill>
            <a:schemeClr val="bg1">
              <a:lumMod val="85000"/>
            </a:schemeClr>
          </a:solidFill>
        </p:grpSpPr>
        <p:sp>
          <p:nvSpPr>
            <p:cNvPr id="27" name="Bol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B70AF13-E3E5-931A-AE48-D8DB9CDED0E4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340974" y="1859929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ounded Rectangle 105">
              <a:extLst>
                <a:ext uri="{FF2B5EF4-FFF2-40B4-BE49-F238E27FC236}">
                  <a16:creationId xmlns:a16="http://schemas.microsoft.com/office/drawing/2014/main" id="{188BD5F0-C45E-E2EF-78EC-C84D9BCBECC7}"/>
                </a:ext>
              </a:extLst>
            </p:cNvPr>
            <p:cNvSpPr/>
            <p:nvPr/>
          </p:nvSpPr>
          <p:spPr>
            <a:xfrm>
              <a:off x="743999" y="1825283"/>
              <a:ext cx="7846366" cy="49894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riginal 2019 concept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Domestic cell manufacturing for customers concerned with increased supply chains costs and potential supply chain interruption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832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ithion: LFP Cell Manufacturing Highlight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7651" y="5513832"/>
            <a:ext cx="8648699" cy="737906"/>
          </a:xfrm>
          <a:prstGeom prst="rect">
            <a:avLst/>
          </a:prstGeom>
          <a:solidFill>
            <a:srgbClr val="07539D"/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77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6B2C5F5-9A68-4514-AA70-F868A05021D3}"/>
              </a:ext>
            </a:extLst>
          </p:cNvPr>
          <p:cNvGrpSpPr/>
          <p:nvPr/>
        </p:nvGrpSpPr>
        <p:grpSpPr>
          <a:xfrm>
            <a:off x="347448" y="1809930"/>
            <a:ext cx="8238765" cy="498941"/>
            <a:chOff x="340974" y="1825283"/>
            <a:chExt cx="8238765" cy="498941"/>
          </a:xfrm>
          <a:solidFill>
            <a:schemeClr val="bg1">
              <a:lumMod val="85000"/>
            </a:schemeClr>
          </a:solidFill>
        </p:grpSpPr>
        <p:sp>
          <p:nvSpPr>
            <p:cNvPr id="510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340974" y="1859929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ounded Rectangle 105">
              <a:extLst>
                <a:ext uri="{FF2B5EF4-FFF2-40B4-BE49-F238E27FC236}">
                  <a16:creationId xmlns:a16="http://schemas.microsoft.com/office/drawing/2014/main" id="{C91DADCF-E9D1-4E56-8028-A18716315FB8}"/>
                </a:ext>
              </a:extLst>
            </p:cNvPr>
            <p:cNvSpPr/>
            <p:nvPr/>
          </p:nvSpPr>
          <p:spPr>
            <a:xfrm>
              <a:off x="733373" y="1825283"/>
              <a:ext cx="7846366" cy="49894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pacity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Initial manufacturing capacity of &gt;40 MW/year </a:t>
              </a:r>
              <a:r>
                <a:rPr lang="en-US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quates to ~4 – 5 million 26650 cells per annum)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BEB4455-D068-4A69-9FD7-BAD399174404}"/>
              </a:ext>
            </a:extLst>
          </p:cNvPr>
          <p:cNvGrpSpPr/>
          <p:nvPr/>
        </p:nvGrpSpPr>
        <p:grpSpPr>
          <a:xfrm>
            <a:off x="347448" y="2418312"/>
            <a:ext cx="8249391" cy="498941"/>
            <a:chOff x="352131" y="2429155"/>
            <a:chExt cx="8238234" cy="498941"/>
          </a:xfrm>
        </p:grpSpPr>
        <p:sp>
          <p:nvSpPr>
            <p:cNvPr id="511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352131" y="2454276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ounded Rectangle 105">
              <a:extLst>
                <a:ext uri="{FF2B5EF4-FFF2-40B4-BE49-F238E27FC236}">
                  <a16:creationId xmlns:a16="http://schemas.microsoft.com/office/drawing/2014/main" id="{13FB7824-D393-41A3-B71B-C22FE0305214}"/>
                </a:ext>
              </a:extLst>
            </p:cNvPr>
            <p:cNvSpPr/>
            <p:nvPr/>
          </p:nvSpPr>
          <p:spPr>
            <a:xfrm>
              <a:off x="743999" y="2429155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xpansion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Plan to increase manufacturing capacity to &gt;80 MW </a:t>
              </a:r>
              <a:r>
                <a:rPr lang="en-US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current facility has sufficient space, power, and electrode coating capacity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2157B7-700B-4748-AC2E-4BE3B9A8A9FB}"/>
              </a:ext>
            </a:extLst>
          </p:cNvPr>
          <p:cNvGrpSpPr/>
          <p:nvPr/>
        </p:nvGrpSpPr>
        <p:grpSpPr>
          <a:xfrm>
            <a:off x="369549" y="3017831"/>
            <a:ext cx="8220816" cy="498941"/>
            <a:chOff x="369549" y="3025423"/>
            <a:chExt cx="8220816" cy="498941"/>
          </a:xfrm>
        </p:grpSpPr>
        <p:sp>
          <p:nvSpPr>
            <p:cNvPr id="512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369549" y="3050544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ounded Rectangle 105">
              <a:extLst>
                <a:ext uri="{FF2B5EF4-FFF2-40B4-BE49-F238E27FC236}">
                  <a16:creationId xmlns:a16="http://schemas.microsoft.com/office/drawing/2014/main" id="{F6CF2BCD-F7FB-473A-83CA-82A5B00CBA6C}"/>
                </a:ext>
              </a:extLst>
            </p:cNvPr>
            <p:cNvSpPr/>
            <p:nvPr/>
          </p:nvSpPr>
          <p:spPr>
            <a:xfrm>
              <a:off x="743999" y="3025423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ducts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LFP/Graphite 26650 cylindrical cells targeting military, medical and industrial sectors.  Facility allows for broad flexibility in cell design/performance.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8AF2B01-1DF0-4CAC-B59E-9D59D8D5C875}"/>
              </a:ext>
            </a:extLst>
          </p:cNvPr>
          <p:cNvGrpSpPr/>
          <p:nvPr/>
        </p:nvGrpSpPr>
        <p:grpSpPr>
          <a:xfrm>
            <a:off x="376023" y="3617350"/>
            <a:ext cx="8220816" cy="498941"/>
            <a:chOff x="369549" y="3610095"/>
            <a:chExt cx="8220816" cy="498941"/>
          </a:xfrm>
        </p:grpSpPr>
        <p:sp>
          <p:nvSpPr>
            <p:cNvPr id="516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369549" y="3635216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ounded Rectangle 105">
              <a:extLst>
                <a:ext uri="{FF2B5EF4-FFF2-40B4-BE49-F238E27FC236}">
                  <a16:creationId xmlns:a16="http://schemas.microsoft.com/office/drawing/2014/main" id="{88FE7BC0-1521-4707-86A6-5A051797B0C2}"/>
                </a:ext>
              </a:extLst>
            </p:cNvPr>
            <p:cNvSpPr/>
            <p:nvPr/>
          </p:nvSpPr>
          <p:spPr>
            <a:xfrm>
              <a:off x="743999" y="3610095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urrent employment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Engineering and Development: 10 professionals; Production: 3 professionals, 10 operator/technicians 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  <a:sym typeface="Wingdings" panose="05000000000000000000" pitchFamily="2" charset="2"/>
                </a:rPr>
                <a:t> 20 </a:t>
              </a:r>
              <a:r>
                <a:rPr lang="en-US" sz="1400" b="1" i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sym typeface="Wingdings" panose="05000000000000000000" pitchFamily="2" charset="2"/>
                </a:rPr>
                <a:t>perators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  <a:sym typeface="Wingdings" panose="05000000000000000000" pitchFamily="2" charset="2"/>
                </a:rPr>
                <a:t>/shift when fully operational</a:t>
              </a:r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DD8693A-89B7-4F0F-80B8-0734B9E8B45F}"/>
              </a:ext>
            </a:extLst>
          </p:cNvPr>
          <p:cNvGrpSpPr/>
          <p:nvPr/>
        </p:nvGrpSpPr>
        <p:grpSpPr>
          <a:xfrm>
            <a:off x="382497" y="4216869"/>
            <a:ext cx="8214342" cy="498941"/>
            <a:chOff x="376023" y="4190589"/>
            <a:chExt cx="8214342" cy="498941"/>
          </a:xfrm>
        </p:grpSpPr>
        <p:sp>
          <p:nvSpPr>
            <p:cNvPr id="18" name="Bol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A2E8F69-5BB4-D741-B02C-F8FBC0A76905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376023" y="4215710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ounded Rectangle 105">
              <a:extLst>
                <a:ext uri="{FF2B5EF4-FFF2-40B4-BE49-F238E27FC236}">
                  <a16:creationId xmlns:a16="http://schemas.microsoft.com/office/drawing/2014/main" id="{8CD8C2E5-992D-413A-8F09-9C0E538A587B}"/>
                </a:ext>
              </a:extLst>
            </p:cNvPr>
            <p:cNvSpPr/>
            <p:nvPr/>
          </p:nvSpPr>
          <p:spPr>
            <a:xfrm>
              <a:off x="743999" y="4190589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ilitary Contract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Awarded an $8.0 million development contract with the US Navy for future shipboard power systems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7B5E5-85DB-475D-B4E3-D7B1AF1F93A7}"/>
              </a:ext>
            </a:extLst>
          </p:cNvPr>
          <p:cNvGrpSpPr/>
          <p:nvPr/>
        </p:nvGrpSpPr>
        <p:grpSpPr>
          <a:xfrm>
            <a:off x="363075" y="4816388"/>
            <a:ext cx="8227290" cy="498941"/>
            <a:chOff x="369549" y="4877887"/>
            <a:chExt cx="8227290" cy="498941"/>
          </a:xfrm>
        </p:grpSpPr>
        <p:sp>
          <p:nvSpPr>
            <p:cNvPr id="517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369549" y="4919389"/>
              <a:ext cx="280436" cy="415936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ounded Rectangle 105">
              <a:extLst>
                <a:ext uri="{FF2B5EF4-FFF2-40B4-BE49-F238E27FC236}">
                  <a16:creationId xmlns:a16="http://schemas.microsoft.com/office/drawing/2014/main" id="{D4DD4B37-4E61-46F4-BD83-DB4E0D8A0EF3}"/>
                </a:ext>
              </a:extLst>
            </p:cNvPr>
            <p:cNvSpPr/>
            <p:nvPr/>
          </p:nvSpPr>
          <p:spPr>
            <a:xfrm>
              <a:off x="750473" y="4877887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pply Chain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Full North American sourcing of critical materials/components targeted for 2025-2026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B9B6E6E-BCE2-B6FB-3CC9-E6A329F511CF}"/>
              </a:ext>
            </a:extLst>
          </p:cNvPr>
          <p:cNvGrpSpPr/>
          <p:nvPr/>
        </p:nvGrpSpPr>
        <p:grpSpPr>
          <a:xfrm>
            <a:off x="340974" y="1184948"/>
            <a:ext cx="8249391" cy="498941"/>
            <a:chOff x="340974" y="1825283"/>
            <a:chExt cx="8249391" cy="498941"/>
          </a:xfrm>
          <a:solidFill>
            <a:schemeClr val="bg1">
              <a:lumMod val="85000"/>
            </a:schemeClr>
          </a:solidFill>
        </p:grpSpPr>
        <p:sp>
          <p:nvSpPr>
            <p:cNvPr id="27" name="Bol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B70AF13-E3E5-931A-AE48-D8DB9CDED0E4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340974" y="1859929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ounded Rectangle 105">
              <a:extLst>
                <a:ext uri="{FF2B5EF4-FFF2-40B4-BE49-F238E27FC236}">
                  <a16:creationId xmlns:a16="http://schemas.microsoft.com/office/drawing/2014/main" id="{188BD5F0-C45E-E2EF-78EC-C84D9BCBECC7}"/>
                </a:ext>
              </a:extLst>
            </p:cNvPr>
            <p:cNvSpPr/>
            <p:nvPr/>
          </p:nvSpPr>
          <p:spPr>
            <a:xfrm>
              <a:off x="743999" y="1825283"/>
              <a:ext cx="7846366" cy="49894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acility Scale</a:t>
              </a:r>
              <a:r>
                <a:rPr lang="en-US" sz="14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80,000 Sq. Ft. facility located in Henderson, Nevada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729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FP Cell Manufacturing: Facility Overview</a:t>
            </a:r>
          </a:p>
        </p:txBody>
      </p:sp>
      <p:sp>
        <p:nvSpPr>
          <p:cNvPr id="3" name="AutoShape 4" descr="Delivery Truck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Content Placeholder 1"/>
          <p:cNvSpPr txBox="1">
            <a:spLocks/>
          </p:cNvSpPr>
          <p:nvPr/>
        </p:nvSpPr>
        <p:spPr>
          <a:xfrm>
            <a:off x="309444" y="3544462"/>
            <a:ext cx="1849141" cy="80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endParaRPr kumimoji="0" lang="en-CA" sz="1400" b="1" i="1" u="none" strike="noStrike" kern="1200" cap="none" spc="0" normalizeH="0" baseline="0" noProof="0" dirty="0">
              <a:ln>
                <a:noFill/>
              </a:ln>
              <a:solidFill>
                <a:srgbClr val="003B4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6693A0A-B4D1-F43B-E054-BA79413B8D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8450" y="3767138"/>
            <a:ext cx="3299300" cy="247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32362E1-80DC-876C-A31B-E726FC7D5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8450" y="1024687"/>
            <a:ext cx="3256200" cy="24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F27C9C69-ED65-8C05-D3F9-B099A74B6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950" y="1350434"/>
            <a:ext cx="3117850" cy="4157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878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FP Cell Manufacturing: Facility Overview</a:t>
            </a:r>
          </a:p>
        </p:txBody>
      </p:sp>
      <p:sp>
        <p:nvSpPr>
          <p:cNvPr id="3" name="AutoShape 4" descr="Delivery Truck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Content Placeholder 1"/>
          <p:cNvSpPr txBox="1">
            <a:spLocks/>
          </p:cNvSpPr>
          <p:nvPr/>
        </p:nvSpPr>
        <p:spPr>
          <a:xfrm>
            <a:off x="309444" y="3544462"/>
            <a:ext cx="1849141" cy="80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endParaRPr kumimoji="0" lang="en-CA" sz="1400" b="1" i="1" u="none" strike="noStrike" kern="1200" cap="none" spc="0" normalizeH="0" baseline="0" noProof="0" dirty="0">
              <a:ln>
                <a:noFill/>
              </a:ln>
              <a:solidFill>
                <a:srgbClr val="003B4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50C30446-7608-B8A0-A04F-24F2CA8939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50" y="1024687"/>
            <a:ext cx="3256200" cy="24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98F9D0EF-5A36-4FA9-3265-D0D592EC78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50" y="3735536"/>
            <a:ext cx="3256200" cy="24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room with blue machines&#10;&#10;Description automatically generated">
            <a:extLst>
              <a:ext uri="{FF2B5EF4-FFF2-40B4-BE49-F238E27FC236}">
                <a16:creationId xmlns:a16="http://schemas.microsoft.com/office/drawing/2014/main" id="{B0552261-5DE3-F577-AACA-A049174234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6592" y="1024687"/>
            <a:ext cx="3256200" cy="2442150"/>
          </a:xfrm>
          <a:prstGeom prst="rect">
            <a:avLst/>
          </a:prstGeom>
        </p:spPr>
      </p:pic>
      <p:pic>
        <p:nvPicPr>
          <p:cNvPr id="8" name="Picture 7" descr="A room with blue machines&#10;&#10;Description automatically generated">
            <a:extLst>
              <a:ext uri="{FF2B5EF4-FFF2-40B4-BE49-F238E27FC236}">
                <a16:creationId xmlns:a16="http://schemas.microsoft.com/office/drawing/2014/main" id="{56A1BA29-066E-5F49-A40D-50C644BD6E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4009" y="3729333"/>
            <a:ext cx="3348784" cy="251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6772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LFP Cell Manufacturing: Facility Overview</a:t>
            </a:r>
          </a:p>
        </p:txBody>
      </p:sp>
      <p:sp>
        <p:nvSpPr>
          <p:cNvPr id="3" name="AutoShape 4" descr="Delivery Truck 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Content Placeholder 1"/>
          <p:cNvSpPr txBox="1">
            <a:spLocks/>
          </p:cNvSpPr>
          <p:nvPr/>
        </p:nvSpPr>
        <p:spPr>
          <a:xfrm>
            <a:off x="309444" y="3544462"/>
            <a:ext cx="1849141" cy="806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33363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2254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.AppleSystemUIFont" charset="-12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0463" indent="-2587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0025" indent="-301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.AppleSystemUIFont" charset="-120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charset="2"/>
              <a:buNone/>
              <a:tabLst/>
              <a:defRPr/>
            </a:pPr>
            <a:endParaRPr kumimoji="0" lang="en-CA" sz="1400" b="1" i="1" u="none" strike="noStrike" kern="1200" cap="none" spc="0" normalizeH="0" baseline="0" noProof="0" dirty="0">
              <a:ln>
                <a:noFill/>
              </a:ln>
              <a:solidFill>
                <a:srgbClr val="003B49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15C75F2D-013E-C091-2CB1-3602BB893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83" y="1636532"/>
            <a:ext cx="3256200" cy="24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7FA5C403-C674-382D-3904-728582977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350" y="1760008"/>
            <a:ext cx="3256200" cy="244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03859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4A8B59-5392-4841-9404-70F06241FA7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4000" y="423913"/>
            <a:ext cx="8648700" cy="531336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Challeng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7651" y="5513832"/>
            <a:ext cx="8648699" cy="737906"/>
          </a:xfrm>
          <a:prstGeom prst="rect">
            <a:avLst/>
          </a:prstGeom>
          <a:solidFill>
            <a:srgbClr val="07539D"/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77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335"/>
          <a:stretch/>
        </p:blipFill>
        <p:spPr bwMode="auto">
          <a:xfrm>
            <a:off x="7812350" y="411664"/>
            <a:ext cx="1225118" cy="42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6B2C5F5-9A68-4514-AA70-F868A05021D3}"/>
              </a:ext>
            </a:extLst>
          </p:cNvPr>
          <p:cNvGrpSpPr/>
          <p:nvPr/>
        </p:nvGrpSpPr>
        <p:grpSpPr>
          <a:xfrm>
            <a:off x="347448" y="1809930"/>
            <a:ext cx="8238765" cy="498941"/>
            <a:chOff x="340974" y="1825283"/>
            <a:chExt cx="8238765" cy="498941"/>
          </a:xfrm>
          <a:solidFill>
            <a:schemeClr val="bg1">
              <a:lumMod val="85000"/>
            </a:schemeClr>
          </a:solidFill>
        </p:grpSpPr>
        <p:sp>
          <p:nvSpPr>
            <p:cNvPr id="510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340974" y="1859929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ounded Rectangle 105">
              <a:extLst>
                <a:ext uri="{FF2B5EF4-FFF2-40B4-BE49-F238E27FC236}">
                  <a16:creationId xmlns:a16="http://schemas.microsoft.com/office/drawing/2014/main" id="{C91DADCF-E9D1-4E56-8028-A18716315FB8}"/>
                </a:ext>
              </a:extLst>
            </p:cNvPr>
            <p:cNvSpPr/>
            <p:nvPr/>
          </p:nvSpPr>
          <p:spPr>
            <a:xfrm>
              <a:off x="733373" y="1825283"/>
              <a:ext cx="7846366" cy="49894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gistics, construction and operations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BEB4455-D068-4A69-9FD7-BAD399174404}"/>
              </a:ext>
            </a:extLst>
          </p:cNvPr>
          <p:cNvGrpSpPr/>
          <p:nvPr/>
        </p:nvGrpSpPr>
        <p:grpSpPr>
          <a:xfrm>
            <a:off x="347448" y="2418312"/>
            <a:ext cx="8249391" cy="498941"/>
            <a:chOff x="352131" y="2429155"/>
            <a:chExt cx="8238234" cy="498941"/>
          </a:xfrm>
        </p:grpSpPr>
        <p:sp>
          <p:nvSpPr>
            <p:cNvPr id="511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352131" y="2454276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ounded Rectangle 105">
              <a:extLst>
                <a:ext uri="{FF2B5EF4-FFF2-40B4-BE49-F238E27FC236}">
                  <a16:creationId xmlns:a16="http://schemas.microsoft.com/office/drawing/2014/main" id="{13FB7824-D393-41A3-B71B-C22FE0305214}"/>
                </a:ext>
              </a:extLst>
            </p:cNvPr>
            <p:cNvSpPr/>
            <p:nvPr/>
          </p:nvSpPr>
          <p:spPr>
            <a:xfrm>
              <a:off x="743999" y="2429155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orkforce acquisition and development, professionals and hourly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2157B7-700B-4748-AC2E-4BE3B9A8A9FB}"/>
              </a:ext>
            </a:extLst>
          </p:cNvPr>
          <p:cNvGrpSpPr/>
          <p:nvPr/>
        </p:nvGrpSpPr>
        <p:grpSpPr>
          <a:xfrm>
            <a:off x="369549" y="3017831"/>
            <a:ext cx="8220816" cy="498941"/>
            <a:chOff x="369549" y="3025423"/>
            <a:chExt cx="8220816" cy="498941"/>
          </a:xfrm>
        </p:grpSpPr>
        <p:sp>
          <p:nvSpPr>
            <p:cNvPr id="512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369549" y="3050544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ounded Rectangle 105">
              <a:extLst>
                <a:ext uri="{FF2B5EF4-FFF2-40B4-BE49-F238E27FC236}">
                  <a16:creationId xmlns:a16="http://schemas.microsoft.com/office/drawing/2014/main" id="{F6CF2BCD-F7FB-473A-83CA-82A5B00CBA6C}"/>
                </a:ext>
              </a:extLst>
            </p:cNvPr>
            <p:cNvSpPr/>
            <p:nvPr/>
          </p:nvSpPr>
          <p:spPr>
            <a:xfrm>
              <a:off x="743999" y="3025423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upply chain</a:t>
              </a:r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8AF2B01-1DF0-4CAC-B59E-9D59D8D5C875}"/>
              </a:ext>
            </a:extLst>
          </p:cNvPr>
          <p:cNvGrpSpPr/>
          <p:nvPr/>
        </p:nvGrpSpPr>
        <p:grpSpPr>
          <a:xfrm>
            <a:off x="376023" y="3617350"/>
            <a:ext cx="8220816" cy="498941"/>
            <a:chOff x="369549" y="3610095"/>
            <a:chExt cx="8220816" cy="498941"/>
          </a:xfrm>
        </p:grpSpPr>
        <p:sp>
          <p:nvSpPr>
            <p:cNvPr id="516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369549" y="3635216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ounded Rectangle 105">
              <a:extLst>
                <a:ext uri="{FF2B5EF4-FFF2-40B4-BE49-F238E27FC236}">
                  <a16:creationId xmlns:a16="http://schemas.microsoft.com/office/drawing/2014/main" id="{88FE7BC0-1521-4707-86A6-5A051797B0C2}"/>
                </a:ext>
              </a:extLst>
            </p:cNvPr>
            <p:cNvSpPr/>
            <p:nvPr/>
          </p:nvSpPr>
          <p:spPr>
            <a:xfrm>
              <a:off x="743999" y="3610095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Utility costs</a:t>
              </a:r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DD8693A-89B7-4F0F-80B8-0734B9E8B45F}"/>
              </a:ext>
            </a:extLst>
          </p:cNvPr>
          <p:cNvGrpSpPr/>
          <p:nvPr/>
        </p:nvGrpSpPr>
        <p:grpSpPr>
          <a:xfrm>
            <a:off x="382497" y="4216869"/>
            <a:ext cx="8214342" cy="498941"/>
            <a:chOff x="376023" y="4190589"/>
            <a:chExt cx="8214342" cy="498941"/>
          </a:xfrm>
        </p:grpSpPr>
        <p:sp>
          <p:nvSpPr>
            <p:cNvPr id="18" name="Bol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A2E8F69-5BB4-D741-B02C-F8FBC0A76905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376023" y="4215710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ounded Rectangle 105">
              <a:extLst>
                <a:ext uri="{FF2B5EF4-FFF2-40B4-BE49-F238E27FC236}">
                  <a16:creationId xmlns:a16="http://schemas.microsoft.com/office/drawing/2014/main" id="{8CD8C2E5-992D-413A-8F09-9C0E538A587B}"/>
                </a:ext>
              </a:extLst>
            </p:cNvPr>
            <p:cNvSpPr/>
            <p:nvPr/>
          </p:nvSpPr>
          <p:spPr>
            <a:xfrm>
              <a:off x="743999" y="4190589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echnical support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7B5E5-85DB-475D-B4E3-D7B1AF1F93A7}"/>
              </a:ext>
            </a:extLst>
          </p:cNvPr>
          <p:cNvGrpSpPr/>
          <p:nvPr/>
        </p:nvGrpSpPr>
        <p:grpSpPr>
          <a:xfrm>
            <a:off x="363075" y="4816388"/>
            <a:ext cx="8227290" cy="498941"/>
            <a:chOff x="369549" y="4877887"/>
            <a:chExt cx="8227290" cy="498941"/>
          </a:xfrm>
        </p:grpSpPr>
        <p:sp>
          <p:nvSpPr>
            <p:cNvPr id="517" name="Bolt3" descr="{&quot;Key&quot;:&quot;POWER_USER_SHAPE_ICON&quot;,&quot;Value&quot;:&quot;POWER_USER_SHAPE_ICON_STYLE_1&quot;}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369549" y="4919389"/>
              <a:ext cx="280436" cy="415936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ounded Rectangle 105">
              <a:extLst>
                <a:ext uri="{FF2B5EF4-FFF2-40B4-BE49-F238E27FC236}">
                  <a16:creationId xmlns:a16="http://schemas.microsoft.com/office/drawing/2014/main" id="{D4DD4B37-4E61-46F4-BD83-DB4E0D8A0EF3}"/>
                </a:ext>
              </a:extLst>
            </p:cNvPr>
            <p:cNvSpPr/>
            <p:nvPr/>
          </p:nvSpPr>
          <p:spPr>
            <a:xfrm>
              <a:off x="750473" y="4877887"/>
              <a:ext cx="7846366" cy="49894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B9B6E6E-BCE2-B6FB-3CC9-E6A329F511CF}"/>
              </a:ext>
            </a:extLst>
          </p:cNvPr>
          <p:cNvGrpSpPr/>
          <p:nvPr/>
        </p:nvGrpSpPr>
        <p:grpSpPr>
          <a:xfrm>
            <a:off x="340974" y="1184948"/>
            <a:ext cx="8249391" cy="498941"/>
            <a:chOff x="340974" y="1825283"/>
            <a:chExt cx="8249391" cy="498941"/>
          </a:xfrm>
          <a:solidFill>
            <a:schemeClr val="bg1">
              <a:lumMod val="85000"/>
            </a:schemeClr>
          </a:solidFill>
        </p:grpSpPr>
        <p:sp>
          <p:nvSpPr>
            <p:cNvPr id="27" name="Bolt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B70AF13-E3E5-931A-AE48-D8DB9CDED0E4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340974" y="1859929"/>
              <a:ext cx="280436" cy="448698"/>
            </a:xfrm>
            <a:custGeom>
              <a:avLst/>
              <a:gdLst>
                <a:gd name="T0" fmla="*/ 132 w 511"/>
                <a:gd name="T1" fmla="*/ 773 h 815"/>
                <a:gd name="T2" fmla="*/ 212 w 511"/>
                <a:gd name="T3" fmla="*/ 474 h 815"/>
                <a:gd name="T4" fmla="*/ 32 w 511"/>
                <a:gd name="T5" fmla="*/ 474 h 815"/>
                <a:gd name="T6" fmla="*/ 13 w 511"/>
                <a:gd name="T7" fmla="*/ 435 h 815"/>
                <a:gd name="T8" fmla="*/ 336 w 511"/>
                <a:gd name="T9" fmla="*/ 21 h 815"/>
                <a:gd name="T10" fmla="*/ 379 w 511"/>
                <a:gd name="T11" fmla="*/ 42 h 815"/>
                <a:gd name="T12" fmla="*/ 299 w 511"/>
                <a:gd name="T13" fmla="*/ 341 h 815"/>
                <a:gd name="T14" fmla="*/ 479 w 511"/>
                <a:gd name="T15" fmla="*/ 341 h 815"/>
                <a:gd name="T16" fmla="*/ 499 w 511"/>
                <a:gd name="T17" fmla="*/ 380 h 815"/>
                <a:gd name="T18" fmla="*/ 176 w 511"/>
                <a:gd name="T19" fmla="*/ 794 h 815"/>
                <a:gd name="T20" fmla="*/ 132 w 511"/>
                <a:gd name="T21" fmla="*/ 773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1" h="815">
                  <a:moveTo>
                    <a:pt x="132" y="773"/>
                  </a:moveTo>
                  <a:lnTo>
                    <a:pt x="212" y="474"/>
                  </a:lnTo>
                  <a:lnTo>
                    <a:pt x="32" y="474"/>
                  </a:lnTo>
                  <a:cubicBezTo>
                    <a:pt x="12" y="474"/>
                    <a:pt x="0" y="450"/>
                    <a:pt x="13" y="435"/>
                  </a:cubicBezTo>
                  <a:lnTo>
                    <a:pt x="336" y="21"/>
                  </a:lnTo>
                  <a:cubicBezTo>
                    <a:pt x="352" y="0"/>
                    <a:pt x="386" y="17"/>
                    <a:pt x="379" y="42"/>
                  </a:cubicBezTo>
                  <a:lnTo>
                    <a:pt x="299" y="341"/>
                  </a:lnTo>
                  <a:lnTo>
                    <a:pt x="479" y="341"/>
                  </a:lnTo>
                  <a:cubicBezTo>
                    <a:pt x="500" y="341"/>
                    <a:pt x="511" y="365"/>
                    <a:pt x="499" y="380"/>
                  </a:cubicBezTo>
                  <a:lnTo>
                    <a:pt x="176" y="794"/>
                  </a:lnTo>
                  <a:cubicBezTo>
                    <a:pt x="159" y="815"/>
                    <a:pt x="125" y="798"/>
                    <a:pt x="132" y="773"/>
                  </a:cubicBezTo>
                  <a:close/>
                </a:path>
              </a:pathLst>
            </a:custGeom>
            <a:solidFill>
              <a:srgbClr val="03519C"/>
            </a:solidFill>
            <a:ln>
              <a:solidFill>
                <a:srgbClr val="03519C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3519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ounded Rectangle 105">
              <a:extLst>
                <a:ext uri="{FF2B5EF4-FFF2-40B4-BE49-F238E27FC236}">
                  <a16:creationId xmlns:a16="http://schemas.microsoft.com/office/drawing/2014/main" id="{188BD5F0-C45E-E2EF-78EC-C84D9BCBECC7}"/>
                </a:ext>
              </a:extLst>
            </p:cNvPr>
            <p:cNvSpPr/>
            <p:nvPr/>
          </p:nvSpPr>
          <p:spPr>
            <a:xfrm>
              <a:off x="743999" y="1825283"/>
              <a:ext cx="7846366" cy="49894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i="1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gulatory environment</a:t>
              </a:r>
              <a:endPara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8762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CIQLASTID" val="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SHAPENAME" val="_World_Map"/>
  <p:tag name="FORMATSFILENAME" val="C:\Users\bbutler.TRIWEST\AppData\Local\FactSet\User Data\DealMaven\PresLink\Templates\Default Template\Categories\Maps\Maps.pptx"/>
  <p:tag name="FORMATSSLIDEID" val="260"/>
  <p:tag name="FORMATSSHAPE" val="_World_Map"/>
  <p:tag name="POSITIONSLIDEID" val="0"/>
  <p:tag name="SIZESLIDEI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lt*bounce*jump*jumping*platform*screw*spring*tool*thunder*storm*fast*speed*lightning*energy*electricity*volt*power*"/>
</p:tagLst>
</file>

<file path=ppt/theme/theme1.xml><?xml version="1.0" encoding="utf-8"?>
<a:theme xmlns:a="http://schemas.openxmlformats.org/drawingml/2006/main" name="Office Theme">
  <a:themeElements>
    <a:clrScheme name="TriWest Theme">
      <a:dk1>
        <a:srgbClr val="000000"/>
      </a:dk1>
      <a:lt1>
        <a:srgbClr val="FFFFFF"/>
      </a:lt1>
      <a:dk2>
        <a:srgbClr val="797979"/>
      </a:dk2>
      <a:lt2>
        <a:srgbClr val="FFFFFF"/>
      </a:lt2>
      <a:accent1>
        <a:srgbClr val="003B49"/>
      </a:accent1>
      <a:accent2>
        <a:srgbClr val="487A7B"/>
      </a:accent2>
      <a:accent3>
        <a:srgbClr val="6D712E"/>
      </a:accent3>
      <a:accent4>
        <a:srgbClr val="C04C36"/>
      </a:accent4>
      <a:accent5>
        <a:srgbClr val="C1A01E"/>
      </a:accent5>
      <a:accent6>
        <a:srgbClr val="768692"/>
      </a:accent6>
      <a:hlink>
        <a:srgbClr val="003B49"/>
      </a:hlink>
      <a:folHlink>
        <a:srgbClr val="487A7B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">
  <a:themeElements>
    <a:clrScheme name="TriWest Theme">
      <a:dk1>
        <a:srgbClr val="000000"/>
      </a:dk1>
      <a:lt1>
        <a:srgbClr val="FFFFFF"/>
      </a:lt1>
      <a:dk2>
        <a:srgbClr val="797979"/>
      </a:dk2>
      <a:lt2>
        <a:srgbClr val="FFFFFF"/>
      </a:lt2>
      <a:accent1>
        <a:srgbClr val="003B49"/>
      </a:accent1>
      <a:accent2>
        <a:srgbClr val="487A7B"/>
      </a:accent2>
      <a:accent3>
        <a:srgbClr val="6D712E"/>
      </a:accent3>
      <a:accent4>
        <a:srgbClr val="C04C36"/>
      </a:accent4>
      <a:accent5>
        <a:srgbClr val="C1A01E"/>
      </a:accent5>
      <a:accent6>
        <a:srgbClr val="768692"/>
      </a:accent6>
      <a:hlink>
        <a:srgbClr val="003B49"/>
      </a:hlink>
      <a:folHlink>
        <a:srgbClr val="487A7B"/>
      </a:folHlink>
    </a:clrScheme>
    <a:fontScheme name="Times New Roman-Arial">
      <a:maj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iWest_Presentation_Style_Condensed (08.12.16).pptx" id="{0500EF72-6133-4080-95BF-D1B1F022280C}" vid="{26223E51-F50E-4313-8FBA-ECCA5786832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026</TotalTime>
  <Words>478</Words>
  <Application>Microsoft Office PowerPoint</Application>
  <PresentationFormat>On-screen Show (4:3)</PresentationFormat>
  <Paragraphs>94</Paragraphs>
  <Slides>10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.AppleSystemUIFont</vt:lpstr>
      <vt:lpstr>Arial</vt:lpstr>
      <vt:lpstr>Calibri</vt:lpstr>
      <vt:lpstr>Calibri Light</vt:lpstr>
      <vt:lpstr>Times New Roman</vt:lpstr>
      <vt:lpstr>Wingdings</vt:lpstr>
      <vt:lpstr>Office Theme</vt:lpstr>
      <vt:lpstr>Custom Design</vt:lpstr>
      <vt:lpstr>Blank</vt:lpstr>
      <vt:lpstr>Domestic LFP Cell Manufacturing Overview  May 2024 James D. Hodge, Ph.D.</vt:lpstr>
      <vt:lpstr>Lithion: Overview</vt:lpstr>
      <vt:lpstr>Lithion: Established Presence</vt:lpstr>
      <vt:lpstr>Lithion: Domestic cell manufacturing evolution</vt:lpstr>
      <vt:lpstr>Lithion: LFP Cell Manufacturing Highlights</vt:lpstr>
      <vt:lpstr>LFP Cell Manufacturing: Facility Overview</vt:lpstr>
      <vt:lpstr>LFP Cell Manufacturing: Facility Overview</vt:lpstr>
      <vt:lpstr>LFP Cell Manufacturing: Facility Overview</vt:lpstr>
      <vt:lpstr>Challeng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ace Evans</dc:creator>
  <cp:lastModifiedBy>Jim Hodge</cp:lastModifiedBy>
  <cp:revision>3920</cp:revision>
  <cp:lastPrinted>2022-06-09T19:19:26Z</cp:lastPrinted>
  <dcterms:created xsi:type="dcterms:W3CDTF">2016-07-05T21:48:56Z</dcterms:created>
  <dcterms:modified xsi:type="dcterms:W3CDTF">2024-06-10T20:46:23Z</dcterms:modified>
</cp:coreProperties>
</file>